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4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781" r:id="rId1"/>
    <p:sldMasterId id="2147483750" r:id="rId2"/>
    <p:sldMasterId id="2147483686" r:id="rId3"/>
    <p:sldMasterId id="2147483812" r:id="rId4"/>
  </p:sldMasterIdLst>
  <p:notesMasterIdLst>
    <p:notesMasterId r:id="rId18"/>
  </p:notesMasterIdLst>
  <p:sldIdLst>
    <p:sldId id="298" r:id="rId5"/>
    <p:sldId id="289" r:id="rId6"/>
    <p:sldId id="288" r:id="rId7"/>
    <p:sldId id="287" r:id="rId8"/>
    <p:sldId id="292" r:id="rId9"/>
    <p:sldId id="291" r:id="rId10"/>
    <p:sldId id="290" r:id="rId11"/>
    <p:sldId id="296" r:id="rId12"/>
    <p:sldId id="295" r:id="rId13"/>
    <p:sldId id="294" r:id="rId14"/>
    <p:sldId id="293" r:id="rId15"/>
    <p:sldId id="286" r:id="rId16"/>
    <p:sldId id="285" r:id="rId17"/>
  </p:sldIdLst>
  <p:sldSz cx="12192000" cy="6858000"/>
  <p:notesSz cx="6797675" cy="9928225"/>
  <p:custDataLst>
    <p:tags r:id="rId19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Cover slide" id="{7171AF8B-8C89-46F2-843A-EFCB69730946}">
          <p14:sldIdLst/>
        </p14:section>
        <p14:section name="Text slides" id="{B7D10727-0573-495E-B4E5-3CF99A217E28}">
          <p14:sldIdLst>
            <p14:sldId id="298"/>
            <p14:sldId id="289"/>
            <p14:sldId id="288"/>
            <p14:sldId id="287"/>
            <p14:sldId id="292"/>
            <p14:sldId id="291"/>
            <p14:sldId id="290"/>
            <p14:sldId id="296"/>
            <p14:sldId id="295"/>
            <p14:sldId id="294"/>
            <p14:sldId id="293"/>
            <p14:sldId id="286"/>
          </p14:sldIdLst>
        </p14:section>
        <p14:section name="Closing statement" id="{B88793C2-2623-4F5F-A5C3-695B7B4F16E7}">
          <p14:sldIdLst>
            <p14:sldId id="28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ser" initials="user" lastIdx="20" clrIdx="0">
    <p:extLst>
      <p:ext uri="{19B8F6BF-5375-455C-9EA6-DF929625EA0E}">
        <p15:presenceInfo xmlns:p15="http://schemas.microsoft.com/office/powerpoint/2012/main" userId="user" providerId="None"/>
      </p:ext>
    </p:extLst>
  </p:cmAuthor>
  <p:cmAuthor id="2" name="Овечкин Олег Дмитриевич" initials="ООД" lastIdx="1" clrIdx="1">
    <p:extLst>
      <p:ext uri="{19B8F6BF-5375-455C-9EA6-DF929625EA0E}">
        <p15:presenceInfo xmlns:p15="http://schemas.microsoft.com/office/powerpoint/2012/main" userId="Овечкин Олег Дмитриевич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43467"/>
    <a:srgbClr val="00589B"/>
    <a:srgbClr val="007CB8"/>
    <a:srgbClr val="919BC9"/>
    <a:srgbClr val="C3D363"/>
    <a:srgbClr val="FDAC53"/>
    <a:srgbClr val="545483"/>
    <a:srgbClr val="00B050"/>
    <a:srgbClr val="FFFFFF"/>
    <a:srgbClr val="C2BF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562" autoAdjust="0"/>
    <p:restoredTop sz="94660"/>
  </p:normalViewPr>
  <p:slideViewPr>
    <p:cSldViewPr snapToGrid="0" showGuides="1">
      <p:cViewPr varScale="1">
        <p:scale>
          <a:sx n="121" d="100"/>
          <a:sy n="121" d="100"/>
        </p:scale>
        <p:origin x="72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2B6C68B-6763-40B7-B091-AB9A129A3824}" type="doc">
      <dgm:prSet loTypeId="urn:microsoft.com/office/officeart/2005/8/layout/default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D7746FA6-D66E-4034-A6FA-935258B9CF28}">
      <dgm:prSet phldrT="[Текст]" custT="1"/>
      <dgm:spPr>
        <a:solidFill>
          <a:srgbClr val="00B2CD"/>
        </a:solidFill>
      </dgm:spPr>
      <dgm:t>
        <a:bodyPr/>
        <a:lstStyle/>
        <a:p>
          <a:r>
            <a:rPr lang="en-US" sz="1400" dirty="0" smtClean="0"/>
            <a:t>Improved responsibility by TA recipient states</a:t>
          </a:r>
          <a:endParaRPr lang="ru-RU" sz="1400" dirty="0"/>
        </a:p>
      </dgm:t>
    </dgm:pt>
    <dgm:pt modelId="{5624F57B-77FF-4FFB-8DD9-2AC5DC070222}" type="parTrans" cxnId="{0BA0ECB4-DB89-426A-B014-928FD0F80592}">
      <dgm:prSet/>
      <dgm:spPr/>
      <dgm:t>
        <a:bodyPr/>
        <a:lstStyle/>
        <a:p>
          <a:endParaRPr lang="ru-RU"/>
        </a:p>
      </dgm:t>
    </dgm:pt>
    <dgm:pt modelId="{9EF7DC0C-E9F8-49EA-B99F-EAEDAE9061F8}" type="sibTrans" cxnId="{0BA0ECB4-DB89-426A-B014-928FD0F80592}">
      <dgm:prSet/>
      <dgm:spPr/>
      <dgm:t>
        <a:bodyPr/>
        <a:lstStyle/>
        <a:p>
          <a:endParaRPr lang="ru-RU"/>
        </a:p>
      </dgm:t>
    </dgm:pt>
    <dgm:pt modelId="{6056B081-A34B-43A2-A9A9-3109A6DAE021}">
      <dgm:prSet phldrT="[Текст]" custT="1"/>
      <dgm:spPr>
        <a:solidFill>
          <a:srgbClr val="FDAC53"/>
        </a:solidFill>
      </dgm:spPr>
      <dgm:t>
        <a:bodyPr/>
        <a:lstStyle/>
        <a:p>
          <a:r>
            <a:rPr lang="en-US" sz="1400" dirty="0" smtClean="0"/>
            <a:t>Expanded engagement of national consultants and a shorter time-frame for project implementation</a:t>
          </a:r>
          <a:endParaRPr lang="ru-RU" sz="1400" dirty="0"/>
        </a:p>
      </dgm:t>
    </dgm:pt>
    <dgm:pt modelId="{8F079AC4-D734-4976-BDDA-27D68B27BC9D}" type="parTrans" cxnId="{853797EB-EBA4-440D-9A0E-CA4FE4E4ECDB}">
      <dgm:prSet/>
      <dgm:spPr/>
      <dgm:t>
        <a:bodyPr/>
        <a:lstStyle/>
        <a:p>
          <a:endParaRPr lang="ru-RU"/>
        </a:p>
      </dgm:t>
    </dgm:pt>
    <dgm:pt modelId="{129F2168-CA38-4A02-BA22-A38B8B73B8E7}" type="sibTrans" cxnId="{853797EB-EBA4-440D-9A0E-CA4FE4E4ECDB}">
      <dgm:prSet/>
      <dgm:spPr/>
      <dgm:t>
        <a:bodyPr/>
        <a:lstStyle/>
        <a:p>
          <a:endParaRPr lang="ru-RU"/>
        </a:p>
      </dgm:t>
    </dgm:pt>
    <dgm:pt modelId="{54989728-7561-47A3-A68F-FBD24425D1D8}">
      <dgm:prSet phldrT="[Текст]" custT="1"/>
      <dgm:spPr>
        <a:solidFill>
          <a:srgbClr val="C3D363"/>
        </a:solidFill>
      </dgm:spPr>
      <dgm:t>
        <a:bodyPr/>
        <a:lstStyle/>
        <a:p>
          <a:r>
            <a:rPr lang="en-US" sz="1400" dirty="0" smtClean="0"/>
            <a:t>Improved coordination and integration: TA </a:t>
          </a:r>
          <a:r>
            <a:rPr lang="en-US" sz="1400" dirty="0" err="1" smtClean="0"/>
            <a:t>programmes</a:t>
          </a:r>
          <a:r>
            <a:rPr lang="en-US" sz="1400" dirty="0" smtClean="0"/>
            <a:t> are closely coordinated with national development </a:t>
          </a:r>
          <a:r>
            <a:rPr lang="en-US" sz="1400" dirty="0" err="1" smtClean="0"/>
            <a:t>programmes</a:t>
          </a:r>
          <a:endParaRPr lang="ru-RU" sz="1400" dirty="0"/>
        </a:p>
      </dgm:t>
    </dgm:pt>
    <dgm:pt modelId="{2275E3D0-BFDE-448A-8D30-E1179EEECA05}" type="parTrans" cxnId="{B863D0C6-ECAE-4F69-9A67-727CF9A27BE2}">
      <dgm:prSet/>
      <dgm:spPr/>
      <dgm:t>
        <a:bodyPr/>
        <a:lstStyle/>
        <a:p>
          <a:endParaRPr lang="ru-RU"/>
        </a:p>
      </dgm:t>
    </dgm:pt>
    <dgm:pt modelId="{9EC356BD-2F32-49A6-9980-4F70949B7643}" type="sibTrans" cxnId="{B863D0C6-ECAE-4F69-9A67-727CF9A27BE2}">
      <dgm:prSet/>
      <dgm:spPr/>
      <dgm:t>
        <a:bodyPr/>
        <a:lstStyle/>
        <a:p>
          <a:endParaRPr lang="ru-RU"/>
        </a:p>
      </dgm:t>
    </dgm:pt>
    <dgm:pt modelId="{89F9AAAD-E858-4D01-8E9A-72BD9D2586BA}">
      <dgm:prSet phldrT="[Текст]" custT="1"/>
      <dgm:spPr>
        <a:solidFill>
          <a:srgbClr val="919BC9"/>
        </a:solidFill>
      </dgm:spPr>
      <dgm:t>
        <a:bodyPr/>
        <a:lstStyle/>
        <a:p>
          <a:r>
            <a:rPr lang="en-US" sz="1400" dirty="0" smtClean="0"/>
            <a:t>Shifting the focus towards capacity development</a:t>
          </a:r>
          <a:endParaRPr lang="ru-RU" sz="1400" dirty="0"/>
        </a:p>
      </dgm:t>
    </dgm:pt>
    <dgm:pt modelId="{4350EFF3-2281-47FD-8439-C4E235BA91FC}" type="parTrans" cxnId="{3051574D-5783-40F1-91DB-FD06064723B6}">
      <dgm:prSet/>
      <dgm:spPr/>
      <dgm:t>
        <a:bodyPr/>
        <a:lstStyle/>
        <a:p>
          <a:endParaRPr lang="ru-RU"/>
        </a:p>
      </dgm:t>
    </dgm:pt>
    <dgm:pt modelId="{01DC8353-CECA-47D6-B100-66ADC4009784}" type="sibTrans" cxnId="{3051574D-5783-40F1-91DB-FD06064723B6}">
      <dgm:prSet/>
      <dgm:spPr/>
      <dgm:t>
        <a:bodyPr/>
        <a:lstStyle/>
        <a:p>
          <a:endParaRPr lang="ru-RU"/>
        </a:p>
      </dgm:t>
    </dgm:pt>
    <dgm:pt modelId="{4C912510-C366-4BC9-A64F-C2F700AC389D}">
      <dgm:prSet phldrT="[Текст]" custT="1"/>
      <dgm:spPr>
        <a:solidFill>
          <a:srgbClr val="007CB8"/>
        </a:solidFill>
      </dgm:spPr>
      <dgm:t>
        <a:bodyPr/>
        <a:lstStyle/>
        <a:p>
          <a:r>
            <a:rPr lang="en-US" sz="1400" dirty="0" smtClean="0"/>
            <a:t>Application of the case-by-case approach to TA project implementation</a:t>
          </a:r>
          <a:endParaRPr lang="ru-RU" sz="1400" dirty="0"/>
        </a:p>
      </dgm:t>
    </dgm:pt>
    <dgm:pt modelId="{79D088C9-E275-4413-90DA-3C7CB5156194}" type="parTrans" cxnId="{D75BE004-F6A9-4D55-9350-1F4AF55898D6}">
      <dgm:prSet/>
      <dgm:spPr/>
      <dgm:t>
        <a:bodyPr/>
        <a:lstStyle/>
        <a:p>
          <a:endParaRPr lang="ru-RU"/>
        </a:p>
      </dgm:t>
    </dgm:pt>
    <dgm:pt modelId="{68E47F9F-5EA0-4F9E-847C-722288B9E561}" type="sibTrans" cxnId="{D75BE004-F6A9-4D55-9350-1F4AF55898D6}">
      <dgm:prSet/>
      <dgm:spPr/>
      <dgm:t>
        <a:bodyPr/>
        <a:lstStyle/>
        <a:p>
          <a:endParaRPr lang="ru-RU"/>
        </a:p>
      </dgm:t>
    </dgm:pt>
    <dgm:pt modelId="{FD39E3E9-401B-41E3-BB43-843BDEA7B5DD}">
      <dgm:prSet phldrT="[Текст]" custT="1"/>
      <dgm:spPr>
        <a:solidFill>
          <a:srgbClr val="343467"/>
        </a:solidFill>
      </dgm:spPr>
      <dgm:t>
        <a:bodyPr/>
        <a:lstStyle/>
        <a:p>
          <a:r>
            <a:rPr lang="en-US" sz="1400" dirty="0" smtClean="0"/>
            <a:t>Enhanced transparency of TA activities of IFIs</a:t>
          </a:r>
          <a:endParaRPr lang="ru-RU" sz="1400" dirty="0"/>
        </a:p>
      </dgm:t>
    </dgm:pt>
    <dgm:pt modelId="{2B49F5EF-8A58-4592-B2C5-5DBC7FA729AC}" type="parTrans" cxnId="{9B139679-BFA7-4122-A692-E6AB57107CD2}">
      <dgm:prSet/>
      <dgm:spPr/>
      <dgm:t>
        <a:bodyPr/>
        <a:lstStyle/>
        <a:p>
          <a:endParaRPr lang="ru-RU"/>
        </a:p>
      </dgm:t>
    </dgm:pt>
    <dgm:pt modelId="{A88A0F7A-75B2-4BF9-B3A2-9367E93195AD}" type="sibTrans" cxnId="{9B139679-BFA7-4122-A692-E6AB57107CD2}">
      <dgm:prSet/>
      <dgm:spPr/>
      <dgm:t>
        <a:bodyPr/>
        <a:lstStyle/>
        <a:p>
          <a:endParaRPr lang="ru-RU"/>
        </a:p>
      </dgm:t>
    </dgm:pt>
    <dgm:pt modelId="{F57E8697-63D7-4A69-9315-17B179172E98}" type="pres">
      <dgm:prSet presAssocID="{12B6C68B-6763-40B7-B091-AB9A129A3824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E4F2419-C77F-408E-99F8-B38DD6B3D0C5}" type="pres">
      <dgm:prSet presAssocID="{D7746FA6-D66E-4034-A6FA-935258B9CF28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79AA5B3-11AF-4E97-A70D-8E252555A784}" type="pres">
      <dgm:prSet presAssocID="{9EF7DC0C-E9F8-49EA-B99F-EAEDAE9061F8}" presName="sibTrans" presStyleCnt="0"/>
      <dgm:spPr/>
    </dgm:pt>
    <dgm:pt modelId="{0FCD8852-8BA0-48FB-AB6C-DD499316AC7D}" type="pres">
      <dgm:prSet presAssocID="{6056B081-A34B-43A2-A9A9-3109A6DAE021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9297CB3-2738-40DB-81E5-BAC05CD4EFE8}" type="pres">
      <dgm:prSet presAssocID="{129F2168-CA38-4A02-BA22-A38B8B73B8E7}" presName="sibTrans" presStyleCnt="0"/>
      <dgm:spPr/>
    </dgm:pt>
    <dgm:pt modelId="{9B2A6E3A-7EC3-4B96-9826-57FDD01FDC07}" type="pres">
      <dgm:prSet presAssocID="{54989728-7561-47A3-A68F-FBD24425D1D8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D7A815B-A7CC-4592-925B-56C1D2B8975D}" type="pres">
      <dgm:prSet presAssocID="{9EC356BD-2F32-49A6-9980-4F70949B7643}" presName="sibTrans" presStyleCnt="0"/>
      <dgm:spPr/>
    </dgm:pt>
    <dgm:pt modelId="{4EED37AB-FA85-4B25-9404-7602A6B14615}" type="pres">
      <dgm:prSet presAssocID="{89F9AAAD-E858-4D01-8E9A-72BD9D2586BA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3DB1735-6373-4091-8651-C57D3F02DD55}" type="pres">
      <dgm:prSet presAssocID="{01DC8353-CECA-47D6-B100-66ADC4009784}" presName="sibTrans" presStyleCnt="0"/>
      <dgm:spPr/>
    </dgm:pt>
    <dgm:pt modelId="{00C90E91-92EB-4338-9E14-A4B19736A40B}" type="pres">
      <dgm:prSet presAssocID="{4C912510-C366-4BC9-A64F-C2F700AC389D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BD9C80B-0709-4C25-8CED-FAC40EA71DC2}" type="pres">
      <dgm:prSet presAssocID="{68E47F9F-5EA0-4F9E-847C-722288B9E561}" presName="sibTrans" presStyleCnt="0"/>
      <dgm:spPr/>
    </dgm:pt>
    <dgm:pt modelId="{97357EC2-3DCA-4873-9BB9-0DC64ED03332}" type="pres">
      <dgm:prSet presAssocID="{FD39E3E9-401B-41E3-BB43-843BDEA7B5DD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3EEA41C-DCA2-4745-B7B5-E8F149EFFC02}" type="presOf" srcId="{12B6C68B-6763-40B7-B091-AB9A129A3824}" destId="{F57E8697-63D7-4A69-9315-17B179172E98}" srcOrd="0" destOrd="0" presId="urn:microsoft.com/office/officeart/2005/8/layout/default"/>
    <dgm:cxn modelId="{A435FD61-9782-42BA-A32E-B7C2B66A9AF6}" type="presOf" srcId="{FD39E3E9-401B-41E3-BB43-843BDEA7B5DD}" destId="{97357EC2-3DCA-4873-9BB9-0DC64ED03332}" srcOrd="0" destOrd="0" presId="urn:microsoft.com/office/officeart/2005/8/layout/default"/>
    <dgm:cxn modelId="{6726412F-487E-4C42-98A0-E93E6F92A106}" type="presOf" srcId="{54989728-7561-47A3-A68F-FBD24425D1D8}" destId="{9B2A6E3A-7EC3-4B96-9826-57FDD01FDC07}" srcOrd="0" destOrd="0" presId="urn:microsoft.com/office/officeart/2005/8/layout/default"/>
    <dgm:cxn modelId="{3051574D-5783-40F1-91DB-FD06064723B6}" srcId="{12B6C68B-6763-40B7-B091-AB9A129A3824}" destId="{89F9AAAD-E858-4D01-8E9A-72BD9D2586BA}" srcOrd="3" destOrd="0" parTransId="{4350EFF3-2281-47FD-8439-C4E235BA91FC}" sibTransId="{01DC8353-CECA-47D6-B100-66ADC4009784}"/>
    <dgm:cxn modelId="{97913F45-1714-459A-A799-63320A9FCDC5}" type="presOf" srcId="{D7746FA6-D66E-4034-A6FA-935258B9CF28}" destId="{0E4F2419-C77F-408E-99F8-B38DD6B3D0C5}" srcOrd="0" destOrd="0" presId="urn:microsoft.com/office/officeart/2005/8/layout/default"/>
    <dgm:cxn modelId="{7AD9F4AA-FF86-4155-9B1D-85AFE37B52AD}" type="presOf" srcId="{89F9AAAD-E858-4D01-8E9A-72BD9D2586BA}" destId="{4EED37AB-FA85-4B25-9404-7602A6B14615}" srcOrd="0" destOrd="0" presId="urn:microsoft.com/office/officeart/2005/8/layout/default"/>
    <dgm:cxn modelId="{853797EB-EBA4-440D-9A0E-CA4FE4E4ECDB}" srcId="{12B6C68B-6763-40B7-B091-AB9A129A3824}" destId="{6056B081-A34B-43A2-A9A9-3109A6DAE021}" srcOrd="1" destOrd="0" parTransId="{8F079AC4-D734-4976-BDDA-27D68B27BC9D}" sibTransId="{129F2168-CA38-4A02-BA22-A38B8B73B8E7}"/>
    <dgm:cxn modelId="{933ECEF8-79B4-4D58-AB78-E6D61A7073C7}" type="presOf" srcId="{6056B081-A34B-43A2-A9A9-3109A6DAE021}" destId="{0FCD8852-8BA0-48FB-AB6C-DD499316AC7D}" srcOrd="0" destOrd="0" presId="urn:microsoft.com/office/officeart/2005/8/layout/default"/>
    <dgm:cxn modelId="{0BA0ECB4-DB89-426A-B014-928FD0F80592}" srcId="{12B6C68B-6763-40B7-B091-AB9A129A3824}" destId="{D7746FA6-D66E-4034-A6FA-935258B9CF28}" srcOrd="0" destOrd="0" parTransId="{5624F57B-77FF-4FFB-8DD9-2AC5DC070222}" sibTransId="{9EF7DC0C-E9F8-49EA-B99F-EAEDAE9061F8}"/>
    <dgm:cxn modelId="{D75BE004-F6A9-4D55-9350-1F4AF55898D6}" srcId="{12B6C68B-6763-40B7-B091-AB9A129A3824}" destId="{4C912510-C366-4BC9-A64F-C2F700AC389D}" srcOrd="4" destOrd="0" parTransId="{79D088C9-E275-4413-90DA-3C7CB5156194}" sibTransId="{68E47F9F-5EA0-4F9E-847C-722288B9E561}"/>
    <dgm:cxn modelId="{B863D0C6-ECAE-4F69-9A67-727CF9A27BE2}" srcId="{12B6C68B-6763-40B7-B091-AB9A129A3824}" destId="{54989728-7561-47A3-A68F-FBD24425D1D8}" srcOrd="2" destOrd="0" parTransId="{2275E3D0-BFDE-448A-8D30-E1179EEECA05}" sibTransId="{9EC356BD-2F32-49A6-9980-4F70949B7643}"/>
    <dgm:cxn modelId="{9B139679-BFA7-4122-A692-E6AB57107CD2}" srcId="{12B6C68B-6763-40B7-B091-AB9A129A3824}" destId="{FD39E3E9-401B-41E3-BB43-843BDEA7B5DD}" srcOrd="5" destOrd="0" parTransId="{2B49F5EF-8A58-4592-B2C5-5DBC7FA729AC}" sibTransId="{A88A0F7A-75B2-4BF9-B3A2-9367E93195AD}"/>
    <dgm:cxn modelId="{F380376B-73F6-492A-B5D5-E6BD3A2221B5}" type="presOf" srcId="{4C912510-C366-4BC9-A64F-C2F700AC389D}" destId="{00C90E91-92EB-4338-9E14-A4B19736A40B}" srcOrd="0" destOrd="0" presId="urn:microsoft.com/office/officeart/2005/8/layout/default"/>
    <dgm:cxn modelId="{F5DD3BD9-D24C-40E7-8F72-F5112B052A18}" type="presParOf" srcId="{F57E8697-63D7-4A69-9315-17B179172E98}" destId="{0E4F2419-C77F-408E-99F8-B38DD6B3D0C5}" srcOrd="0" destOrd="0" presId="urn:microsoft.com/office/officeart/2005/8/layout/default"/>
    <dgm:cxn modelId="{37E06125-FAD3-47C0-9329-08D1BFC14991}" type="presParOf" srcId="{F57E8697-63D7-4A69-9315-17B179172E98}" destId="{F79AA5B3-11AF-4E97-A70D-8E252555A784}" srcOrd="1" destOrd="0" presId="urn:microsoft.com/office/officeart/2005/8/layout/default"/>
    <dgm:cxn modelId="{F80A122A-297B-4DB5-A331-9EB30BF9370B}" type="presParOf" srcId="{F57E8697-63D7-4A69-9315-17B179172E98}" destId="{0FCD8852-8BA0-48FB-AB6C-DD499316AC7D}" srcOrd="2" destOrd="0" presId="urn:microsoft.com/office/officeart/2005/8/layout/default"/>
    <dgm:cxn modelId="{AAE5C55D-AD22-416D-BBDD-402F6D76B9EA}" type="presParOf" srcId="{F57E8697-63D7-4A69-9315-17B179172E98}" destId="{49297CB3-2738-40DB-81E5-BAC05CD4EFE8}" srcOrd="3" destOrd="0" presId="urn:microsoft.com/office/officeart/2005/8/layout/default"/>
    <dgm:cxn modelId="{8954AAAB-32A7-4DAA-A27A-CAD05401EBAC}" type="presParOf" srcId="{F57E8697-63D7-4A69-9315-17B179172E98}" destId="{9B2A6E3A-7EC3-4B96-9826-57FDD01FDC07}" srcOrd="4" destOrd="0" presId="urn:microsoft.com/office/officeart/2005/8/layout/default"/>
    <dgm:cxn modelId="{7715FAF9-742A-4246-94BA-3DAB9CAF7A7D}" type="presParOf" srcId="{F57E8697-63D7-4A69-9315-17B179172E98}" destId="{DD7A815B-A7CC-4592-925B-56C1D2B8975D}" srcOrd="5" destOrd="0" presId="urn:microsoft.com/office/officeart/2005/8/layout/default"/>
    <dgm:cxn modelId="{32B0A035-8A4D-4E31-9911-248D18FDD2F5}" type="presParOf" srcId="{F57E8697-63D7-4A69-9315-17B179172E98}" destId="{4EED37AB-FA85-4B25-9404-7602A6B14615}" srcOrd="6" destOrd="0" presId="urn:microsoft.com/office/officeart/2005/8/layout/default"/>
    <dgm:cxn modelId="{E1597538-E60E-4A7A-BA49-2AD2A5A58F15}" type="presParOf" srcId="{F57E8697-63D7-4A69-9315-17B179172E98}" destId="{23DB1735-6373-4091-8651-C57D3F02DD55}" srcOrd="7" destOrd="0" presId="urn:microsoft.com/office/officeart/2005/8/layout/default"/>
    <dgm:cxn modelId="{48CC8D9B-44F8-4658-B37B-B6D791F51B26}" type="presParOf" srcId="{F57E8697-63D7-4A69-9315-17B179172E98}" destId="{00C90E91-92EB-4338-9E14-A4B19736A40B}" srcOrd="8" destOrd="0" presId="urn:microsoft.com/office/officeart/2005/8/layout/default"/>
    <dgm:cxn modelId="{51086B48-29F6-40EC-B544-D61D10453440}" type="presParOf" srcId="{F57E8697-63D7-4A69-9315-17B179172E98}" destId="{6BD9C80B-0709-4C25-8CED-FAC40EA71DC2}" srcOrd="9" destOrd="0" presId="urn:microsoft.com/office/officeart/2005/8/layout/default"/>
    <dgm:cxn modelId="{7261965A-CFD4-4A92-944A-C366F1234D4B}" type="presParOf" srcId="{F57E8697-63D7-4A69-9315-17B179172E98}" destId="{97357EC2-3DCA-4873-9BB9-0DC64ED03332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AEB058A-CAF0-4DFC-8B63-6D5DD6D4313A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colorful2" csCatId="colorful" phldr="1"/>
      <dgm:spPr/>
    </dgm:pt>
    <dgm:pt modelId="{0001BFD6-5206-4702-B641-F582B41B67B7}">
      <dgm:prSet phldrT="[Текст]"/>
      <dgm:spPr>
        <a:gradFill flip="none" rotWithShape="1">
          <a:gsLst>
            <a:gs pos="0">
              <a:schemeClr val="accent3"/>
            </a:gs>
            <a:gs pos="52000">
              <a:schemeClr val="accent3">
                <a:alpha val="50000"/>
              </a:schemeClr>
            </a:gs>
            <a:gs pos="100000">
              <a:schemeClr val="accent3">
                <a:alpha val="40000"/>
              </a:schemeClr>
            </a:gs>
          </a:gsLst>
          <a:path path="circle">
            <a:fillToRect t="100000" r="100000"/>
          </a:path>
          <a:tileRect l="-100000" b="-100000"/>
        </a:gradFill>
      </dgm:spPr>
      <dgm:t>
        <a:bodyPr/>
        <a:lstStyle/>
        <a:p>
          <a:r>
            <a:rPr lang="en-US" dirty="0" smtClean="0">
              <a:solidFill>
                <a:schemeClr val="bg2"/>
              </a:solidFill>
            </a:rPr>
            <a:t>Lack of data on the nature, scope, and goals of TA.</a:t>
          </a:r>
          <a:r>
            <a:rPr lang="ru-RU" dirty="0" smtClean="0">
              <a:solidFill>
                <a:schemeClr val="bg2"/>
              </a:solidFill>
            </a:rPr>
            <a:t> </a:t>
          </a:r>
          <a:endParaRPr lang="ru-RU" dirty="0">
            <a:solidFill>
              <a:schemeClr val="bg2"/>
            </a:solidFill>
          </a:endParaRPr>
        </a:p>
      </dgm:t>
    </dgm:pt>
    <dgm:pt modelId="{56485F59-A098-411E-BC51-7D0012A2DED0}" type="parTrans" cxnId="{40C6314C-BAEB-4A8C-B641-3151FF292AC9}">
      <dgm:prSet/>
      <dgm:spPr>
        <a:ln>
          <a:solidFill>
            <a:srgbClr val="343467"/>
          </a:solidFill>
        </a:ln>
      </dgm:spPr>
      <dgm:t>
        <a:bodyPr/>
        <a:lstStyle/>
        <a:p>
          <a:endParaRPr lang="ru-RU"/>
        </a:p>
      </dgm:t>
    </dgm:pt>
    <dgm:pt modelId="{38CCFF83-F3B1-4191-8C36-1C02BA41204C}" type="sibTrans" cxnId="{40C6314C-BAEB-4A8C-B641-3151FF292AC9}">
      <dgm:prSet/>
      <dgm:spPr/>
      <dgm:t>
        <a:bodyPr/>
        <a:lstStyle/>
        <a:p>
          <a:endParaRPr lang="ru-RU"/>
        </a:p>
      </dgm:t>
    </dgm:pt>
    <dgm:pt modelId="{B66942C4-A48E-4FA1-A988-0D28811E86C8}">
      <dgm:prSet phldrT="[Текст]"/>
      <dgm:spPr>
        <a:gradFill rotWithShape="0">
          <a:gsLst>
            <a:gs pos="0">
              <a:schemeClr val="accent3"/>
            </a:gs>
            <a:gs pos="52000">
              <a:schemeClr val="accent3">
                <a:alpha val="50000"/>
              </a:schemeClr>
            </a:gs>
            <a:gs pos="100000">
              <a:schemeClr val="accent3">
                <a:alpha val="40000"/>
              </a:schemeClr>
            </a:gs>
          </a:gsLst>
          <a:path path="circle">
            <a:fillToRect t="100000" r="100000"/>
          </a:path>
        </a:gradFill>
      </dgm:spPr>
      <dgm:t>
        <a:bodyPr/>
        <a:lstStyle/>
        <a:p>
          <a:r>
            <a:rPr lang="en-US" dirty="0" smtClean="0">
              <a:solidFill>
                <a:schemeClr val="bg2"/>
              </a:solidFill>
            </a:rPr>
            <a:t>Quality of monitoring and evaluation</a:t>
          </a:r>
          <a:r>
            <a:rPr lang="ru-RU" dirty="0" smtClean="0">
              <a:solidFill>
                <a:schemeClr val="bg2"/>
              </a:solidFill>
            </a:rPr>
            <a:t>. </a:t>
          </a:r>
          <a:endParaRPr lang="ru-RU" dirty="0">
            <a:solidFill>
              <a:schemeClr val="bg2"/>
            </a:solidFill>
          </a:endParaRPr>
        </a:p>
      </dgm:t>
    </dgm:pt>
    <dgm:pt modelId="{C19E5012-E953-490F-B624-9AD7593B6964}" type="parTrans" cxnId="{D04590B3-484C-4320-A137-9D5FD71F258D}">
      <dgm:prSet/>
      <dgm:spPr>
        <a:ln>
          <a:solidFill>
            <a:srgbClr val="343467"/>
          </a:solidFill>
        </a:ln>
      </dgm:spPr>
      <dgm:t>
        <a:bodyPr/>
        <a:lstStyle/>
        <a:p>
          <a:endParaRPr lang="ru-RU"/>
        </a:p>
      </dgm:t>
    </dgm:pt>
    <dgm:pt modelId="{643A8F81-202F-4965-B07F-FD05AEEB43A4}" type="sibTrans" cxnId="{D04590B3-484C-4320-A137-9D5FD71F258D}">
      <dgm:prSet/>
      <dgm:spPr/>
      <dgm:t>
        <a:bodyPr/>
        <a:lstStyle/>
        <a:p>
          <a:endParaRPr lang="ru-RU"/>
        </a:p>
      </dgm:t>
    </dgm:pt>
    <dgm:pt modelId="{6B4AA780-65B8-4B98-A796-DB430C13D61C}">
      <dgm:prSet phldrT="[Текст]"/>
      <dgm:spPr>
        <a:gradFill rotWithShape="0">
          <a:gsLst>
            <a:gs pos="0">
              <a:schemeClr val="accent3"/>
            </a:gs>
            <a:gs pos="52000">
              <a:schemeClr val="accent3">
                <a:alpha val="50000"/>
              </a:schemeClr>
            </a:gs>
            <a:gs pos="100000">
              <a:schemeClr val="accent3">
                <a:alpha val="40000"/>
              </a:schemeClr>
            </a:gs>
          </a:gsLst>
          <a:path path="circle">
            <a:fillToRect t="100000" r="100000"/>
          </a:path>
        </a:gradFill>
      </dgm:spPr>
      <dgm:t>
        <a:bodyPr/>
        <a:lstStyle/>
        <a:p>
          <a:r>
            <a:rPr lang="en-US" dirty="0" smtClean="0">
              <a:solidFill>
                <a:schemeClr val="bg2"/>
              </a:solidFill>
            </a:rPr>
            <a:t>Low transparency of TA operations</a:t>
          </a:r>
          <a:r>
            <a:rPr lang="ru-RU" dirty="0" smtClean="0">
              <a:solidFill>
                <a:schemeClr val="bg2"/>
              </a:solidFill>
            </a:rPr>
            <a:t>.</a:t>
          </a:r>
        </a:p>
      </dgm:t>
    </dgm:pt>
    <dgm:pt modelId="{54079DA5-C54E-490A-9B7A-34B99C5E067D}" type="parTrans" cxnId="{AB9BA538-42E6-463D-A13E-123C98C79432}">
      <dgm:prSet/>
      <dgm:spPr>
        <a:ln>
          <a:solidFill>
            <a:srgbClr val="343467"/>
          </a:solidFill>
        </a:ln>
      </dgm:spPr>
      <dgm:t>
        <a:bodyPr/>
        <a:lstStyle/>
        <a:p>
          <a:endParaRPr lang="ru-RU" dirty="0"/>
        </a:p>
      </dgm:t>
    </dgm:pt>
    <dgm:pt modelId="{06D957EE-10BC-4125-9997-76E4C833D873}" type="sibTrans" cxnId="{AB9BA538-42E6-463D-A13E-123C98C79432}">
      <dgm:prSet/>
      <dgm:spPr/>
      <dgm:t>
        <a:bodyPr/>
        <a:lstStyle/>
        <a:p>
          <a:endParaRPr lang="ru-RU"/>
        </a:p>
      </dgm:t>
    </dgm:pt>
    <dgm:pt modelId="{8FD3641C-2EE5-40F3-99CA-F81460AC17DB}">
      <dgm:prSet phldrT="[Текст]"/>
      <dgm:spPr>
        <a:gradFill rotWithShape="0">
          <a:gsLst>
            <a:gs pos="0">
              <a:schemeClr val="accent3"/>
            </a:gs>
            <a:gs pos="52000">
              <a:schemeClr val="accent3">
                <a:alpha val="50000"/>
              </a:schemeClr>
            </a:gs>
            <a:gs pos="100000">
              <a:schemeClr val="accent3">
                <a:alpha val="40000"/>
              </a:schemeClr>
            </a:gs>
          </a:gsLst>
          <a:path path="circle">
            <a:fillToRect t="100000" r="100000"/>
          </a:path>
        </a:gradFill>
      </dgm:spPr>
      <dgm:t>
        <a:bodyPr/>
        <a:lstStyle/>
        <a:p>
          <a:r>
            <a:rPr lang="en-US" dirty="0" smtClean="0">
              <a:solidFill>
                <a:schemeClr val="bg2"/>
              </a:solidFill>
            </a:rPr>
            <a:t>High costs of consultancy services</a:t>
          </a:r>
          <a:r>
            <a:rPr lang="ru-RU" dirty="0" smtClean="0">
              <a:solidFill>
                <a:schemeClr val="bg2"/>
              </a:solidFill>
            </a:rPr>
            <a:t>.</a:t>
          </a:r>
        </a:p>
      </dgm:t>
    </dgm:pt>
    <dgm:pt modelId="{80007AD7-9B33-417B-A13C-DA63E33F7705}" type="parTrans" cxnId="{D726540C-1C51-4DC2-8520-3ED5ABFFDB4D}">
      <dgm:prSet/>
      <dgm:spPr>
        <a:ln>
          <a:solidFill>
            <a:srgbClr val="343467"/>
          </a:solidFill>
        </a:ln>
      </dgm:spPr>
      <dgm:t>
        <a:bodyPr/>
        <a:lstStyle/>
        <a:p>
          <a:endParaRPr lang="ru-RU"/>
        </a:p>
      </dgm:t>
    </dgm:pt>
    <dgm:pt modelId="{BE63D1BE-BE52-4D4F-A3D5-6ABB6DA52229}" type="sibTrans" cxnId="{D726540C-1C51-4DC2-8520-3ED5ABFFDB4D}">
      <dgm:prSet/>
      <dgm:spPr/>
      <dgm:t>
        <a:bodyPr/>
        <a:lstStyle/>
        <a:p>
          <a:endParaRPr lang="ru-RU"/>
        </a:p>
      </dgm:t>
    </dgm:pt>
    <dgm:pt modelId="{5986C614-A613-48B4-BB43-85A7CFCD6AF9}">
      <dgm:prSet phldrT="[Текст]"/>
      <dgm:spPr>
        <a:gradFill rotWithShape="0">
          <a:gsLst>
            <a:gs pos="0">
              <a:schemeClr val="accent3"/>
            </a:gs>
            <a:gs pos="52000">
              <a:schemeClr val="accent3">
                <a:alpha val="50000"/>
              </a:schemeClr>
            </a:gs>
            <a:gs pos="100000">
              <a:schemeClr val="accent3">
                <a:alpha val="40000"/>
              </a:schemeClr>
            </a:gs>
          </a:gsLst>
          <a:path path="circle">
            <a:fillToRect t="100000" r="100000"/>
          </a:path>
        </a:gradFill>
      </dgm:spPr>
      <dgm:t>
        <a:bodyPr/>
        <a:lstStyle/>
        <a:p>
          <a:r>
            <a:rPr lang="en-US" dirty="0" smtClean="0">
              <a:solidFill>
                <a:schemeClr val="bg2"/>
              </a:solidFill>
            </a:rPr>
            <a:t>Overly ambitious TA projects</a:t>
          </a:r>
          <a:r>
            <a:rPr lang="ru-RU" dirty="0" smtClean="0">
              <a:solidFill>
                <a:schemeClr val="bg2"/>
              </a:solidFill>
            </a:rPr>
            <a:t>.</a:t>
          </a:r>
        </a:p>
      </dgm:t>
    </dgm:pt>
    <dgm:pt modelId="{031246A2-C513-4A9C-9FBD-940118AFCD39}" type="parTrans" cxnId="{82DD4039-BAF4-4E32-B134-B53F8A5BA226}">
      <dgm:prSet/>
      <dgm:spPr>
        <a:ln>
          <a:solidFill>
            <a:srgbClr val="343467"/>
          </a:solidFill>
        </a:ln>
      </dgm:spPr>
      <dgm:t>
        <a:bodyPr/>
        <a:lstStyle/>
        <a:p>
          <a:endParaRPr lang="ru-RU"/>
        </a:p>
      </dgm:t>
    </dgm:pt>
    <dgm:pt modelId="{1514E708-9B62-4186-9EED-244F4F7C7E01}" type="sibTrans" cxnId="{82DD4039-BAF4-4E32-B134-B53F8A5BA226}">
      <dgm:prSet/>
      <dgm:spPr/>
      <dgm:t>
        <a:bodyPr/>
        <a:lstStyle/>
        <a:p>
          <a:endParaRPr lang="ru-RU"/>
        </a:p>
      </dgm:t>
    </dgm:pt>
    <dgm:pt modelId="{72617238-1EE4-4C73-B64B-1CBC33656A89}">
      <dgm:prSet phldrT="[Текст]" custT="1"/>
      <dgm:spPr>
        <a:gradFill flip="none" rotWithShape="1">
          <a:gsLst>
            <a:gs pos="0">
              <a:schemeClr val="accent2"/>
            </a:gs>
            <a:gs pos="52000">
              <a:schemeClr val="accent2"/>
            </a:gs>
            <a:gs pos="100000">
              <a:schemeClr val="accent3">
                <a:alpha val="40000"/>
              </a:schemeClr>
            </a:gs>
          </a:gsLst>
          <a:path path="circle">
            <a:fillToRect r="100000" b="100000"/>
          </a:path>
          <a:tileRect l="-100000" t="-100000"/>
        </a:gradFill>
      </dgm:spPr>
      <dgm:t>
        <a:bodyPr/>
        <a:lstStyle/>
        <a:p>
          <a:r>
            <a:rPr lang="en-US" sz="2800" dirty="0" smtClean="0"/>
            <a:t>TA Criticism </a:t>
          </a:r>
          <a:endParaRPr lang="ru-RU" sz="2800" dirty="0"/>
        </a:p>
      </dgm:t>
    </dgm:pt>
    <dgm:pt modelId="{2DE4F540-B4E4-4878-B8C4-3B68EEAE7CC0}" type="parTrans" cxnId="{646A0B54-03A3-4CE2-AB59-66DE802476C2}">
      <dgm:prSet/>
      <dgm:spPr/>
      <dgm:t>
        <a:bodyPr/>
        <a:lstStyle/>
        <a:p>
          <a:endParaRPr lang="ru-RU"/>
        </a:p>
      </dgm:t>
    </dgm:pt>
    <dgm:pt modelId="{CED85B39-7C7C-4B47-9D9A-B8B7C8B4D155}" type="sibTrans" cxnId="{646A0B54-03A3-4CE2-AB59-66DE802476C2}">
      <dgm:prSet/>
      <dgm:spPr/>
      <dgm:t>
        <a:bodyPr/>
        <a:lstStyle/>
        <a:p>
          <a:endParaRPr lang="ru-RU"/>
        </a:p>
      </dgm:t>
    </dgm:pt>
    <dgm:pt modelId="{5BDA055F-32D5-41F1-B9D3-9DF75D5D993D}" type="pres">
      <dgm:prSet presAssocID="{2AEB058A-CAF0-4DFC-8B63-6D5DD6D4313A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2A509756-C501-45ED-9BD8-2E3CF9D620D5}" type="pres">
      <dgm:prSet presAssocID="{72617238-1EE4-4C73-B64B-1CBC33656A89}" presName="root1" presStyleCnt="0"/>
      <dgm:spPr/>
    </dgm:pt>
    <dgm:pt modelId="{5664440E-F904-4D11-A330-74F323425BB9}" type="pres">
      <dgm:prSet presAssocID="{72617238-1EE4-4C73-B64B-1CBC33656A89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DC2ED0AC-465E-4857-AC54-AD1FA3ACA463}" type="pres">
      <dgm:prSet presAssocID="{72617238-1EE4-4C73-B64B-1CBC33656A89}" presName="level2hierChild" presStyleCnt="0"/>
      <dgm:spPr/>
    </dgm:pt>
    <dgm:pt modelId="{C15AD74C-2EC1-465D-8D30-FA828F2A8B1F}" type="pres">
      <dgm:prSet presAssocID="{56485F59-A098-411E-BC51-7D0012A2DED0}" presName="conn2-1" presStyleLbl="parChTrans1D2" presStyleIdx="0" presStyleCnt="5"/>
      <dgm:spPr/>
      <dgm:t>
        <a:bodyPr/>
        <a:lstStyle/>
        <a:p>
          <a:endParaRPr lang="ru-RU"/>
        </a:p>
      </dgm:t>
    </dgm:pt>
    <dgm:pt modelId="{B4B79DC7-A37D-4B78-86BD-0AF628B18A7A}" type="pres">
      <dgm:prSet presAssocID="{56485F59-A098-411E-BC51-7D0012A2DED0}" presName="connTx" presStyleLbl="parChTrans1D2" presStyleIdx="0" presStyleCnt="5"/>
      <dgm:spPr/>
      <dgm:t>
        <a:bodyPr/>
        <a:lstStyle/>
        <a:p>
          <a:endParaRPr lang="ru-RU"/>
        </a:p>
      </dgm:t>
    </dgm:pt>
    <dgm:pt modelId="{D81942BE-8975-49ED-B796-BDF05513A5F2}" type="pres">
      <dgm:prSet presAssocID="{0001BFD6-5206-4702-B641-F582B41B67B7}" presName="root2" presStyleCnt="0"/>
      <dgm:spPr/>
    </dgm:pt>
    <dgm:pt modelId="{5F3C54BE-DB47-426F-BAFC-02F630A5AED3}" type="pres">
      <dgm:prSet presAssocID="{0001BFD6-5206-4702-B641-F582B41B67B7}" presName="LevelTwoTextNode" presStyleLbl="node2" presStyleIdx="0" presStyleCnt="5" custScaleX="160165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E85E4626-2D37-4FC0-B7EE-B6830A0233B2}" type="pres">
      <dgm:prSet presAssocID="{0001BFD6-5206-4702-B641-F582B41B67B7}" presName="level3hierChild" presStyleCnt="0"/>
      <dgm:spPr/>
    </dgm:pt>
    <dgm:pt modelId="{05E45B3F-52C6-4F38-A650-E8725EC8FED5}" type="pres">
      <dgm:prSet presAssocID="{C19E5012-E953-490F-B624-9AD7593B6964}" presName="conn2-1" presStyleLbl="parChTrans1D2" presStyleIdx="1" presStyleCnt="5"/>
      <dgm:spPr/>
      <dgm:t>
        <a:bodyPr/>
        <a:lstStyle/>
        <a:p>
          <a:endParaRPr lang="ru-RU"/>
        </a:p>
      </dgm:t>
    </dgm:pt>
    <dgm:pt modelId="{9A0BD762-9421-4FCB-BCDD-333E63320F61}" type="pres">
      <dgm:prSet presAssocID="{C19E5012-E953-490F-B624-9AD7593B6964}" presName="connTx" presStyleLbl="parChTrans1D2" presStyleIdx="1" presStyleCnt="5"/>
      <dgm:spPr/>
      <dgm:t>
        <a:bodyPr/>
        <a:lstStyle/>
        <a:p>
          <a:endParaRPr lang="ru-RU"/>
        </a:p>
      </dgm:t>
    </dgm:pt>
    <dgm:pt modelId="{EEEE7C46-FA70-40CD-B869-502669E43794}" type="pres">
      <dgm:prSet presAssocID="{B66942C4-A48E-4FA1-A988-0D28811E86C8}" presName="root2" presStyleCnt="0"/>
      <dgm:spPr/>
    </dgm:pt>
    <dgm:pt modelId="{0F04F797-58C6-4780-9EF9-385E3BBA260E}" type="pres">
      <dgm:prSet presAssocID="{B66942C4-A48E-4FA1-A988-0D28811E86C8}" presName="LevelTwoTextNode" presStyleLbl="node2" presStyleIdx="1" presStyleCnt="5" custScaleX="160165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F4E94413-F37C-4833-A0E6-762BE98F7F5F}" type="pres">
      <dgm:prSet presAssocID="{B66942C4-A48E-4FA1-A988-0D28811E86C8}" presName="level3hierChild" presStyleCnt="0"/>
      <dgm:spPr/>
    </dgm:pt>
    <dgm:pt modelId="{0C8568D3-1F5B-4DFD-AA36-DA704F95D813}" type="pres">
      <dgm:prSet presAssocID="{54079DA5-C54E-490A-9B7A-34B99C5E067D}" presName="conn2-1" presStyleLbl="parChTrans1D2" presStyleIdx="2" presStyleCnt="5"/>
      <dgm:spPr/>
      <dgm:t>
        <a:bodyPr/>
        <a:lstStyle/>
        <a:p>
          <a:endParaRPr lang="ru-RU"/>
        </a:p>
      </dgm:t>
    </dgm:pt>
    <dgm:pt modelId="{85AF2F88-26DC-46C8-9C96-DC77D717BBA4}" type="pres">
      <dgm:prSet presAssocID="{54079DA5-C54E-490A-9B7A-34B99C5E067D}" presName="connTx" presStyleLbl="parChTrans1D2" presStyleIdx="2" presStyleCnt="5"/>
      <dgm:spPr/>
      <dgm:t>
        <a:bodyPr/>
        <a:lstStyle/>
        <a:p>
          <a:endParaRPr lang="ru-RU"/>
        </a:p>
      </dgm:t>
    </dgm:pt>
    <dgm:pt modelId="{F7EE0B98-F80C-41E5-BB74-E9302CEF9AAE}" type="pres">
      <dgm:prSet presAssocID="{6B4AA780-65B8-4B98-A796-DB430C13D61C}" presName="root2" presStyleCnt="0"/>
      <dgm:spPr/>
    </dgm:pt>
    <dgm:pt modelId="{AB30331E-B791-40C2-AA3B-7FDED1641190}" type="pres">
      <dgm:prSet presAssocID="{6B4AA780-65B8-4B98-A796-DB430C13D61C}" presName="LevelTwoTextNode" presStyleLbl="node2" presStyleIdx="2" presStyleCnt="5" custScaleX="160165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B17C87F5-DAFD-4881-9DF9-B0D4D44B702D}" type="pres">
      <dgm:prSet presAssocID="{6B4AA780-65B8-4B98-A796-DB430C13D61C}" presName="level3hierChild" presStyleCnt="0"/>
      <dgm:spPr/>
    </dgm:pt>
    <dgm:pt modelId="{D9032465-7C40-4B4B-B34D-A7B0DD88D6DD}" type="pres">
      <dgm:prSet presAssocID="{80007AD7-9B33-417B-A13C-DA63E33F7705}" presName="conn2-1" presStyleLbl="parChTrans1D2" presStyleIdx="3" presStyleCnt="5"/>
      <dgm:spPr/>
      <dgm:t>
        <a:bodyPr/>
        <a:lstStyle/>
        <a:p>
          <a:endParaRPr lang="ru-RU"/>
        </a:p>
      </dgm:t>
    </dgm:pt>
    <dgm:pt modelId="{CF2EF26B-DDD7-463D-8DA9-F877B214FC86}" type="pres">
      <dgm:prSet presAssocID="{80007AD7-9B33-417B-A13C-DA63E33F7705}" presName="connTx" presStyleLbl="parChTrans1D2" presStyleIdx="3" presStyleCnt="5"/>
      <dgm:spPr/>
      <dgm:t>
        <a:bodyPr/>
        <a:lstStyle/>
        <a:p>
          <a:endParaRPr lang="ru-RU"/>
        </a:p>
      </dgm:t>
    </dgm:pt>
    <dgm:pt modelId="{B86F2B02-0B4A-4231-A2AC-AE4FD51D6AFC}" type="pres">
      <dgm:prSet presAssocID="{8FD3641C-2EE5-40F3-99CA-F81460AC17DB}" presName="root2" presStyleCnt="0"/>
      <dgm:spPr/>
    </dgm:pt>
    <dgm:pt modelId="{D6264CFC-5044-4F5F-82EB-E40E94B48046}" type="pres">
      <dgm:prSet presAssocID="{8FD3641C-2EE5-40F3-99CA-F81460AC17DB}" presName="LevelTwoTextNode" presStyleLbl="node2" presStyleIdx="3" presStyleCnt="5" custScaleX="160165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E9259BF2-CC0E-4AE7-8223-9CE65E2D7343}" type="pres">
      <dgm:prSet presAssocID="{8FD3641C-2EE5-40F3-99CA-F81460AC17DB}" presName="level3hierChild" presStyleCnt="0"/>
      <dgm:spPr/>
    </dgm:pt>
    <dgm:pt modelId="{80CA28CF-CB52-43B6-8D21-167BE7CBBDE1}" type="pres">
      <dgm:prSet presAssocID="{031246A2-C513-4A9C-9FBD-940118AFCD39}" presName="conn2-1" presStyleLbl="parChTrans1D2" presStyleIdx="4" presStyleCnt="5"/>
      <dgm:spPr/>
      <dgm:t>
        <a:bodyPr/>
        <a:lstStyle/>
        <a:p>
          <a:endParaRPr lang="ru-RU"/>
        </a:p>
      </dgm:t>
    </dgm:pt>
    <dgm:pt modelId="{4DA10BA5-9AE0-4548-A7A5-7671850C7B45}" type="pres">
      <dgm:prSet presAssocID="{031246A2-C513-4A9C-9FBD-940118AFCD39}" presName="connTx" presStyleLbl="parChTrans1D2" presStyleIdx="4" presStyleCnt="5"/>
      <dgm:spPr/>
      <dgm:t>
        <a:bodyPr/>
        <a:lstStyle/>
        <a:p>
          <a:endParaRPr lang="ru-RU"/>
        </a:p>
      </dgm:t>
    </dgm:pt>
    <dgm:pt modelId="{A032DFC1-82CE-43A1-B5DD-C5D139D132C5}" type="pres">
      <dgm:prSet presAssocID="{5986C614-A613-48B4-BB43-85A7CFCD6AF9}" presName="root2" presStyleCnt="0"/>
      <dgm:spPr/>
    </dgm:pt>
    <dgm:pt modelId="{0F551711-860D-4191-ACBF-DC28EC5B9239}" type="pres">
      <dgm:prSet presAssocID="{5986C614-A613-48B4-BB43-85A7CFCD6AF9}" presName="LevelTwoTextNode" presStyleLbl="node2" presStyleIdx="4" presStyleCnt="5" custScaleX="160165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EA2880BB-C686-43EE-9021-AAE5B3440C04}" type="pres">
      <dgm:prSet presAssocID="{5986C614-A613-48B4-BB43-85A7CFCD6AF9}" presName="level3hierChild" presStyleCnt="0"/>
      <dgm:spPr/>
    </dgm:pt>
  </dgm:ptLst>
  <dgm:cxnLst>
    <dgm:cxn modelId="{646A0B54-03A3-4CE2-AB59-66DE802476C2}" srcId="{2AEB058A-CAF0-4DFC-8B63-6D5DD6D4313A}" destId="{72617238-1EE4-4C73-B64B-1CBC33656A89}" srcOrd="0" destOrd="0" parTransId="{2DE4F540-B4E4-4878-B8C4-3B68EEAE7CC0}" sibTransId="{CED85B39-7C7C-4B47-9D9A-B8B7C8B4D155}"/>
    <dgm:cxn modelId="{69E7CD63-7C1D-406D-B744-E9469992C25C}" type="presOf" srcId="{5986C614-A613-48B4-BB43-85A7CFCD6AF9}" destId="{0F551711-860D-4191-ACBF-DC28EC5B9239}" srcOrd="0" destOrd="0" presId="urn:microsoft.com/office/officeart/2008/layout/HorizontalMultiLevelHierarchy"/>
    <dgm:cxn modelId="{82DD4039-BAF4-4E32-B134-B53F8A5BA226}" srcId="{72617238-1EE4-4C73-B64B-1CBC33656A89}" destId="{5986C614-A613-48B4-BB43-85A7CFCD6AF9}" srcOrd="4" destOrd="0" parTransId="{031246A2-C513-4A9C-9FBD-940118AFCD39}" sibTransId="{1514E708-9B62-4186-9EED-244F4F7C7E01}"/>
    <dgm:cxn modelId="{D48A1B80-0FE6-4642-8472-089F009D114A}" type="presOf" srcId="{2AEB058A-CAF0-4DFC-8B63-6D5DD6D4313A}" destId="{5BDA055F-32D5-41F1-B9D3-9DF75D5D993D}" srcOrd="0" destOrd="0" presId="urn:microsoft.com/office/officeart/2008/layout/HorizontalMultiLevelHierarchy"/>
    <dgm:cxn modelId="{36BC7251-337F-42DA-A1A1-D364C70B6561}" type="presOf" srcId="{54079DA5-C54E-490A-9B7A-34B99C5E067D}" destId="{85AF2F88-26DC-46C8-9C96-DC77D717BBA4}" srcOrd="1" destOrd="0" presId="urn:microsoft.com/office/officeart/2008/layout/HorizontalMultiLevelHierarchy"/>
    <dgm:cxn modelId="{D726540C-1C51-4DC2-8520-3ED5ABFFDB4D}" srcId="{72617238-1EE4-4C73-B64B-1CBC33656A89}" destId="{8FD3641C-2EE5-40F3-99CA-F81460AC17DB}" srcOrd="3" destOrd="0" parTransId="{80007AD7-9B33-417B-A13C-DA63E33F7705}" sibTransId="{BE63D1BE-BE52-4D4F-A3D5-6ABB6DA52229}"/>
    <dgm:cxn modelId="{8B89D9B3-79E9-4852-A649-F8FA9E895980}" type="presOf" srcId="{B66942C4-A48E-4FA1-A988-0D28811E86C8}" destId="{0F04F797-58C6-4780-9EF9-385E3BBA260E}" srcOrd="0" destOrd="0" presId="urn:microsoft.com/office/officeart/2008/layout/HorizontalMultiLevelHierarchy"/>
    <dgm:cxn modelId="{41C8536D-E87B-4C7F-A9CD-AE2D47246868}" type="presOf" srcId="{8FD3641C-2EE5-40F3-99CA-F81460AC17DB}" destId="{D6264CFC-5044-4F5F-82EB-E40E94B48046}" srcOrd="0" destOrd="0" presId="urn:microsoft.com/office/officeart/2008/layout/HorizontalMultiLevelHierarchy"/>
    <dgm:cxn modelId="{40C6314C-BAEB-4A8C-B641-3151FF292AC9}" srcId="{72617238-1EE4-4C73-B64B-1CBC33656A89}" destId="{0001BFD6-5206-4702-B641-F582B41B67B7}" srcOrd="0" destOrd="0" parTransId="{56485F59-A098-411E-BC51-7D0012A2DED0}" sibTransId="{38CCFF83-F3B1-4191-8C36-1C02BA41204C}"/>
    <dgm:cxn modelId="{4DA7ECFC-BBCF-4E54-9A45-DA7868C28D9E}" type="presOf" srcId="{031246A2-C513-4A9C-9FBD-940118AFCD39}" destId="{4DA10BA5-9AE0-4548-A7A5-7671850C7B45}" srcOrd="1" destOrd="0" presId="urn:microsoft.com/office/officeart/2008/layout/HorizontalMultiLevelHierarchy"/>
    <dgm:cxn modelId="{754B22DE-59F7-48D4-8BD9-076215A3187B}" type="presOf" srcId="{80007AD7-9B33-417B-A13C-DA63E33F7705}" destId="{D9032465-7C40-4B4B-B34D-A7B0DD88D6DD}" srcOrd="0" destOrd="0" presId="urn:microsoft.com/office/officeart/2008/layout/HorizontalMultiLevelHierarchy"/>
    <dgm:cxn modelId="{2F056419-52A3-4990-8680-438EE4F5816E}" type="presOf" srcId="{80007AD7-9B33-417B-A13C-DA63E33F7705}" destId="{CF2EF26B-DDD7-463D-8DA9-F877B214FC86}" srcOrd="1" destOrd="0" presId="urn:microsoft.com/office/officeart/2008/layout/HorizontalMultiLevelHierarchy"/>
    <dgm:cxn modelId="{E545EB11-D6BD-435B-B058-E1106506D29B}" type="presOf" srcId="{C19E5012-E953-490F-B624-9AD7593B6964}" destId="{05E45B3F-52C6-4F38-A650-E8725EC8FED5}" srcOrd="0" destOrd="0" presId="urn:microsoft.com/office/officeart/2008/layout/HorizontalMultiLevelHierarchy"/>
    <dgm:cxn modelId="{6F0E0130-F1E2-408B-B612-91B46E311044}" type="presOf" srcId="{56485F59-A098-411E-BC51-7D0012A2DED0}" destId="{C15AD74C-2EC1-465D-8D30-FA828F2A8B1F}" srcOrd="0" destOrd="0" presId="urn:microsoft.com/office/officeart/2008/layout/HorizontalMultiLevelHierarchy"/>
    <dgm:cxn modelId="{D04590B3-484C-4320-A137-9D5FD71F258D}" srcId="{72617238-1EE4-4C73-B64B-1CBC33656A89}" destId="{B66942C4-A48E-4FA1-A988-0D28811E86C8}" srcOrd="1" destOrd="0" parTransId="{C19E5012-E953-490F-B624-9AD7593B6964}" sibTransId="{643A8F81-202F-4965-B07F-FD05AEEB43A4}"/>
    <dgm:cxn modelId="{8864BA2E-EECD-4D6F-B051-F9E85BE71523}" type="presOf" srcId="{72617238-1EE4-4C73-B64B-1CBC33656A89}" destId="{5664440E-F904-4D11-A330-74F323425BB9}" srcOrd="0" destOrd="0" presId="urn:microsoft.com/office/officeart/2008/layout/HorizontalMultiLevelHierarchy"/>
    <dgm:cxn modelId="{5D7BD684-42F6-4ED4-950D-5E1677B6A0E3}" type="presOf" srcId="{6B4AA780-65B8-4B98-A796-DB430C13D61C}" destId="{AB30331E-B791-40C2-AA3B-7FDED1641190}" srcOrd="0" destOrd="0" presId="urn:microsoft.com/office/officeart/2008/layout/HorizontalMultiLevelHierarchy"/>
    <dgm:cxn modelId="{9B2AE2AC-DF37-40FE-B6C4-0A437CC750A2}" type="presOf" srcId="{54079DA5-C54E-490A-9B7A-34B99C5E067D}" destId="{0C8568D3-1F5B-4DFD-AA36-DA704F95D813}" srcOrd="0" destOrd="0" presId="urn:microsoft.com/office/officeart/2008/layout/HorizontalMultiLevelHierarchy"/>
    <dgm:cxn modelId="{B490BD11-0FE1-42E3-87D3-CF91F08785E2}" type="presOf" srcId="{0001BFD6-5206-4702-B641-F582B41B67B7}" destId="{5F3C54BE-DB47-426F-BAFC-02F630A5AED3}" srcOrd="0" destOrd="0" presId="urn:microsoft.com/office/officeart/2008/layout/HorizontalMultiLevelHierarchy"/>
    <dgm:cxn modelId="{341E6353-7C9F-40B7-BB5D-C8D110D39DA9}" type="presOf" srcId="{C19E5012-E953-490F-B624-9AD7593B6964}" destId="{9A0BD762-9421-4FCB-BCDD-333E63320F61}" srcOrd="1" destOrd="0" presId="urn:microsoft.com/office/officeart/2008/layout/HorizontalMultiLevelHierarchy"/>
    <dgm:cxn modelId="{61CD747A-A23B-47A8-A592-05DDEE3E90E5}" type="presOf" srcId="{56485F59-A098-411E-BC51-7D0012A2DED0}" destId="{B4B79DC7-A37D-4B78-86BD-0AF628B18A7A}" srcOrd="1" destOrd="0" presId="urn:microsoft.com/office/officeart/2008/layout/HorizontalMultiLevelHierarchy"/>
    <dgm:cxn modelId="{A7D357CB-EA20-4D00-A84B-25FA664F8B31}" type="presOf" srcId="{031246A2-C513-4A9C-9FBD-940118AFCD39}" destId="{80CA28CF-CB52-43B6-8D21-167BE7CBBDE1}" srcOrd="0" destOrd="0" presId="urn:microsoft.com/office/officeart/2008/layout/HorizontalMultiLevelHierarchy"/>
    <dgm:cxn modelId="{AB9BA538-42E6-463D-A13E-123C98C79432}" srcId="{72617238-1EE4-4C73-B64B-1CBC33656A89}" destId="{6B4AA780-65B8-4B98-A796-DB430C13D61C}" srcOrd="2" destOrd="0" parTransId="{54079DA5-C54E-490A-9B7A-34B99C5E067D}" sibTransId="{06D957EE-10BC-4125-9997-76E4C833D873}"/>
    <dgm:cxn modelId="{E28D824F-771E-407F-877D-9289E9076F0A}" type="presParOf" srcId="{5BDA055F-32D5-41F1-B9D3-9DF75D5D993D}" destId="{2A509756-C501-45ED-9BD8-2E3CF9D620D5}" srcOrd="0" destOrd="0" presId="urn:microsoft.com/office/officeart/2008/layout/HorizontalMultiLevelHierarchy"/>
    <dgm:cxn modelId="{39D81226-AE5D-44B3-B178-940E11641AC1}" type="presParOf" srcId="{2A509756-C501-45ED-9BD8-2E3CF9D620D5}" destId="{5664440E-F904-4D11-A330-74F323425BB9}" srcOrd="0" destOrd="0" presId="urn:microsoft.com/office/officeart/2008/layout/HorizontalMultiLevelHierarchy"/>
    <dgm:cxn modelId="{9127CF73-13E1-449F-A6AC-C25C00148A76}" type="presParOf" srcId="{2A509756-C501-45ED-9BD8-2E3CF9D620D5}" destId="{DC2ED0AC-465E-4857-AC54-AD1FA3ACA463}" srcOrd="1" destOrd="0" presId="urn:microsoft.com/office/officeart/2008/layout/HorizontalMultiLevelHierarchy"/>
    <dgm:cxn modelId="{C9FF530E-C3A2-4983-B7ED-466A2513646D}" type="presParOf" srcId="{DC2ED0AC-465E-4857-AC54-AD1FA3ACA463}" destId="{C15AD74C-2EC1-465D-8D30-FA828F2A8B1F}" srcOrd="0" destOrd="0" presId="urn:microsoft.com/office/officeart/2008/layout/HorizontalMultiLevelHierarchy"/>
    <dgm:cxn modelId="{8CF5B696-B5AC-4CCC-B72C-6A106A14F574}" type="presParOf" srcId="{C15AD74C-2EC1-465D-8D30-FA828F2A8B1F}" destId="{B4B79DC7-A37D-4B78-86BD-0AF628B18A7A}" srcOrd="0" destOrd="0" presId="urn:microsoft.com/office/officeart/2008/layout/HorizontalMultiLevelHierarchy"/>
    <dgm:cxn modelId="{4E752B3D-4794-4431-9393-95442466EB92}" type="presParOf" srcId="{DC2ED0AC-465E-4857-AC54-AD1FA3ACA463}" destId="{D81942BE-8975-49ED-B796-BDF05513A5F2}" srcOrd="1" destOrd="0" presId="urn:microsoft.com/office/officeart/2008/layout/HorizontalMultiLevelHierarchy"/>
    <dgm:cxn modelId="{A290C2FD-3CDB-496C-BCE4-FE2F5FF14350}" type="presParOf" srcId="{D81942BE-8975-49ED-B796-BDF05513A5F2}" destId="{5F3C54BE-DB47-426F-BAFC-02F630A5AED3}" srcOrd="0" destOrd="0" presId="urn:microsoft.com/office/officeart/2008/layout/HorizontalMultiLevelHierarchy"/>
    <dgm:cxn modelId="{4D14D4B5-8D42-4113-A535-1B4C043A436D}" type="presParOf" srcId="{D81942BE-8975-49ED-B796-BDF05513A5F2}" destId="{E85E4626-2D37-4FC0-B7EE-B6830A0233B2}" srcOrd="1" destOrd="0" presId="urn:microsoft.com/office/officeart/2008/layout/HorizontalMultiLevelHierarchy"/>
    <dgm:cxn modelId="{9F0C4330-D3BE-46E1-8AC0-C5855EFD8ABD}" type="presParOf" srcId="{DC2ED0AC-465E-4857-AC54-AD1FA3ACA463}" destId="{05E45B3F-52C6-4F38-A650-E8725EC8FED5}" srcOrd="2" destOrd="0" presId="urn:microsoft.com/office/officeart/2008/layout/HorizontalMultiLevelHierarchy"/>
    <dgm:cxn modelId="{CF9F81F2-BB38-4506-BC03-519832AE5710}" type="presParOf" srcId="{05E45B3F-52C6-4F38-A650-E8725EC8FED5}" destId="{9A0BD762-9421-4FCB-BCDD-333E63320F61}" srcOrd="0" destOrd="0" presId="urn:microsoft.com/office/officeart/2008/layout/HorizontalMultiLevelHierarchy"/>
    <dgm:cxn modelId="{844EAB70-4583-4C41-B788-C4C259B59740}" type="presParOf" srcId="{DC2ED0AC-465E-4857-AC54-AD1FA3ACA463}" destId="{EEEE7C46-FA70-40CD-B869-502669E43794}" srcOrd="3" destOrd="0" presId="urn:microsoft.com/office/officeart/2008/layout/HorizontalMultiLevelHierarchy"/>
    <dgm:cxn modelId="{2A8215A9-BAE8-4BF2-AF8D-1BF951142156}" type="presParOf" srcId="{EEEE7C46-FA70-40CD-B869-502669E43794}" destId="{0F04F797-58C6-4780-9EF9-385E3BBA260E}" srcOrd="0" destOrd="0" presId="urn:microsoft.com/office/officeart/2008/layout/HorizontalMultiLevelHierarchy"/>
    <dgm:cxn modelId="{1DB31187-3BAF-4BC2-9F41-1253B5B917DB}" type="presParOf" srcId="{EEEE7C46-FA70-40CD-B869-502669E43794}" destId="{F4E94413-F37C-4833-A0E6-762BE98F7F5F}" srcOrd="1" destOrd="0" presId="urn:microsoft.com/office/officeart/2008/layout/HorizontalMultiLevelHierarchy"/>
    <dgm:cxn modelId="{4429A5DF-965F-49FC-9229-EE1A4BB1F147}" type="presParOf" srcId="{DC2ED0AC-465E-4857-AC54-AD1FA3ACA463}" destId="{0C8568D3-1F5B-4DFD-AA36-DA704F95D813}" srcOrd="4" destOrd="0" presId="urn:microsoft.com/office/officeart/2008/layout/HorizontalMultiLevelHierarchy"/>
    <dgm:cxn modelId="{7D61869E-3DA9-45D7-AB17-12EA60261F1D}" type="presParOf" srcId="{0C8568D3-1F5B-4DFD-AA36-DA704F95D813}" destId="{85AF2F88-26DC-46C8-9C96-DC77D717BBA4}" srcOrd="0" destOrd="0" presId="urn:microsoft.com/office/officeart/2008/layout/HorizontalMultiLevelHierarchy"/>
    <dgm:cxn modelId="{268CE0EC-C864-49A7-BEE4-AB7B05C6490C}" type="presParOf" srcId="{DC2ED0AC-465E-4857-AC54-AD1FA3ACA463}" destId="{F7EE0B98-F80C-41E5-BB74-E9302CEF9AAE}" srcOrd="5" destOrd="0" presId="urn:microsoft.com/office/officeart/2008/layout/HorizontalMultiLevelHierarchy"/>
    <dgm:cxn modelId="{959104D9-52DD-46FF-ABA6-61A19C4CDA7D}" type="presParOf" srcId="{F7EE0B98-F80C-41E5-BB74-E9302CEF9AAE}" destId="{AB30331E-B791-40C2-AA3B-7FDED1641190}" srcOrd="0" destOrd="0" presId="urn:microsoft.com/office/officeart/2008/layout/HorizontalMultiLevelHierarchy"/>
    <dgm:cxn modelId="{422D9DA5-648C-4793-9D90-58EDCE39CA9D}" type="presParOf" srcId="{F7EE0B98-F80C-41E5-BB74-E9302CEF9AAE}" destId="{B17C87F5-DAFD-4881-9DF9-B0D4D44B702D}" srcOrd="1" destOrd="0" presId="urn:microsoft.com/office/officeart/2008/layout/HorizontalMultiLevelHierarchy"/>
    <dgm:cxn modelId="{6558E81B-0706-4A21-B964-9B304DC4D7C0}" type="presParOf" srcId="{DC2ED0AC-465E-4857-AC54-AD1FA3ACA463}" destId="{D9032465-7C40-4B4B-B34D-A7B0DD88D6DD}" srcOrd="6" destOrd="0" presId="urn:microsoft.com/office/officeart/2008/layout/HorizontalMultiLevelHierarchy"/>
    <dgm:cxn modelId="{97F1808B-F781-46CB-9C51-906F738E5846}" type="presParOf" srcId="{D9032465-7C40-4B4B-B34D-A7B0DD88D6DD}" destId="{CF2EF26B-DDD7-463D-8DA9-F877B214FC86}" srcOrd="0" destOrd="0" presId="urn:microsoft.com/office/officeart/2008/layout/HorizontalMultiLevelHierarchy"/>
    <dgm:cxn modelId="{6BE0A9C7-9B92-40F8-8606-A0104ACD5852}" type="presParOf" srcId="{DC2ED0AC-465E-4857-AC54-AD1FA3ACA463}" destId="{B86F2B02-0B4A-4231-A2AC-AE4FD51D6AFC}" srcOrd="7" destOrd="0" presId="urn:microsoft.com/office/officeart/2008/layout/HorizontalMultiLevelHierarchy"/>
    <dgm:cxn modelId="{C410141B-36D8-4E8E-9147-E544337C7122}" type="presParOf" srcId="{B86F2B02-0B4A-4231-A2AC-AE4FD51D6AFC}" destId="{D6264CFC-5044-4F5F-82EB-E40E94B48046}" srcOrd="0" destOrd="0" presId="urn:microsoft.com/office/officeart/2008/layout/HorizontalMultiLevelHierarchy"/>
    <dgm:cxn modelId="{02D3A086-63DE-4D66-BA3B-B4479100513E}" type="presParOf" srcId="{B86F2B02-0B4A-4231-A2AC-AE4FD51D6AFC}" destId="{E9259BF2-CC0E-4AE7-8223-9CE65E2D7343}" srcOrd="1" destOrd="0" presId="urn:microsoft.com/office/officeart/2008/layout/HorizontalMultiLevelHierarchy"/>
    <dgm:cxn modelId="{0D25FD5D-8892-4325-B4E7-356B55E8E323}" type="presParOf" srcId="{DC2ED0AC-465E-4857-AC54-AD1FA3ACA463}" destId="{80CA28CF-CB52-43B6-8D21-167BE7CBBDE1}" srcOrd="8" destOrd="0" presId="urn:microsoft.com/office/officeart/2008/layout/HorizontalMultiLevelHierarchy"/>
    <dgm:cxn modelId="{6545AC80-1D2C-4FBF-8BAD-BE72CC7FEDAA}" type="presParOf" srcId="{80CA28CF-CB52-43B6-8D21-167BE7CBBDE1}" destId="{4DA10BA5-9AE0-4548-A7A5-7671850C7B45}" srcOrd="0" destOrd="0" presId="urn:microsoft.com/office/officeart/2008/layout/HorizontalMultiLevelHierarchy"/>
    <dgm:cxn modelId="{53FB2E62-9A44-44CA-A6A7-659347DB0E13}" type="presParOf" srcId="{DC2ED0AC-465E-4857-AC54-AD1FA3ACA463}" destId="{A032DFC1-82CE-43A1-B5DD-C5D139D132C5}" srcOrd="9" destOrd="0" presId="urn:microsoft.com/office/officeart/2008/layout/HorizontalMultiLevelHierarchy"/>
    <dgm:cxn modelId="{297FC23B-D591-4966-B47C-017DA6BA4D3B}" type="presParOf" srcId="{A032DFC1-82CE-43A1-B5DD-C5D139D132C5}" destId="{0F551711-860D-4191-ACBF-DC28EC5B9239}" srcOrd="0" destOrd="0" presId="urn:microsoft.com/office/officeart/2008/layout/HorizontalMultiLevelHierarchy"/>
    <dgm:cxn modelId="{DE4EF51C-565D-4611-BC92-507DD9DE6675}" type="presParOf" srcId="{A032DFC1-82CE-43A1-B5DD-C5D139D132C5}" destId="{EA2880BB-C686-43EE-9021-AAE5B3440C04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4F2419-C77F-408E-99F8-B38DD6B3D0C5}">
      <dsp:nvSpPr>
        <dsp:cNvPr id="0" name=""/>
        <dsp:cNvSpPr/>
      </dsp:nvSpPr>
      <dsp:spPr>
        <a:xfrm>
          <a:off x="1063459" y="2049"/>
          <a:ext cx="2212577" cy="1327546"/>
        </a:xfrm>
        <a:prstGeom prst="rect">
          <a:avLst/>
        </a:prstGeom>
        <a:solidFill>
          <a:srgbClr val="00B2CD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Improved responsibility by TA recipient states</a:t>
          </a:r>
          <a:endParaRPr lang="ru-RU" sz="1400" kern="1200" dirty="0"/>
        </a:p>
      </dsp:txBody>
      <dsp:txXfrm>
        <a:off x="1063459" y="2049"/>
        <a:ext cx="2212577" cy="1327546"/>
      </dsp:txXfrm>
    </dsp:sp>
    <dsp:sp modelId="{0FCD8852-8BA0-48FB-AB6C-DD499316AC7D}">
      <dsp:nvSpPr>
        <dsp:cNvPr id="0" name=""/>
        <dsp:cNvSpPr/>
      </dsp:nvSpPr>
      <dsp:spPr>
        <a:xfrm>
          <a:off x="3497294" y="2049"/>
          <a:ext cx="2212577" cy="1327546"/>
        </a:xfrm>
        <a:prstGeom prst="rect">
          <a:avLst/>
        </a:prstGeom>
        <a:solidFill>
          <a:srgbClr val="FDAC5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Expanded engagement of national consultants and a shorter time-frame for project implementation</a:t>
          </a:r>
          <a:endParaRPr lang="ru-RU" sz="1400" kern="1200" dirty="0"/>
        </a:p>
      </dsp:txBody>
      <dsp:txXfrm>
        <a:off x="3497294" y="2049"/>
        <a:ext cx="2212577" cy="1327546"/>
      </dsp:txXfrm>
    </dsp:sp>
    <dsp:sp modelId="{9B2A6E3A-7EC3-4B96-9826-57FDD01FDC07}">
      <dsp:nvSpPr>
        <dsp:cNvPr id="0" name=""/>
        <dsp:cNvSpPr/>
      </dsp:nvSpPr>
      <dsp:spPr>
        <a:xfrm>
          <a:off x="1063459" y="1550853"/>
          <a:ext cx="2212577" cy="1327546"/>
        </a:xfrm>
        <a:prstGeom prst="rect">
          <a:avLst/>
        </a:prstGeom>
        <a:solidFill>
          <a:srgbClr val="C3D36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Improved coordination and integration: TA </a:t>
          </a:r>
          <a:r>
            <a:rPr lang="en-US" sz="1400" kern="1200" dirty="0" err="1" smtClean="0"/>
            <a:t>programmes</a:t>
          </a:r>
          <a:r>
            <a:rPr lang="en-US" sz="1400" kern="1200" dirty="0" smtClean="0"/>
            <a:t> are closely coordinated with national development </a:t>
          </a:r>
          <a:r>
            <a:rPr lang="en-US" sz="1400" kern="1200" dirty="0" err="1" smtClean="0"/>
            <a:t>programmes</a:t>
          </a:r>
          <a:endParaRPr lang="ru-RU" sz="1400" kern="1200" dirty="0"/>
        </a:p>
      </dsp:txBody>
      <dsp:txXfrm>
        <a:off x="1063459" y="1550853"/>
        <a:ext cx="2212577" cy="1327546"/>
      </dsp:txXfrm>
    </dsp:sp>
    <dsp:sp modelId="{4EED37AB-FA85-4B25-9404-7602A6B14615}">
      <dsp:nvSpPr>
        <dsp:cNvPr id="0" name=""/>
        <dsp:cNvSpPr/>
      </dsp:nvSpPr>
      <dsp:spPr>
        <a:xfrm>
          <a:off x="3497294" y="1550853"/>
          <a:ext cx="2212577" cy="1327546"/>
        </a:xfrm>
        <a:prstGeom prst="rect">
          <a:avLst/>
        </a:prstGeom>
        <a:solidFill>
          <a:srgbClr val="919BC9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Shifting the focus towards capacity development</a:t>
          </a:r>
          <a:endParaRPr lang="ru-RU" sz="1400" kern="1200" dirty="0"/>
        </a:p>
      </dsp:txBody>
      <dsp:txXfrm>
        <a:off x="3497294" y="1550853"/>
        <a:ext cx="2212577" cy="1327546"/>
      </dsp:txXfrm>
    </dsp:sp>
    <dsp:sp modelId="{00C90E91-92EB-4338-9E14-A4B19736A40B}">
      <dsp:nvSpPr>
        <dsp:cNvPr id="0" name=""/>
        <dsp:cNvSpPr/>
      </dsp:nvSpPr>
      <dsp:spPr>
        <a:xfrm>
          <a:off x="1063459" y="3099657"/>
          <a:ext cx="2212577" cy="1327546"/>
        </a:xfrm>
        <a:prstGeom prst="rect">
          <a:avLst/>
        </a:prstGeom>
        <a:solidFill>
          <a:srgbClr val="007CB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Application of the case-by-case approach to TA project implementation</a:t>
          </a:r>
          <a:endParaRPr lang="ru-RU" sz="1400" kern="1200" dirty="0"/>
        </a:p>
      </dsp:txBody>
      <dsp:txXfrm>
        <a:off x="1063459" y="3099657"/>
        <a:ext cx="2212577" cy="1327546"/>
      </dsp:txXfrm>
    </dsp:sp>
    <dsp:sp modelId="{97357EC2-3DCA-4873-9BB9-0DC64ED03332}">
      <dsp:nvSpPr>
        <dsp:cNvPr id="0" name=""/>
        <dsp:cNvSpPr/>
      </dsp:nvSpPr>
      <dsp:spPr>
        <a:xfrm>
          <a:off x="3497294" y="3099657"/>
          <a:ext cx="2212577" cy="1327546"/>
        </a:xfrm>
        <a:prstGeom prst="rect">
          <a:avLst/>
        </a:prstGeom>
        <a:solidFill>
          <a:srgbClr val="343467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Enhanced transparency of TA activities of IFIs</a:t>
          </a:r>
          <a:endParaRPr lang="ru-RU" sz="1400" kern="1200" dirty="0"/>
        </a:p>
      </dsp:txBody>
      <dsp:txXfrm>
        <a:off x="3497294" y="3099657"/>
        <a:ext cx="2212577" cy="132754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0CA28CF-CB52-43B6-8D21-167BE7CBBDE1}">
      <dsp:nvSpPr>
        <dsp:cNvPr id="0" name=""/>
        <dsp:cNvSpPr/>
      </dsp:nvSpPr>
      <dsp:spPr>
        <a:xfrm>
          <a:off x="1220849" y="2355870"/>
          <a:ext cx="515009" cy="19626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57504" y="0"/>
              </a:lnTo>
              <a:lnTo>
                <a:pt x="257504" y="1962688"/>
              </a:lnTo>
              <a:lnTo>
                <a:pt x="515009" y="1962688"/>
              </a:lnTo>
            </a:path>
          </a:pathLst>
        </a:custGeom>
        <a:noFill/>
        <a:ln w="25400" cap="flat" cmpd="sng" algn="ctr">
          <a:solidFill>
            <a:srgbClr val="343467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700" kern="1200"/>
        </a:p>
      </dsp:txBody>
      <dsp:txXfrm>
        <a:off x="1427625" y="3286485"/>
        <a:ext cx="101456" cy="101456"/>
      </dsp:txXfrm>
    </dsp:sp>
    <dsp:sp modelId="{D9032465-7C40-4B4B-B34D-A7B0DD88D6DD}">
      <dsp:nvSpPr>
        <dsp:cNvPr id="0" name=""/>
        <dsp:cNvSpPr/>
      </dsp:nvSpPr>
      <dsp:spPr>
        <a:xfrm>
          <a:off x="1220849" y="2355870"/>
          <a:ext cx="515009" cy="98134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57504" y="0"/>
              </a:lnTo>
              <a:lnTo>
                <a:pt x="257504" y="981344"/>
              </a:lnTo>
              <a:lnTo>
                <a:pt x="515009" y="981344"/>
              </a:lnTo>
            </a:path>
          </a:pathLst>
        </a:custGeom>
        <a:noFill/>
        <a:ln w="25400" cap="flat" cmpd="sng" algn="ctr">
          <a:solidFill>
            <a:srgbClr val="343467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>
        <a:off x="1450646" y="2818835"/>
        <a:ext cx="55413" cy="55413"/>
      </dsp:txXfrm>
    </dsp:sp>
    <dsp:sp modelId="{0C8568D3-1F5B-4DFD-AA36-DA704F95D813}">
      <dsp:nvSpPr>
        <dsp:cNvPr id="0" name=""/>
        <dsp:cNvSpPr/>
      </dsp:nvSpPr>
      <dsp:spPr>
        <a:xfrm>
          <a:off x="1220849" y="2310150"/>
          <a:ext cx="51500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15009" y="45720"/>
              </a:lnTo>
            </a:path>
          </a:pathLst>
        </a:custGeom>
        <a:noFill/>
        <a:ln w="25400" cap="flat" cmpd="sng" algn="ctr">
          <a:solidFill>
            <a:srgbClr val="343467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 dirty="0"/>
        </a:p>
      </dsp:txBody>
      <dsp:txXfrm>
        <a:off x="1465478" y="2342994"/>
        <a:ext cx="25750" cy="25750"/>
      </dsp:txXfrm>
    </dsp:sp>
    <dsp:sp modelId="{05E45B3F-52C6-4F38-A650-E8725EC8FED5}">
      <dsp:nvSpPr>
        <dsp:cNvPr id="0" name=""/>
        <dsp:cNvSpPr/>
      </dsp:nvSpPr>
      <dsp:spPr>
        <a:xfrm>
          <a:off x="1220849" y="1374525"/>
          <a:ext cx="515009" cy="981344"/>
        </a:xfrm>
        <a:custGeom>
          <a:avLst/>
          <a:gdLst/>
          <a:ahLst/>
          <a:cxnLst/>
          <a:rect l="0" t="0" r="0" b="0"/>
          <a:pathLst>
            <a:path>
              <a:moveTo>
                <a:pt x="0" y="981344"/>
              </a:moveTo>
              <a:lnTo>
                <a:pt x="257504" y="981344"/>
              </a:lnTo>
              <a:lnTo>
                <a:pt x="257504" y="0"/>
              </a:lnTo>
              <a:lnTo>
                <a:pt x="515009" y="0"/>
              </a:lnTo>
            </a:path>
          </a:pathLst>
        </a:custGeom>
        <a:noFill/>
        <a:ln w="25400" cap="flat" cmpd="sng" algn="ctr">
          <a:solidFill>
            <a:srgbClr val="343467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>
        <a:off x="1450646" y="1837491"/>
        <a:ext cx="55413" cy="55413"/>
      </dsp:txXfrm>
    </dsp:sp>
    <dsp:sp modelId="{C15AD74C-2EC1-465D-8D30-FA828F2A8B1F}">
      <dsp:nvSpPr>
        <dsp:cNvPr id="0" name=""/>
        <dsp:cNvSpPr/>
      </dsp:nvSpPr>
      <dsp:spPr>
        <a:xfrm>
          <a:off x="1220849" y="393181"/>
          <a:ext cx="515009" cy="1962688"/>
        </a:xfrm>
        <a:custGeom>
          <a:avLst/>
          <a:gdLst/>
          <a:ahLst/>
          <a:cxnLst/>
          <a:rect l="0" t="0" r="0" b="0"/>
          <a:pathLst>
            <a:path>
              <a:moveTo>
                <a:pt x="0" y="1962688"/>
              </a:moveTo>
              <a:lnTo>
                <a:pt x="257504" y="1962688"/>
              </a:lnTo>
              <a:lnTo>
                <a:pt x="257504" y="0"/>
              </a:lnTo>
              <a:lnTo>
                <a:pt x="515009" y="0"/>
              </a:lnTo>
            </a:path>
          </a:pathLst>
        </a:custGeom>
        <a:noFill/>
        <a:ln w="25400" cap="flat" cmpd="sng" algn="ctr">
          <a:solidFill>
            <a:srgbClr val="343467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700" kern="1200"/>
        </a:p>
      </dsp:txBody>
      <dsp:txXfrm>
        <a:off x="1427625" y="1323797"/>
        <a:ext cx="101456" cy="101456"/>
      </dsp:txXfrm>
    </dsp:sp>
    <dsp:sp modelId="{5664440E-F904-4D11-A330-74F323425BB9}">
      <dsp:nvSpPr>
        <dsp:cNvPr id="0" name=""/>
        <dsp:cNvSpPr/>
      </dsp:nvSpPr>
      <dsp:spPr>
        <a:xfrm rot="16200000">
          <a:off x="-1237676" y="1963332"/>
          <a:ext cx="4131975" cy="785075"/>
        </a:xfrm>
        <a:prstGeom prst="rect">
          <a:avLst/>
        </a:prstGeom>
        <a:gradFill flip="none" rotWithShape="1">
          <a:gsLst>
            <a:gs pos="0">
              <a:schemeClr val="accent2"/>
            </a:gs>
            <a:gs pos="52000">
              <a:schemeClr val="accent2"/>
            </a:gs>
            <a:gs pos="100000">
              <a:schemeClr val="accent3">
                <a:alpha val="40000"/>
              </a:schemeClr>
            </a:gs>
          </a:gsLst>
          <a:path path="circle">
            <a:fillToRect r="100000" b="100000"/>
          </a:path>
          <a:tileRect l="-100000" t="-100000"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TA Criticism </a:t>
          </a:r>
          <a:endParaRPr lang="ru-RU" sz="2800" kern="1200" dirty="0"/>
        </a:p>
      </dsp:txBody>
      <dsp:txXfrm>
        <a:off x="-1237676" y="1963332"/>
        <a:ext cx="4131975" cy="785075"/>
      </dsp:txXfrm>
    </dsp:sp>
    <dsp:sp modelId="{5F3C54BE-DB47-426F-BAFC-02F630A5AED3}">
      <dsp:nvSpPr>
        <dsp:cNvPr id="0" name=""/>
        <dsp:cNvSpPr/>
      </dsp:nvSpPr>
      <dsp:spPr>
        <a:xfrm>
          <a:off x="1735858" y="644"/>
          <a:ext cx="4124323" cy="785075"/>
        </a:xfrm>
        <a:prstGeom prst="rect">
          <a:avLst/>
        </a:prstGeom>
        <a:gradFill flip="none" rotWithShape="1">
          <a:gsLst>
            <a:gs pos="0">
              <a:schemeClr val="accent3"/>
            </a:gs>
            <a:gs pos="52000">
              <a:schemeClr val="accent3">
                <a:alpha val="50000"/>
              </a:schemeClr>
            </a:gs>
            <a:gs pos="100000">
              <a:schemeClr val="accent3">
                <a:alpha val="40000"/>
              </a:schemeClr>
            </a:gs>
          </a:gsLst>
          <a:path path="circle">
            <a:fillToRect t="100000" r="100000"/>
          </a:path>
          <a:tileRect l="-100000" b="-100000"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>
              <a:solidFill>
                <a:schemeClr val="bg2"/>
              </a:solidFill>
            </a:rPr>
            <a:t>Lack of data on the nature, scope, and goals of TA.</a:t>
          </a:r>
          <a:r>
            <a:rPr lang="ru-RU" sz="2200" kern="1200" dirty="0" smtClean="0">
              <a:solidFill>
                <a:schemeClr val="bg2"/>
              </a:solidFill>
            </a:rPr>
            <a:t> </a:t>
          </a:r>
          <a:endParaRPr lang="ru-RU" sz="2200" kern="1200" dirty="0">
            <a:solidFill>
              <a:schemeClr val="bg2"/>
            </a:solidFill>
          </a:endParaRPr>
        </a:p>
      </dsp:txBody>
      <dsp:txXfrm>
        <a:off x="1735858" y="644"/>
        <a:ext cx="4124323" cy="785075"/>
      </dsp:txXfrm>
    </dsp:sp>
    <dsp:sp modelId="{0F04F797-58C6-4780-9EF9-385E3BBA260E}">
      <dsp:nvSpPr>
        <dsp:cNvPr id="0" name=""/>
        <dsp:cNvSpPr/>
      </dsp:nvSpPr>
      <dsp:spPr>
        <a:xfrm>
          <a:off x="1735858" y="981988"/>
          <a:ext cx="4124323" cy="785075"/>
        </a:xfrm>
        <a:prstGeom prst="rect">
          <a:avLst/>
        </a:prstGeom>
        <a:gradFill rotWithShape="0">
          <a:gsLst>
            <a:gs pos="0">
              <a:schemeClr val="accent3"/>
            </a:gs>
            <a:gs pos="52000">
              <a:schemeClr val="accent3">
                <a:alpha val="50000"/>
              </a:schemeClr>
            </a:gs>
            <a:gs pos="100000">
              <a:schemeClr val="accent3">
                <a:alpha val="40000"/>
              </a:schemeClr>
            </a:gs>
          </a:gsLst>
          <a:path path="circle">
            <a:fillToRect t="100000" r="100000"/>
          </a:path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>
              <a:solidFill>
                <a:schemeClr val="bg2"/>
              </a:solidFill>
            </a:rPr>
            <a:t>Quality of monitoring and evaluation</a:t>
          </a:r>
          <a:r>
            <a:rPr lang="ru-RU" sz="2200" kern="1200" dirty="0" smtClean="0">
              <a:solidFill>
                <a:schemeClr val="bg2"/>
              </a:solidFill>
            </a:rPr>
            <a:t>. </a:t>
          </a:r>
          <a:endParaRPr lang="ru-RU" sz="2200" kern="1200" dirty="0">
            <a:solidFill>
              <a:schemeClr val="bg2"/>
            </a:solidFill>
          </a:endParaRPr>
        </a:p>
      </dsp:txBody>
      <dsp:txXfrm>
        <a:off x="1735858" y="981988"/>
        <a:ext cx="4124323" cy="785075"/>
      </dsp:txXfrm>
    </dsp:sp>
    <dsp:sp modelId="{AB30331E-B791-40C2-AA3B-7FDED1641190}">
      <dsp:nvSpPr>
        <dsp:cNvPr id="0" name=""/>
        <dsp:cNvSpPr/>
      </dsp:nvSpPr>
      <dsp:spPr>
        <a:xfrm>
          <a:off x="1735858" y="1963332"/>
          <a:ext cx="4124323" cy="785075"/>
        </a:xfrm>
        <a:prstGeom prst="rect">
          <a:avLst/>
        </a:prstGeom>
        <a:gradFill rotWithShape="0">
          <a:gsLst>
            <a:gs pos="0">
              <a:schemeClr val="accent3"/>
            </a:gs>
            <a:gs pos="52000">
              <a:schemeClr val="accent3">
                <a:alpha val="50000"/>
              </a:schemeClr>
            </a:gs>
            <a:gs pos="100000">
              <a:schemeClr val="accent3">
                <a:alpha val="40000"/>
              </a:schemeClr>
            </a:gs>
          </a:gsLst>
          <a:path path="circle">
            <a:fillToRect t="100000" r="100000"/>
          </a:path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>
              <a:solidFill>
                <a:schemeClr val="bg2"/>
              </a:solidFill>
            </a:rPr>
            <a:t>Low transparency of TA operations</a:t>
          </a:r>
          <a:r>
            <a:rPr lang="ru-RU" sz="2200" kern="1200" dirty="0" smtClean="0">
              <a:solidFill>
                <a:schemeClr val="bg2"/>
              </a:solidFill>
            </a:rPr>
            <a:t>.</a:t>
          </a:r>
        </a:p>
      </dsp:txBody>
      <dsp:txXfrm>
        <a:off x="1735858" y="1963332"/>
        <a:ext cx="4124323" cy="785075"/>
      </dsp:txXfrm>
    </dsp:sp>
    <dsp:sp modelId="{D6264CFC-5044-4F5F-82EB-E40E94B48046}">
      <dsp:nvSpPr>
        <dsp:cNvPr id="0" name=""/>
        <dsp:cNvSpPr/>
      </dsp:nvSpPr>
      <dsp:spPr>
        <a:xfrm>
          <a:off x="1735858" y="2944676"/>
          <a:ext cx="4124323" cy="785075"/>
        </a:xfrm>
        <a:prstGeom prst="rect">
          <a:avLst/>
        </a:prstGeom>
        <a:gradFill rotWithShape="0">
          <a:gsLst>
            <a:gs pos="0">
              <a:schemeClr val="accent3"/>
            </a:gs>
            <a:gs pos="52000">
              <a:schemeClr val="accent3">
                <a:alpha val="50000"/>
              </a:schemeClr>
            </a:gs>
            <a:gs pos="100000">
              <a:schemeClr val="accent3">
                <a:alpha val="40000"/>
              </a:schemeClr>
            </a:gs>
          </a:gsLst>
          <a:path path="circle">
            <a:fillToRect t="100000" r="100000"/>
          </a:path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>
              <a:solidFill>
                <a:schemeClr val="bg2"/>
              </a:solidFill>
            </a:rPr>
            <a:t>High costs of consultancy services</a:t>
          </a:r>
          <a:r>
            <a:rPr lang="ru-RU" sz="2200" kern="1200" dirty="0" smtClean="0">
              <a:solidFill>
                <a:schemeClr val="bg2"/>
              </a:solidFill>
            </a:rPr>
            <a:t>.</a:t>
          </a:r>
        </a:p>
      </dsp:txBody>
      <dsp:txXfrm>
        <a:off x="1735858" y="2944676"/>
        <a:ext cx="4124323" cy="785075"/>
      </dsp:txXfrm>
    </dsp:sp>
    <dsp:sp modelId="{0F551711-860D-4191-ACBF-DC28EC5B9239}">
      <dsp:nvSpPr>
        <dsp:cNvPr id="0" name=""/>
        <dsp:cNvSpPr/>
      </dsp:nvSpPr>
      <dsp:spPr>
        <a:xfrm>
          <a:off x="1735858" y="3926020"/>
          <a:ext cx="4124323" cy="785075"/>
        </a:xfrm>
        <a:prstGeom prst="rect">
          <a:avLst/>
        </a:prstGeom>
        <a:gradFill rotWithShape="0">
          <a:gsLst>
            <a:gs pos="0">
              <a:schemeClr val="accent3"/>
            </a:gs>
            <a:gs pos="52000">
              <a:schemeClr val="accent3">
                <a:alpha val="50000"/>
              </a:schemeClr>
            </a:gs>
            <a:gs pos="100000">
              <a:schemeClr val="accent3">
                <a:alpha val="40000"/>
              </a:schemeClr>
            </a:gs>
          </a:gsLst>
          <a:path path="circle">
            <a:fillToRect t="100000" r="100000"/>
          </a:path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>
              <a:solidFill>
                <a:schemeClr val="bg2"/>
              </a:solidFill>
            </a:rPr>
            <a:t>Overly ambitious TA projects</a:t>
          </a:r>
          <a:r>
            <a:rPr lang="ru-RU" sz="2200" kern="1200" dirty="0" smtClean="0">
              <a:solidFill>
                <a:schemeClr val="bg2"/>
              </a:solidFill>
            </a:rPr>
            <a:t>.</a:t>
          </a:r>
        </a:p>
      </dsp:txBody>
      <dsp:txXfrm>
        <a:off x="1735858" y="3926020"/>
        <a:ext cx="4124323" cy="78507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B60FC6-2FFA-4F66-B660-4C066F87FAD7}" type="datetimeFigureOut">
              <a:rPr lang="ru-RU" smtClean="0"/>
              <a:t>30.09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7DC079-384D-4981-9F0F-C2132EA049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917967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.png"/><Relationship Id="rId4" Type="http://schemas.openxmlformats.org/officeDocument/2006/relationships/image" Target="../media/image5.jpeg"/><Relationship Id="rId9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hyperlink" Target="mailto:gvasiliev@efsd.org" TargetMode="External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hyperlink" Target="mailto:email@efsd.org" TargetMode="Externa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10" Type="http://schemas.openxmlformats.org/officeDocument/2006/relationships/image" Target="../media/image4.png"/><Relationship Id="rId4" Type="http://schemas.openxmlformats.org/officeDocument/2006/relationships/oleObject" Target="../embeddings/oleObject15.bin"/><Relationship Id="rId9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4.jpeg"/><Relationship Id="rId5" Type="http://schemas.openxmlformats.org/officeDocument/2006/relationships/image" Target="../media/image1.emf"/><Relationship Id="rId10" Type="http://schemas.openxmlformats.org/officeDocument/2006/relationships/image" Target="../media/image4.pn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3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microsoft.com/office/2007/relationships/hdphoto" Target="../media/hdphoto1.wdp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microsoft.com/office/2007/relationships/hdphoto" Target="../media/hdphoto1.wdp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4.png"/><Relationship Id="rId4" Type="http://schemas.openxmlformats.org/officeDocument/2006/relationships/image" Target="../media/image7.jpeg"/><Relationship Id="rId9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microsoft.com/office/2007/relationships/hdphoto" Target="../media/hdphoto1.wdp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4.png"/><Relationship Id="rId4" Type="http://schemas.openxmlformats.org/officeDocument/2006/relationships/image" Target="../media/image8.jpeg"/><Relationship Id="rId9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image" Target="../media/image16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image" Target="../media/image16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4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4.png"/><Relationship Id="rId4" Type="http://schemas.openxmlformats.org/officeDocument/2006/relationships/image" Target="../media/image9.jpeg"/><Relationship Id="rId9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11" Type="http://schemas.openxmlformats.org/officeDocument/2006/relationships/image" Target="../media/image4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3.png"/><Relationship Id="rId4" Type="http://schemas.openxmlformats.org/officeDocument/2006/relationships/image" Target="../media/image10.jpeg"/><Relationship Id="rId9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11" Type="http://schemas.openxmlformats.org/officeDocument/2006/relationships/image" Target="../media/image4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3.png"/><Relationship Id="rId4" Type="http://schemas.openxmlformats.org/officeDocument/2006/relationships/image" Target="../media/image12.jpeg"/><Relationship Id="rId9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10" Type="http://schemas.openxmlformats.org/officeDocument/2006/relationships/image" Target="../media/image4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1" preserve="1" userDrawn="1">
  <p:cSld name="1_Title Slide 1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Рисунок 1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828800"/>
            <a:ext cx="12192000" cy="4343400"/>
          </a:xfrm>
          <a:prstGeom prst="rect">
            <a:avLst/>
          </a:prstGeom>
        </p:spPr>
      </p:pic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3609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31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Прямоугольник 48"/>
          <p:cNvSpPr/>
          <p:nvPr userDrawn="1"/>
        </p:nvSpPr>
        <p:spPr>
          <a:xfrm>
            <a:off x="1253141" y="6172200"/>
            <a:ext cx="1645200" cy="685800"/>
          </a:xfrm>
          <a:prstGeom prst="rect">
            <a:avLst/>
          </a:pr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Объект 2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1307938" y="2838688"/>
            <a:ext cx="8112287" cy="861774"/>
          </a:xfrm>
        </p:spPr>
        <p:txBody>
          <a:bodyPr vert="horz" wrap="square">
            <a:spAutoFit/>
          </a:bodyPr>
          <a:lstStyle>
            <a:lvl1pPr>
              <a:defRPr sz="2800" cap="none" baseline="0"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Title of the presentation in several lines</a:t>
            </a:r>
            <a:r>
              <a:rPr lang="ru-RU" dirty="0" smtClean="0"/>
              <a:t>,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itle of the presentation in several lines</a:t>
            </a:r>
            <a:endParaRPr lang="ru-RU" dirty="0"/>
          </a:p>
        </p:txBody>
      </p:sp>
      <p:sp>
        <p:nvSpPr>
          <p:cNvPr id="46" name="Прямоугольник 45"/>
          <p:cNvSpPr/>
          <p:nvPr userDrawn="1"/>
        </p:nvSpPr>
        <p:spPr>
          <a:xfrm>
            <a:off x="1253141" y="0"/>
            <a:ext cx="1645200" cy="18192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олилиния 49"/>
          <p:cNvSpPr/>
          <p:nvPr userDrawn="1"/>
        </p:nvSpPr>
        <p:spPr>
          <a:xfrm>
            <a:off x="1251581" y="0"/>
            <a:ext cx="1646760" cy="610980"/>
          </a:xfrm>
          <a:custGeom>
            <a:avLst/>
            <a:gdLst>
              <a:gd name="connsiteX0" fmla="*/ 0 w 1646760"/>
              <a:gd name="connsiteY0" fmla="*/ 0 h 610980"/>
              <a:gd name="connsiteX1" fmla="*/ 1646760 w 1646760"/>
              <a:gd name="connsiteY1" fmla="*/ 0 h 610980"/>
              <a:gd name="connsiteX2" fmla="*/ 1646760 w 1646760"/>
              <a:gd name="connsiteY2" fmla="*/ 376993 h 610980"/>
              <a:gd name="connsiteX3" fmla="*/ 1467066 w 1646760"/>
              <a:gd name="connsiteY3" fmla="*/ 448281 h 610980"/>
              <a:gd name="connsiteX4" fmla="*/ 122592 w 1646760"/>
              <a:gd name="connsiteY4" fmla="*/ 597394 h 610980"/>
              <a:gd name="connsiteX5" fmla="*/ 0 w 1646760"/>
              <a:gd name="connsiteY5" fmla="*/ 578256 h 610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46760" h="610980">
                <a:moveTo>
                  <a:pt x="0" y="0"/>
                </a:moveTo>
                <a:lnTo>
                  <a:pt x="1646760" y="0"/>
                </a:lnTo>
                <a:lnTo>
                  <a:pt x="1646760" y="376993"/>
                </a:lnTo>
                <a:lnTo>
                  <a:pt x="1467066" y="448281"/>
                </a:lnTo>
                <a:cubicBezTo>
                  <a:pt x="1019671" y="598635"/>
                  <a:pt x="472471" y="634626"/>
                  <a:pt x="122592" y="597394"/>
                </a:cubicBezTo>
                <a:lnTo>
                  <a:pt x="0" y="578256"/>
                </a:lnTo>
                <a:close/>
              </a:path>
            </a:pathLst>
          </a:cu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2" name="Прямоугольник 51"/>
          <p:cNvSpPr/>
          <p:nvPr userDrawn="1"/>
        </p:nvSpPr>
        <p:spPr>
          <a:xfrm>
            <a:off x="10237627" y="6302602"/>
            <a:ext cx="1511461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r"/>
            <a:r>
              <a:rPr lang="en-US" sz="1400" dirty="0" smtClean="0">
                <a:solidFill>
                  <a:schemeClr val="bg2"/>
                </a:solidFill>
              </a:rPr>
              <a:t>EFSD.ORG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idx="10"/>
          </p:nvPr>
        </p:nvSpPr>
        <p:spPr>
          <a:xfrm>
            <a:off x="1353659" y="6341745"/>
            <a:ext cx="1463201" cy="137160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>
              <a:defRPr lang="ru-RU" sz="1400" dirty="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algn="l"/>
            <a:endParaRPr lang="ru-RU"/>
          </a:p>
        </p:txBody>
      </p:sp>
      <p:sp>
        <p:nvSpPr>
          <p:cNvPr id="55" name="Текст 52"/>
          <p:cNvSpPr>
            <a:spLocks noGrp="1"/>
          </p:cNvSpPr>
          <p:nvPr>
            <p:ph type="body" sz="quarter" idx="11" hasCustomPrompt="1"/>
          </p:nvPr>
        </p:nvSpPr>
        <p:spPr>
          <a:xfrm>
            <a:off x="1295399" y="5005745"/>
            <a:ext cx="9496425" cy="98488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Aft>
                <a:spcPts val="0"/>
              </a:spcAft>
              <a:defRPr lang="ru-RU" sz="1600" cap="none" baseline="0" smtClean="0">
                <a:solidFill>
                  <a:schemeClr val="bg1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ru-RU" sz="1800" smtClean="0">
                <a:latin typeface="+mn-lt"/>
              </a:defRPr>
            </a:lvl2pPr>
            <a:lvl3pPr>
              <a:defRPr lang="ru-RU" sz="1800" smtClean="0">
                <a:latin typeface="+mn-lt"/>
              </a:defRPr>
            </a:lvl3pPr>
            <a:lvl4pPr>
              <a:defRPr lang="ru-RU" sz="1800" smtClean="0">
                <a:latin typeface="+mn-lt"/>
              </a:defRPr>
            </a:lvl4pPr>
            <a:lvl5pPr>
              <a:defRPr lang="ru-RU" sz="1800">
                <a:latin typeface="+mn-lt"/>
              </a:defRPr>
            </a:lvl5pPr>
          </a:lstStyle>
          <a:p>
            <a:pPr lvl="0">
              <a:spcAft>
                <a:spcPts val="0"/>
              </a:spcAft>
            </a:pPr>
            <a:r>
              <a:rPr lang="en-US" dirty="0" smtClean="0"/>
              <a:t>Name Surname</a:t>
            </a:r>
            <a:r>
              <a:rPr lang="ru-RU" dirty="0" smtClean="0"/>
              <a:t> </a:t>
            </a:r>
          </a:p>
          <a:p>
            <a:pPr lvl="0">
              <a:spcAft>
                <a:spcPts val="0"/>
              </a:spcAft>
            </a:pPr>
            <a:r>
              <a:rPr lang="en-US" dirty="0" smtClean="0"/>
              <a:t>Position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en-US" dirty="0" smtClean="0"/>
              <a:t>Venue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en-US" dirty="0" smtClean="0"/>
              <a:t>Event title</a:t>
            </a:r>
            <a:endParaRPr lang="ru-RU" dirty="0"/>
          </a:p>
        </p:txBody>
      </p:sp>
      <p:sp>
        <p:nvSpPr>
          <p:cNvPr id="51" name="Прямоугольник 50"/>
          <p:cNvSpPr/>
          <p:nvPr userDrawn="1"/>
        </p:nvSpPr>
        <p:spPr>
          <a:xfrm>
            <a:off x="1253141" y="1712595"/>
            <a:ext cx="1645200" cy="116205"/>
          </a:xfrm>
          <a:prstGeom prst="rect">
            <a:avLst/>
          </a:pr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2" name="Рисунок 8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860" y="315557"/>
            <a:ext cx="2008800" cy="1485151"/>
          </a:xfrm>
          <a:prstGeom prst="rect">
            <a:avLst/>
          </a:prstGeom>
        </p:spPr>
      </p:pic>
      <p:grpSp>
        <p:nvGrpSpPr>
          <p:cNvPr id="44" name="Группа 43"/>
          <p:cNvGrpSpPr>
            <a:grpSpLocks noChangeAspect="1"/>
          </p:cNvGrpSpPr>
          <p:nvPr userDrawn="1"/>
        </p:nvGrpSpPr>
        <p:grpSpPr>
          <a:xfrm>
            <a:off x="12365458" y="2"/>
            <a:ext cx="1080000" cy="6858030"/>
            <a:chOff x="12365458" y="0"/>
            <a:chExt cx="1080000" cy="6858000"/>
          </a:xfrm>
        </p:grpSpPr>
        <p:sp>
          <p:nvSpPr>
            <p:cNvPr id="47" name="Freeform 5"/>
            <p:cNvSpPr>
              <a:spLocks/>
            </p:cNvSpPr>
            <p:nvPr/>
          </p:nvSpPr>
          <p:spPr bwMode="auto">
            <a:xfrm>
              <a:off x="12365458" y="0"/>
              <a:ext cx="1080000" cy="6858000"/>
            </a:xfrm>
            <a:prstGeom prst="roundRect">
              <a:avLst>
                <a:gd name="adj" fmla="val 12318"/>
              </a:avLst>
            </a:prstGeom>
            <a:solidFill>
              <a:schemeClr val="bg1"/>
            </a:solidFill>
            <a:ln w="7938" cap="flat">
              <a:solidFill>
                <a:srgbClr val="FEFEF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83" name="Группа 82"/>
            <p:cNvGrpSpPr/>
            <p:nvPr userDrawn="1"/>
          </p:nvGrpSpPr>
          <p:grpSpPr>
            <a:xfrm>
              <a:off x="12365458" y="5764224"/>
              <a:ext cx="1080000" cy="838989"/>
              <a:chOff x="12365458" y="5764224"/>
              <a:chExt cx="1080000" cy="838989"/>
            </a:xfrm>
          </p:grpSpPr>
          <p:pic>
            <p:nvPicPr>
              <p:cNvPr id="107" name="Picture 30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08164" y="6094649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8" name="Picture 31"/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37017" y="6101736"/>
                <a:ext cx="152400" cy="123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9" name="Picture 32"/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125833" y="6321161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10" name="TextBox 109"/>
              <p:cNvSpPr txBox="1"/>
              <p:nvPr/>
            </p:nvSpPr>
            <p:spPr>
              <a:xfrm>
                <a:off x="12365458" y="5764224"/>
                <a:ext cx="1080000" cy="838989"/>
              </a:xfrm>
              <a:prstGeom prst="rect">
                <a:avLst/>
              </a:prstGeom>
              <a:noFill/>
            </p:spPr>
            <p:txBody>
              <a:bodyPr wrap="square" lIns="36000" tIns="0" rIns="3600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Select a text or graphic element.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, respectively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or .</a:t>
                </a:r>
              </a:p>
              <a:p>
                <a:pPr algn="ctr">
                  <a:lnSpc>
                    <a:spcPct val="90000"/>
                  </a:lnSpc>
                  <a:spcBef>
                    <a:spcPts val="300"/>
                  </a:spcBef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After selecting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the pipette tool          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 on the desired color on the palette.</a:t>
                </a:r>
                <a:endParaRPr lang="ru-RU" sz="800" dirty="0">
                  <a:solidFill>
                    <a:srgbClr val="30343F"/>
                  </a:solidFill>
                  <a:latin typeface="Source Sans Pro" panose="020B0503030403020204" pitchFamily="34" charset="0"/>
                </a:endParaRPr>
              </a:p>
            </p:txBody>
          </p:sp>
        </p:grpSp>
        <p:sp>
          <p:nvSpPr>
            <p:cNvPr id="84" name="TextBox 83"/>
            <p:cNvSpPr txBox="1"/>
            <p:nvPr/>
          </p:nvSpPr>
          <p:spPr>
            <a:xfrm>
              <a:off x="12368248" y="18288"/>
              <a:ext cx="1074420" cy="4606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Color palette </a:t>
              </a:r>
              <a:b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</a:b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for EFSR presentations</a:t>
              </a:r>
              <a:endParaRPr lang="ru-RU" sz="1000" dirty="0">
                <a:solidFill>
                  <a:srgbClr val="343467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12365458" y="640080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The main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6" name="Oval 8"/>
            <p:cNvSpPr>
              <a:spLocks noChangeArrowheads="1"/>
            </p:cNvSpPr>
            <p:nvPr/>
          </p:nvSpPr>
          <p:spPr bwMode="auto">
            <a:xfrm>
              <a:off x="12518642" y="970675"/>
              <a:ext cx="350838" cy="346075"/>
            </a:xfrm>
            <a:prstGeom prst="ellipse">
              <a:avLst/>
            </a:prstGeom>
            <a:solidFill>
              <a:srgbClr val="00589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Oval 9"/>
            <p:cNvSpPr>
              <a:spLocks noChangeArrowheads="1"/>
            </p:cNvSpPr>
            <p:nvPr/>
          </p:nvSpPr>
          <p:spPr bwMode="auto">
            <a:xfrm>
              <a:off x="12515726" y="1381725"/>
              <a:ext cx="350838" cy="346075"/>
            </a:xfrm>
            <a:prstGeom prst="ellipse">
              <a:avLst/>
            </a:prstGeom>
            <a:solidFill>
              <a:srgbClr val="00B1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Oval 10"/>
            <p:cNvSpPr>
              <a:spLocks noChangeArrowheads="1"/>
            </p:cNvSpPr>
            <p:nvPr/>
          </p:nvSpPr>
          <p:spPr bwMode="auto">
            <a:xfrm>
              <a:off x="12515726" y="2602206"/>
              <a:ext cx="350838" cy="346075"/>
            </a:xfrm>
            <a:prstGeom prst="ellipse">
              <a:avLst/>
            </a:prstGeom>
            <a:solidFill>
              <a:srgbClr val="C2BFB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Oval 11"/>
            <p:cNvSpPr>
              <a:spLocks noChangeAspect="1" noChangeArrowheads="1"/>
            </p:cNvSpPr>
            <p:nvPr/>
          </p:nvSpPr>
          <p:spPr bwMode="auto">
            <a:xfrm>
              <a:off x="12515725" y="1780075"/>
              <a:ext cx="793329" cy="792000"/>
            </a:xfrm>
            <a:prstGeom prst="ellipse">
              <a:avLst/>
            </a:prstGeom>
            <a:solidFill>
              <a:srgbClr val="343467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lvl="0"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FFFFFF"/>
                  </a:solidFill>
                  <a:latin typeface="Source Sans Pro" panose="020B0503030403020204" pitchFamily="34" charset="0"/>
                </a:rPr>
                <a:t>Base color</a:t>
              </a:r>
              <a:endParaRPr lang="ru-RU" sz="1000" dirty="0">
                <a:solidFill>
                  <a:srgbClr val="FFFFF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90" name="Oval 13"/>
            <p:cNvSpPr>
              <a:spLocks noChangeArrowheads="1"/>
            </p:cNvSpPr>
            <p:nvPr/>
          </p:nvSpPr>
          <p:spPr bwMode="auto">
            <a:xfrm>
              <a:off x="12515726" y="2978412"/>
              <a:ext cx="350838" cy="346075"/>
            </a:xfrm>
            <a:prstGeom prst="ellipse">
              <a:avLst/>
            </a:prstGeom>
            <a:solidFill>
              <a:srgbClr val="30343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Oval 14"/>
            <p:cNvSpPr>
              <a:spLocks noChangeArrowheads="1"/>
            </p:cNvSpPr>
            <p:nvPr/>
          </p:nvSpPr>
          <p:spPr bwMode="auto">
            <a:xfrm>
              <a:off x="12515726" y="3744823"/>
              <a:ext cx="350838" cy="346075"/>
            </a:xfrm>
            <a:prstGeom prst="ellipse">
              <a:avLst/>
            </a:prstGeom>
            <a:solidFill>
              <a:srgbClr val="D034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Oval 15"/>
            <p:cNvSpPr>
              <a:spLocks noChangeArrowheads="1"/>
            </p:cNvSpPr>
            <p:nvPr/>
          </p:nvSpPr>
          <p:spPr bwMode="auto">
            <a:xfrm>
              <a:off x="12949114" y="975437"/>
              <a:ext cx="350838" cy="346075"/>
            </a:xfrm>
            <a:prstGeom prst="ellipse">
              <a:avLst/>
            </a:prstGeom>
            <a:solidFill>
              <a:srgbClr val="007CB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Oval 16"/>
            <p:cNvSpPr>
              <a:spLocks noChangeArrowheads="1"/>
            </p:cNvSpPr>
            <p:nvPr/>
          </p:nvSpPr>
          <p:spPr bwMode="auto">
            <a:xfrm>
              <a:off x="12949114" y="1381725"/>
              <a:ext cx="350838" cy="346075"/>
            </a:xfrm>
            <a:prstGeom prst="ellipse">
              <a:avLst/>
            </a:prstGeom>
            <a:solidFill>
              <a:srgbClr val="B4DCE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Oval 17"/>
            <p:cNvSpPr>
              <a:spLocks noChangeArrowheads="1"/>
            </p:cNvSpPr>
            <p:nvPr/>
          </p:nvSpPr>
          <p:spPr bwMode="auto">
            <a:xfrm>
              <a:off x="12949114" y="2602206"/>
              <a:ext cx="350838" cy="346075"/>
            </a:xfrm>
            <a:prstGeom prst="ellipse">
              <a:avLst/>
            </a:prstGeom>
            <a:solidFill>
              <a:srgbClr val="84898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Oval 20"/>
            <p:cNvSpPr>
              <a:spLocks noChangeArrowheads="1"/>
            </p:cNvSpPr>
            <p:nvPr/>
          </p:nvSpPr>
          <p:spPr bwMode="auto">
            <a:xfrm>
              <a:off x="12949114" y="2978412"/>
              <a:ext cx="350838" cy="346075"/>
            </a:xfrm>
            <a:prstGeom prst="ellipse">
              <a:avLst/>
            </a:prstGeom>
            <a:solidFill>
              <a:srgbClr val="3738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Oval 21"/>
            <p:cNvSpPr>
              <a:spLocks noChangeArrowheads="1"/>
            </p:cNvSpPr>
            <p:nvPr/>
          </p:nvSpPr>
          <p:spPr bwMode="auto">
            <a:xfrm>
              <a:off x="12949114" y="3744823"/>
              <a:ext cx="350838" cy="346075"/>
            </a:xfrm>
            <a:prstGeom prst="ellipse">
              <a:avLst/>
            </a:prstGeom>
            <a:solidFill>
              <a:srgbClr val="FDAC5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Oval 22"/>
            <p:cNvSpPr>
              <a:spLocks noChangeArrowheads="1"/>
            </p:cNvSpPr>
            <p:nvPr/>
          </p:nvSpPr>
          <p:spPr bwMode="auto">
            <a:xfrm>
              <a:off x="12515726" y="4162223"/>
              <a:ext cx="350838" cy="346075"/>
            </a:xfrm>
            <a:prstGeom prst="ellipse">
              <a:avLst/>
            </a:prstGeom>
            <a:solidFill>
              <a:srgbClr val="F9E54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Oval 23"/>
            <p:cNvSpPr>
              <a:spLocks noChangeArrowheads="1"/>
            </p:cNvSpPr>
            <p:nvPr/>
          </p:nvSpPr>
          <p:spPr bwMode="auto">
            <a:xfrm>
              <a:off x="12949114" y="4162223"/>
              <a:ext cx="350838" cy="346075"/>
            </a:xfrm>
            <a:prstGeom prst="ellipse">
              <a:avLst/>
            </a:prstGeom>
            <a:solidFill>
              <a:srgbClr val="C3D3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Oval 24"/>
            <p:cNvSpPr>
              <a:spLocks noChangeArrowheads="1"/>
            </p:cNvSpPr>
            <p:nvPr/>
          </p:nvSpPr>
          <p:spPr bwMode="auto">
            <a:xfrm>
              <a:off x="12515726" y="4551048"/>
              <a:ext cx="350838" cy="346075"/>
            </a:xfrm>
            <a:prstGeom prst="ellipse">
              <a:avLst/>
            </a:prstGeom>
            <a:solidFill>
              <a:srgbClr val="008C4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Oval 25"/>
            <p:cNvSpPr>
              <a:spLocks noChangeArrowheads="1"/>
            </p:cNvSpPr>
            <p:nvPr/>
          </p:nvSpPr>
          <p:spPr bwMode="auto">
            <a:xfrm>
              <a:off x="12949114" y="4551048"/>
              <a:ext cx="350838" cy="346075"/>
            </a:xfrm>
            <a:prstGeom prst="ellipse">
              <a:avLst/>
            </a:prstGeom>
            <a:solidFill>
              <a:srgbClr val="1D428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Line 33"/>
            <p:cNvSpPr>
              <a:spLocks noChangeShapeType="1"/>
            </p:cNvSpPr>
            <p:nvPr/>
          </p:nvSpPr>
          <p:spPr bwMode="auto">
            <a:xfrm>
              <a:off x="12501439" y="342805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Oval 22"/>
            <p:cNvSpPr>
              <a:spLocks noChangeArrowheads="1"/>
            </p:cNvSpPr>
            <p:nvPr/>
          </p:nvSpPr>
          <p:spPr bwMode="auto">
            <a:xfrm>
              <a:off x="12515726" y="4968448"/>
              <a:ext cx="350838" cy="346075"/>
            </a:xfrm>
            <a:prstGeom prst="ellipse">
              <a:avLst/>
            </a:prstGeom>
            <a:solidFill>
              <a:srgbClr val="883F8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Oval 23"/>
            <p:cNvSpPr>
              <a:spLocks noChangeArrowheads="1"/>
            </p:cNvSpPr>
            <p:nvPr/>
          </p:nvSpPr>
          <p:spPr bwMode="auto">
            <a:xfrm>
              <a:off x="12949114" y="4968448"/>
              <a:ext cx="350838" cy="346075"/>
            </a:xfrm>
            <a:prstGeom prst="ellipse">
              <a:avLst/>
            </a:prstGeom>
            <a:solidFill>
              <a:srgbClr val="919BC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Oval 24"/>
            <p:cNvSpPr>
              <a:spLocks noChangeArrowheads="1"/>
            </p:cNvSpPr>
            <p:nvPr/>
          </p:nvSpPr>
          <p:spPr bwMode="auto">
            <a:xfrm>
              <a:off x="12732420" y="5357273"/>
              <a:ext cx="350838" cy="346075"/>
            </a:xfrm>
            <a:prstGeom prst="ellipse">
              <a:avLst/>
            </a:prstGeom>
            <a:solidFill>
              <a:srgbClr val="856A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Line 33"/>
            <p:cNvSpPr>
              <a:spLocks noChangeShapeType="1"/>
            </p:cNvSpPr>
            <p:nvPr/>
          </p:nvSpPr>
          <p:spPr bwMode="auto">
            <a:xfrm>
              <a:off x="12501439" y="66541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TextBox 105"/>
            <p:cNvSpPr txBox="1"/>
            <p:nvPr/>
          </p:nvSpPr>
          <p:spPr>
            <a:xfrm>
              <a:off x="12365458" y="3421008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Additional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642671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Light" preserve="1" userDrawn="1">
  <p:cSld name="Thank You Light">
    <p:bg>
      <p:bgPr>
        <a:solidFill>
          <a:schemeClr val="lt1"/>
        </a:solidFill>
        <a:effectLst/>
      </p:bgPr>
    </p:bg>
    <p:spTree>
      <p:nvGrpSpPr>
        <p:cNvPr id="1" name="Shape 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Объект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19" name="Прямоугольник 18"/>
          <p:cNvSpPr/>
          <p:nvPr userDrawn="1"/>
        </p:nvSpPr>
        <p:spPr>
          <a:xfrm>
            <a:off x="0" y="5212800"/>
            <a:ext cx="12191999" cy="16452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" name="Объект 1"/>
          <p:cNvPicPr>
            <a:picLocks noChangeAspect="1"/>
          </p:cNvPicPr>
          <p:nvPr/>
        </p:nvPicPr>
        <p:blipFill>
          <a:blip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98" name="Google Shape;298;p37"/>
          <p:cNvSpPr/>
          <p:nvPr userDrawn="1"/>
        </p:nvSpPr>
        <p:spPr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0" name="Google Shape;300;p37"/>
          <p:cNvSpPr/>
          <p:nvPr userDrawn="1"/>
        </p:nvSpPr>
        <p:spPr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1" name="Google Shape;301;p37"/>
          <p:cNvSpPr txBox="1"/>
          <p:nvPr userDrawn="1"/>
        </p:nvSpPr>
        <p:spPr>
          <a:xfrm>
            <a:off x="8218489" y="6165084"/>
            <a:ext cx="353060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-GB" sz="1600" dirty="0" smtClean="0">
                <a:solidFill>
                  <a:schemeClr val="bg1"/>
                </a:solidFill>
                <a:latin typeface="+mn-lt"/>
                <a:ea typeface="Arial"/>
                <a:cs typeface="Arial"/>
                <a:sym typeface="Arial"/>
              </a:rPr>
              <a:t>EFSD.ORG</a:t>
            </a:r>
          </a:p>
        </p:txBody>
      </p:sp>
      <p:sp>
        <p:nvSpPr>
          <p:cNvPr id="14" name="Прямоугольник 13"/>
          <p:cNvSpPr/>
          <p:nvPr userDrawn="1"/>
        </p:nvSpPr>
        <p:spPr>
          <a:xfrm>
            <a:off x="1251581" y="-1"/>
            <a:ext cx="1645200" cy="1267428"/>
          </a:xfrm>
          <a:prstGeom prst="rect">
            <a:avLst/>
          </a:pr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олилиния 16"/>
          <p:cNvSpPr/>
          <p:nvPr userDrawn="1"/>
        </p:nvSpPr>
        <p:spPr>
          <a:xfrm>
            <a:off x="1251581" y="1078014"/>
            <a:ext cx="1646760" cy="610980"/>
          </a:xfrm>
          <a:custGeom>
            <a:avLst/>
            <a:gdLst>
              <a:gd name="connsiteX0" fmla="*/ 0 w 1646760"/>
              <a:gd name="connsiteY0" fmla="*/ 0 h 610980"/>
              <a:gd name="connsiteX1" fmla="*/ 1646760 w 1646760"/>
              <a:gd name="connsiteY1" fmla="*/ 0 h 610980"/>
              <a:gd name="connsiteX2" fmla="*/ 1646760 w 1646760"/>
              <a:gd name="connsiteY2" fmla="*/ 376993 h 610980"/>
              <a:gd name="connsiteX3" fmla="*/ 1467066 w 1646760"/>
              <a:gd name="connsiteY3" fmla="*/ 448281 h 610980"/>
              <a:gd name="connsiteX4" fmla="*/ 122592 w 1646760"/>
              <a:gd name="connsiteY4" fmla="*/ 597394 h 610980"/>
              <a:gd name="connsiteX5" fmla="*/ 0 w 1646760"/>
              <a:gd name="connsiteY5" fmla="*/ 578256 h 610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46760" h="610980">
                <a:moveTo>
                  <a:pt x="0" y="0"/>
                </a:moveTo>
                <a:lnTo>
                  <a:pt x="1646760" y="0"/>
                </a:lnTo>
                <a:lnTo>
                  <a:pt x="1646760" y="376993"/>
                </a:lnTo>
                <a:lnTo>
                  <a:pt x="1467066" y="448281"/>
                </a:lnTo>
                <a:cubicBezTo>
                  <a:pt x="1019671" y="598635"/>
                  <a:pt x="472471" y="634626"/>
                  <a:pt x="122592" y="597394"/>
                </a:cubicBezTo>
                <a:lnTo>
                  <a:pt x="0" y="578256"/>
                </a:lnTo>
                <a:close/>
              </a:path>
            </a:pathLst>
          </a:cu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1285137" y="5659496"/>
            <a:ext cx="3990975" cy="775597"/>
          </a:xfrm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 typeface="Arial"/>
              <a:buNone/>
              <a:tabLst/>
              <a:defRPr sz="1400" baseline="0">
                <a:solidFill>
                  <a:schemeClr val="bg1"/>
                </a:solidFill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cs typeface="Arial"/>
                <a:sym typeface="Arial"/>
              </a:rPr>
              <a:t>101000 Russian Federation, Moscow,        </a:t>
            </a:r>
            <a:r>
              <a: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cs typeface="Arial"/>
                <a:sym typeface="Arial"/>
              </a:rPr>
              <a:t>Chistoprudny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cs typeface="Arial"/>
                <a:sym typeface="Arial"/>
              </a:rPr>
              <a:t> Boulevard, 17c1,                                            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cs typeface="Arial"/>
                <a:sym typeface="Arial"/>
              </a:rPr>
              <a:t>+7 495 645 04 45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cs typeface="Arial"/>
              <a:sym typeface="Arial"/>
            </a:endParaRPr>
          </a:p>
        </p:txBody>
      </p:sp>
      <p:sp>
        <p:nvSpPr>
          <p:cNvPr id="16" name="Текст 6"/>
          <p:cNvSpPr>
            <a:spLocks noGrp="1"/>
          </p:cNvSpPr>
          <p:nvPr>
            <p:ph type="body" sz="quarter" idx="16" hasCustomPrompt="1"/>
          </p:nvPr>
        </p:nvSpPr>
        <p:spPr>
          <a:xfrm>
            <a:off x="8218488" y="3193790"/>
            <a:ext cx="3533775" cy="250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 smtClean="0"/>
              <a:t>Name Surname</a:t>
            </a:r>
          </a:p>
        </p:txBody>
      </p:sp>
      <p:sp>
        <p:nvSpPr>
          <p:cNvPr id="20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8218488" y="3733813"/>
            <a:ext cx="3533775" cy="1091927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>
                <a:latin typeface="+mn-lt"/>
              </a:defRPr>
            </a:lvl1pPr>
          </a:lstStyle>
          <a:p>
            <a:pPr lvl="0"/>
            <a:r>
              <a:rPr lang="en-US" dirty="0" smtClean="0"/>
              <a:t>position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en-US" dirty="0" smtClean="0">
                <a:hlinkClick r:id="rId3"/>
              </a:rPr>
              <a:t>email@efsd.org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en-US" dirty="0" smtClean="0"/>
              <a:t>+7 </a:t>
            </a:r>
            <a:r>
              <a:rPr lang="en-US" dirty="0"/>
              <a:t>495 645 04 45 # 12 </a:t>
            </a:r>
            <a:r>
              <a:rPr lang="en-US" dirty="0" smtClean="0"/>
              <a:t>34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en-US" dirty="0" smtClean="0"/>
              <a:t>+7 </a:t>
            </a:r>
            <a:r>
              <a:rPr lang="en-US" dirty="0"/>
              <a:t>123 456 48 </a:t>
            </a:r>
            <a:r>
              <a:rPr lang="en-US" dirty="0" smtClean="0"/>
              <a:t>90</a:t>
            </a:r>
            <a:endParaRPr lang="en-US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327525" y="3193790"/>
            <a:ext cx="3533775" cy="2508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 b="1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dirty="0" smtClean="0"/>
              <a:t>Name Surname</a:t>
            </a:r>
          </a:p>
        </p:txBody>
      </p:sp>
      <p:sp>
        <p:nvSpPr>
          <p:cNvPr id="25" name="Текст 9"/>
          <p:cNvSpPr>
            <a:spLocks noGrp="1"/>
          </p:cNvSpPr>
          <p:nvPr>
            <p:ph type="body" sz="quarter" idx="19" hasCustomPrompt="1"/>
          </p:nvPr>
        </p:nvSpPr>
        <p:spPr>
          <a:xfrm>
            <a:off x="4327525" y="3733813"/>
            <a:ext cx="3533775" cy="1091927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>
                <a:latin typeface="+mn-lt"/>
              </a:defRPr>
            </a:lvl1pPr>
          </a:lstStyle>
          <a:p>
            <a:pPr lvl="0"/>
            <a:r>
              <a:rPr lang="en-US" dirty="0" smtClean="0"/>
              <a:t>position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en-US" dirty="0" smtClean="0">
                <a:hlinkClick r:id="rId4"/>
              </a:rPr>
              <a:t>email@efsd.org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en-US" dirty="0" smtClean="0"/>
              <a:t>+7 </a:t>
            </a:r>
            <a:r>
              <a:rPr lang="en-US" dirty="0"/>
              <a:t>495 645 04 45 # 12 </a:t>
            </a:r>
            <a:r>
              <a:rPr lang="en-US" dirty="0" smtClean="0"/>
              <a:t>34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en-US" dirty="0" smtClean="0"/>
              <a:t>+7 </a:t>
            </a:r>
            <a:r>
              <a:rPr lang="en-US" dirty="0"/>
              <a:t>123 456 48 90</a:t>
            </a:r>
          </a:p>
        </p:txBody>
      </p:sp>
      <p:sp>
        <p:nvSpPr>
          <p:cNvPr id="26" name="Прямоугольник 25"/>
          <p:cNvSpPr/>
          <p:nvPr userDrawn="1"/>
        </p:nvSpPr>
        <p:spPr>
          <a:xfrm>
            <a:off x="4327525" y="478660"/>
            <a:ext cx="5131979" cy="23544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50000"/>
              </a:lnSpc>
              <a:spcAft>
                <a:spcPts val="400"/>
              </a:spcAft>
            </a:pPr>
            <a:r>
              <a:rPr lang="hy-AM" sz="1700" b="1" dirty="0">
                <a:solidFill>
                  <a:srgbClr val="343467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Շնորհակալություն ուշադրության համար.</a:t>
            </a:r>
            <a:br>
              <a:rPr lang="hy-AM" sz="1700" b="1" dirty="0">
                <a:solidFill>
                  <a:srgbClr val="343467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700" b="1" dirty="0">
                <a:solidFill>
                  <a:srgbClr val="343467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Дзякуй за ўвагу!</a:t>
            </a:r>
            <a:br>
              <a:rPr lang="ru-RU" sz="1700" b="1" dirty="0">
                <a:solidFill>
                  <a:srgbClr val="343467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700" b="1" dirty="0">
                <a:solidFill>
                  <a:srgbClr val="343467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Назар аударғандарыңызға рахмет!</a:t>
            </a:r>
            <a:br>
              <a:rPr lang="ru-RU" sz="1700" b="1" dirty="0">
                <a:solidFill>
                  <a:srgbClr val="343467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700" b="1" dirty="0">
                <a:solidFill>
                  <a:srgbClr val="343467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Назар салганыңыздарга рахмат!</a:t>
            </a:r>
            <a:br>
              <a:rPr lang="ru-RU" sz="1700" b="1" dirty="0">
                <a:solidFill>
                  <a:srgbClr val="343467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700" b="1" dirty="0">
                <a:solidFill>
                  <a:srgbClr val="343467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Благодарю за внимание!</a:t>
            </a:r>
            <a:br>
              <a:rPr lang="ru-RU" sz="1700" b="1" dirty="0">
                <a:solidFill>
                  <a:srgbClr val="343467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700" b="1" dirty="0">
                <a:solidFill>
                  <a:srgbClr val="343467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Раҳмати калон</a:t>
            </a:r>
            <a:r>
              <a:rPr lang="ru-RU" sz="1700" b="1" dirty="0" smtClean="0">
                <a:solidFill>
                  <a:srgbClr val="343467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! </a:t>
            </a:r>
            <a:endParaRPr lang="ru-RU" sz="1700" b="1" dirty="0">
              <a:solidFill>
                <a:srgbClr val="343467"/>
              </a:solidFill>
              <a:latin typeface="+mj-lt"/>
              <a:ea typeface="Verdana" panose="020B0604030504040204" pitchFamily="34" charset="0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860" y="1398334"/>
            <a:ext cx="2008800" cy="1485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96510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1" preserve="1" userDrawn="1">
  <p:cSld name="Section divider 1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682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7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Прямоугольник 47"/>
          <p:cNvSpPr/>
          <p:nvPr userDrawn="1"/>
        </p:nvSpPr>
        <p:spPr>
          <a:xfrm>
            <a:off x="1253141" y="5590572"/>
            <a:ext cx="1645200" cy="1267428"/>
          </a:xfrm>
          <a:prstGeom prst="rect">
            <a:avLst/>
          </a:pr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рямоугольник 49"/>
          <p:cNvSpPr/>
          <p:nvPr userDrawn="1"/>
        </p:nvSpPr>
        <p:spPr>
          <a:xfrm>
            <a:off x="1253141" y="0"/>
            <a:ext cx="1645200" cy="18192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Объект 2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1336338" y="2247089"/>
            <a:ext cx="6524962" cy="2507414"/>
          </a:xfrm>
        </p:spPr>
        <p:txBody>
          <a:bodyPr vert="horz"/>
          <a:lstStyle>
            <a:lvl1pPr>
              <a:defRPr sz="3600" cap="none" baseline="0"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Section title</a:t>
            </a:r>
            <a:br>
              <a:rPr lang="en-US" dirty="0" smtClean="0"/>
            </a:br>
            <a:r>
              <a:rPr lang="en-US" dirty="0" smtClean="0"/>
              <a:t>in several lines</a:t>
            </a:r>
            <a:endParaRPr lang="ru-RU" dirty="0"/>
          </a:p>
        </p:txBody>
      </p:sp>
      <p:sp>
        <p:nvSpPr>
          <p:cNvPr id="94" name="Текст 93"/>
          <p:cNvSpPr>
            <a:spLocks noGrp="1"/>
          </p:cNvSpPr>
          <p:nvPr>
            <p:ph type="body" sz="quarter" idx="11" hasCustomPrompt="1"/>
          </p:nvPr>
        </p:nvSpPr>
        <p:spPr>
          <a:xfrm>
            <a:off x="1334210" y="428625"/>
            <a:ext cx="1483062" cy="1420306"/>
          </a:xfrm>
        </p:spPr>
        <p:txBody>
          <a:bodyPr>
            <a:noAutofit/>
          </a:bodyPr>
          <a:lstStyle>
            <a:lvl1pPr algn="ctr">
              <a:defRPr sz="10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9" name="Полилиния 48"/>
          <p:cNvSpPr/>
          <p:nvPr userDrawn="1"/>
        </p:nvSpPr>
        <p:spPr>
          <a:xfrm>
            <a:off x="1251581" y="356563"/>
            <a:ext cx="1646760" cy="291137"/>
          </a:xfrm>
          <a:custGeom>
            <a:avLst/>
            <a:gdLst>
              <a:gd name="connsiteX0" fmla="*/ 1646760 w 1646760"/>
              <a:gd name="connsiteY0" fmla="*/ 0 h 291137"/>
              <a:gd name="connsiteX1" fmla="*/ 1646760 w 1646760"/>
              <a:gd name="connsiteY1" fmla="*/ 57150 h 291137"/>
              <a:gd name="connsiteX2" fmla="*/ 1467066 w 1646760"/>
              <a:gd name="connsiteY2" fmla="*/ 128438 h 291137"/>
              <a:gd name="connsiteX3" fmla="*/ 122592 w 1646760"/>
              <a:gd name="connsiteY3" fmla="*/ 277551 h 291137"/>
              <a:gd name="connsiteX4" fmla="*/ 0 w 1646760"/>
              <a:gd name="connsiteY4" fmla="*/ 258413 h 291137"/>
              <a:gd name="connsiteX5" fmla="*/ 0 w 1646760"/>
              <a:gd name="connsiteY5" fmla="*/ 201263 h 291137"/>
              <a:gd name="connsiteX6" fmla="*/ 122592 w 1646760"/>
              <a:gd name="connsiteY6" fmla="*/ 220401 h 291137"/>
              <a:gd name="connsiteX7" fmla="*/ 1467066 w 1646760"/>
              <a:gd name="connsiteY7" fmla="*/ 71288 h 291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46760" h="291137">
                <a:moveTo>
                  <a:pt x="1646760" y="0"/>
                </a:moveTo>
                <a:lnTo>
                  <a:pt x="1646760" y="57150"/>
                </a:lnTo>
                <a:lnTo>
                  <a:pt x="1467066" y="128438"/>
                </a:lnTo>
                <a:cubicBezTo>
                  <a:pt x="1019671" y="278792"/>
                  <a:pt x="472471" y="314783"/>
                  <a:pt x="122592" y="277551"/>
                </a:cubicBezTo>
                <a:lnTo>
                  <a:pt x="0" y="258413"/>
                </a:lnTo>
                <a:lnTo>
                  <a:pt x="0" y="201263"/>
                </a:lnTo>
                <a:lnTo>
                  <a:pt x="122592" y="220401"/>
                </a:lnTo>
                <a:cubicBezTo>
                  <a:pt x="472471" y="257633"/>
                  <a:pt x="1019671" y="221642"/>
                  <a:pt x="1467066" y="7128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39" name="Группа 38"/>
          <p:cNvGrpSpPr>
            <a:grpSpLocks noChangeAspect="1"/>
          </p:cNvGrpSpPr>
          <p:nvPr userDrawn="1"/>
        </p:nvGrpSpPr>
        <p:grpSpPr>
          <a:xfrm>
            <a:off x="12365458" y="2"/>
            <a:ext cx="1080000" cy="6858030"/>
            <a:chOff x="12365458" y="0"/>
            <a:chExt cx="1080000" cy="6858000"/>
          </a:xfrm>
        </p:grpSpPr>
        <p:sp>
          <p:nvSpPr>
            <p:cNvPr id="40" name="Freeform 5"/>
            <p:cNvSpPr>
              <a:spLocks/>
            </p:cNvSpPr>
            <p:nvPr/>
          </p:nvSpPr>
          <p:spPr bwMode="auto">
            <a:xfrm>
              <a:off x="12365458" y="0"/>
              <a:ext cx="1080000" cy="6858000"/>
            </a:xfrm>
            <a:prstGeom prst="roundRect">
              <a:avLst>
                <a:gd name="adj" fmla="val 12318"/>
              </a:avLst>
            </a:prstGeom>
            <a:solidFill>
              <a:schemeClr val="bg1"/>
            </a:solidFill>
            <a:ln w="7938" cap="flat">
              <a:solidFill>
                <a:srgbClr val="FEFEF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41" name="Группа 40"/>
            <p:cNvGrpSpPr/>
            <p:nvPr userDrawn="1"/>
          </p:nvGrpSpPr>
          <p:grpSpPr>
            <a:xfrm>
              <a:off x="12365458" y="5764224"/>
              <a:ext cx="1080000" cy="838989"/>
              <a:chOff x="12365458" y="5764224"/>
              <a:chExt cx="1080000" cy="838989"/>
            </a:xfrm>
          </p:grpSpPr>
          <p:pic>
            <p:nvPicPr>
              <p:cNvPr id="99" name="Picture 30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08164" y="6094649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0" name="Picture 31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37017" y="6101736"/>
                <a:ext cx="152400" cy="123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1" name="Picture 32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125833" y="6321161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02" name="TextBox 101"/>
              <p:cNvSpPr txBox="1"/>
              <p:nvPr/>
            </p:nvSpPr>
            <p:spPr>
              <a:xfrm>
                <a:off x="12365458" y="5764224"/>
                <a:ext cx="1080000" cy="838989"/>
              </a:xfrm>
              <a:prstGeom prst="rect">
                <a:avLst/>
              </a:prstGeom>
              <a:noFill/>
            </p:spPr>
            <p:txBody>
              <a:bodyPr wrap="square" lIns="36000" tIns="0" rIns="3600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Select a text or graphic element.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, respectively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or .</a:t>
                </a:r>
              </a:p>
              <a:p>
                <a:pPr algn="ctr">
                  <a:lnSpc>
                    <a:spcPct val="90000"/>
                  </a:lnSpc>
                  <a:spcBef>
                    <a:spcPts val="300"/>
                  </a:spcBef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After selecting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the pipette tool          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 on the desired color on the palette.</a:t>
                </a:r>
                <a:endParaRPr lang="ru-RU" sz="800" dirty="0">
                  <a:solidFill>
                    <a:srgbClr val="30343F"/>
                  </a:solidFill>
                  <a:latin typeface="Source Sans Pro" panose="020B0503030403020204" pitchFamily="34" charset="0"/>
                </a:endParaRPr>
              </a:p>
            </p:txBody>
          </p:sp>
        </p:grpSp>
        <p:sp>
          <p:nvSpPr>
            <p:cNvPr id="42" name="TextBox 41"/>
            <p:cNvSpPr txBox="1"/>
            <p:nvPr/>
          </p:nvSpPr>
          <p:spPr>
            <a:xfrm>
              <a:off x="12368248" y="18288"/>
              <a:ext cx="1074420" cy="4606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Color palette </a:t>
              </a:r>
              <a:b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</a:b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for EFSR presentations</a:t>
              </a:r>
              <a:endParaRPr lang="ru-RU" sz="1000" dirty="0">
                <a:solidFill>
                  <a:srgbClr val="343467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12365458" y="640080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The main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44" name="Oval 8"/>
            <p:cNvSpPr>
              <a:spLocks noChangeArrowheads="1"/>
            </p:cNvSpPr>
            <p:nvPr/>
          </p:nvSpPr>
          <p:spPr bwMode="auto">
            <a:xfrm>
              <a:off x="12518642" y="970675"/>
              <a:ext cx="350838" cy="346075"/>
            </a:xfrm>
            <a:prstGeom prst="ellipse">
              <a:avLst/>
            </a:prstGeom>
            <a:solidFill>
              <a:srgbClr val="00589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Oval 9"/>
            <p:cNvSpPr>
              <a:spLocks noChangeArrowheads="1"/>
            </p:cNvSpPr>
            <p:nvPr/>
          </p:nvSpPr>
          <p:spPr bwMode="auto">
            <a:xfrm>
              <a:off x="12515726" y="1381725"/>
              <a:ext cx="350838" cy="346075"/>
            </a:xfrm>
            <a:prstGeom prst="ellipse">
              <a:avLst/>
            </a:prstGeom>
            <a:solidFill>
              <a:srgbClr val="00B1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Oval 10"/>
            <p:cNvSpPr>
              <a:spLocks noChangeArrowheads="1"/>
            </p:cNvSpPr>
            <p:nvPr/>
          </p:nvSpPr>
          <p:spPr bwMode="auto">
            <a:xfrm>
              <a:off x="12515726" y="2602206"/>
              <a:ext cx="350838" cy="346075"/>
            </a:xfrm>
            <a:prstGeom prst="ellipse">
              <a:avLst/>
            </a:prstGeom>
            <a:solidFill>
              <a:srgbClr val="C2BFB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Oval 11"/>
            <p:cNvSpPr>
              <a:spLocks noChangeAspect="1" noChangeArrowheads="1"/>
            </p:cNvSpPr>
            <p:nvPr/>
          </p:nvSpPr>
          <p:spPr bwMode="auto">
            <a:xfrm>
              <a:off x="12515725" y="1780075"/>
              <a:ext cx="793329" cy="792000"/>
            </a:xfrm>
            <a:prstGeom prst="ellipse">
              <a:avLst/>
            </a:prstGeom>
            <a:solidFill>
              <a:srgbClr val="343467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lvl="0"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FFFFFF"/>
                  </a:solidFill>
                  <a:latin typeface="Source Sans Pro" panose="020B0503030403020204" pitchFamily="34" charset="0"/>
                </a:rPr>
                <a:t>Base color</a:t>
              </a:r>
              <a:endParaRPr lang="ru-RU" sz="1000" dirty="0">
                <a:solidFill>
                  <a:srgbClr val="FFFFF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1" name="Oval 13"/>
            <p:cNvSpPr>
              <a:spLocks noChangeArrowheads="1"/>
            </p:cNvSpPr>
            <p:nvPr/>
          </p:nvSpPr>
          <p:spPr bwMode="auto">
            <a:xfrm>
              <a:off x="12515726" y="2978412"/>
              <a:ext cx="350838" cy="346075"/>
            </a:xfrm>
            <a:prstGeom prst="ellipse">
              <a:avLst/>
            </a:prstGeom>
            <a:solidFill>
              <a:srgbClr val="30343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Oval 14"/>
            <p:cNvSpPr>
              <a:spLocks noChangeArrowheads="1"/>
            </p:cNvSpPr>
            <p:nvPr/>
          </p:nvSpPr>
          <p:spPr bwMode="auto">
            <a:xfrm>
              <a:off x="12515726" y="3744823"/>
              <a:ext cx="350838" cy="346075"/>
            </a:xfrm>
            <a:prstGeom prst="ellipse">
              <a:avLst/>
            </a:prstGeom>
            <a:solidFill>
              <a:srgbClr val="D034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Oval 15"/>
            <p:cNvSpPr>
              <a:spLocks noChangeArrowheads="1"/>
            </p:cNvSpPr>
            <p:nvPr/>
          </p:nvSpPr>
          <p:spPr bwMode="auto">
            <a:xfrm>
              <a:off x="12949114" y="975437"/>
              <a:ext cx="350838" cy="346075"/>
            </a:xfrm>
            <a:prstGeom prst="ellipse">
              <a:avLst/>
            </a:prstGeom>
            <a:solidFill>
              <a:srgbClr val="007CB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Oval 16"/>
            <p:cNvSpPr>
              <a:spLocks noChangeArrowheads="1"/>
            </p:cNvSpPr>
            <p:nvPr/>
          </p:nvSpPr>
          <p:spPr bwMode="auto">
            <a:xfrm>
              <a:off x="12949114" y="1381725"/>
              <a:ext cx="350838" cy="346075"/>
            </a:xfrm>
            <a:prstGeom prst="ellipse">
              <a:avLst/>
            </a:prstGeom>
            <a:solidFill>
              <a:srgbClr val="B4DCE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Oval 17"/>
            <p:cNvSpPr>
              <a:spLocks noChangeArrowheads="1"/>
            </p:cNvSpPr>
            <p:nvPr/>
          </p:nvSpPr>
          <p:spPr bwMode="auto">
            <a:xfrm>
              <a:off x="12949114" y="2602206"/>
              <a:ext cx="350838" cy="346075"/>
            </a:xfrm>
            <a:prstGeom prst="ellipse">
              <a:avLst/>
            </a:prstGeom>
            <a:solidFill>
              <a:srgbClr val="84898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Oval 20"/>
            <p:cNvSpPr>
              <a:spLocks noChangeArrowheads="1"/>
            </p:cNvSpPr>
            <p:nvPr/>
          </p:nvSpPr>
          <p:spPr bwMode="auto">
            <a:xfrm>
              <a:off x="12949114" y="2978412"/>
              <a:ext cx="350838" cy="346075"/>
            </a:xfrm>
            <a:prstGeom prst="ellipse">
              <a:avLst/>
            </a:prstGeom>
            <a:solidFill>
              <a:srgbClr val="3738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Oval 21"/>
            <p:cNvSpPr>
              <a:spLocks noChangeArrowheads="1"/>
            </p:cNvSpPr>
            <p:nvPr/>
          </p:nvSpPr>
          <p:spPr bwMode="auto">
            <a:xfrm>
              <a:off x="12949114" y="3744823"/>
              <a:ext cx="350838" cy="346075"/>
            </a:xfrm>
            <a:prstGeom prst="ellipse">
              <a:avLst/>
            </a:prstGeom>
            <a:solidFill>
              <a:srgbClr val="FDAC5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Oval 22"/>
            <p:cNvSpPr>
              <a:spLocks noChangeArrowheads="1"/>
            </p:cNvSpPr>
            <p:nvPr/>
          </p:nvSpPr>
          <p:spPr bwMode="auto">
            <a:xfrm>
              <a:off x="12515726" y="4162223"/>
              <a:ext cx="350838" cy="346075"/>
            </a:xfrm>
            <a:prstGeom prst="ellipse">
              <a:avLst/>
            </a:prstGeom>
            <a:solidFill>
              <a:srgbClr val="F9E54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Oval 23"/>
            <p:cNvSpPr>
              <a:spLocks noChangeArrowheads="1"/>
            </p:cNvSpPr>
            <p:nvPr/>
          </p:nvSpPr>
          <p:spPr bwMode="auto">
            <a:xfrm>
              <a:off x="12949114" y="4162223"/>
              <a:ext cx="350838" cy="346075"/>
            </a:xfrm>
            <a:prstGeom prst="ellipse">
              <a:avLst/>
            </a:prstGeom>
            <a:solidFill>
              <a:srgbClr val="C3D3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Oval 24"/>
            <p:cNvSpPr>
              <a:spLocks noChangeArrowheads="1"/>
            </p:cNvSpPr>
            <p:nvPr/>
          </p:nvSpPr>
          <p:spPr bwMode="auto">
            <a:xfrm>
              <a:off x="12515726" y="4551048"/>
              <a:ext cx="350838" cy="346075"/>
            </a:xfrm>
            <a:prstGeom prst="ellipse">
              <a:avLst/>
            </a:prstGeom>
            <a:solidFill>
              <a:srgbClr val="008C4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Oval 25"/>
            <p:cNvSpPr>
              <a:spLocks noChangeArrowheads="1"/>
            </p:cNvSpPr>
            <p:nvPr/>
          </p:nvSpPr>
          <p:spPr bwMode="auto">
            <a:xfrm>
              <a:off x="12949114" y="4551048"/>
              <a:ext cx="350838" cy="346075"/>
            </a:xfrm>
            <a:prstGeom prst="ellipse">
              <a:avLst/>
            </a:prstGeom>
            <a:solidFill>
              <a:srgbClr val="1D428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Line 33"/>
            <p:cNvSpPr>
              <a:spLocks noChangeShapeType="1"/>
            </p:cNvSpPr>
            <p:nvPr/>
          </p:nvSpPr>
          <p:spPr bwMode="auto">
            <a:xfrm>
              <a:off x="12501439" y="342805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Oval 22"/>
            <p:cNvSpPr>
              <a:spLocks noChangeArrowheads="1"/>
            </p:cNvSpPr>
            <p:nvPr/>
          </p:nvSpPr>
          <p:spPr bwMode="auto">
            <a:xfrm>
              <a:off x="12515726" y="4968448"/>
              <a:ext cx="350838" cy="346075"/>
            </a:xfrm>
            <a:prstGeom prst="ellipse">
              <a:avLst/>
            </a:prstGeom>
            <a:solidFill>
              <a:srgbClr val="883F8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Oval 23"/>
            <p:cNvSpPr>
              <a:spLocks noChangeArrowheads="1"/>
            </p:cNvSpPr>
            <p:nvPr/>
          </p:nvSpPr>
          <p:spPr bwMode="auto">
            <a:xfrm>
              <a:off x="12949114" y="4968448"/>
              <a:ext cx="350838" cy="346075"/>
            </a:xfrm>
            <a:prstGeom prst="ellipse">
              <a:avLst/>
            </a:prstGeom>
            <a:solidFill>
              <a:srgbClr val="919BC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Oval 24"/>
            <p:cNvSpPr>
              <a:spLocks noChangeArrowheads="1"/>
            </p:cNvSpPr>
            <p:nvPr/>
          </p:nvSpPr>
          <p:spPr bwMode="auto">
            <a:xfrm>
              <a:off x="12732420" y="5357273"/>
              <a:ext cx="350838" cy="346075"/>
            </a:xfrm>
            <a:prstGeom prst="ellipse">
              <a:avLst/>
            </a:prstGeom>
            <a:solidFill>
              <a:srgbClr val="856A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Line 33"/>
            <p:cNvSpPr>
              <a:spLocks noChangeShapeType="1"/>
            </p:cNvSpPr>
            <p:nvPr/>
          </p:nvSpPr>
          <p:spPr bwMode="auto">
            <a:xfrm>
              <a:off x="12501439" y="66541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12365458" y="3421008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Additional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96927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1" preserve="1" userDrawn="1">
  <p:cSld name="Section divider 2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3094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Полилиния 44"/>
          <p:cNvSpPr/>
          <p:nvPr userDrawn="1"/>
        </p:nvSpPr>
        <p:spPr>
          <a:xfrm>
            <a:off x="1251581" y="0"/>
            <a:ext cx="1646760" cy="610980"/>
          </a:xfrm>
          <a:custGeom>
            <a:avLst/>
            <a:gdLst>
              <a:gd name="connsiteX0" fmla="*/ 0 w 1646760"/>
              <a:gd name="connsiteY0" fmla="*/ 0 h 610980"/>
              <a:gd name="connsiteX1" fmla="*/ 1646760 w 1646760"/>
              <a:gd name="connsiteY1" fmla="*/ 0 h 610980"/>
              <a:gd name="connsiteX2" fmla="*/ 1646760 w 1646760"/>
              <a:gd name="connsiteY2" fmla="*/ 376993 h 610980"/>
              <a:gd name="connsiteX3" fmla="*/ 1467066 w 1646760"/>
              <a:gd name="connsiteY3" fmla="*/ 448281 h 610980"/>
              <a:gd name="connsiteX4" fmla="*/ 122592 w 1646760"/>
              <a:gd name="connsiteY4" fmla="*/ 597394 h 610980"/>
              <a:gd name="connsiteX5" fmla="*/ 0 w 1646760"/>
              <a:gd name="connsiteY5" fmla="*/ 578256 h 610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46760" h="610980">
                <a:moveTo>
                  <a:pt x="0" y="0"/>
                </a:moveTo>
                <a:lnTo>
                  <a:pt x="1646760" y="0"/>
                </a:lnTo>
                <a:lnTo>
                  <a:pt x="1646760" y="376993"/>
                </a:lnTo>
                <a:lnTo>
                  <a:pt x="1467066" y="448281"/>
                </a:lnTo>
                <a:cubicBezTo>
                  <a:pt x="1019671" y="598635"/>
                  <a:pt x="472471" y="634626"/>
                  <a:pt x="122592" y="597394"/>
                </a:cubicBezTo>
                <a:lnTo>
                  <a:pt x="0" y="578256"/>
                </a:lnTo>
                <a:close/>
              </a:path>
            </a:pathLst>
          </a:cu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48" name="Прямоугольник 47"/>
          <p:cNvSpPr/>
          <p:nvPr userDrawn="1"/>
        </p:nvSpPr>
        <p:spPr>
          <a:xfrm>
            <a:off x="1253141" y="5590572"/>
            <a:ext cx="1645200" cy="1267428"/>
          </a:xfrm>
          <a:prstGeom prst="rect">
            <a:avLst/>
          </a:pr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Объект 2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1336338" y="2247089"/>
            <a:ext cx="6524962" cy="2507414"/>
          </a:xfrm>
        </p:spPr>
        <p:txBody>
          <a:bodyPr vert="horz"/>
          <a:lstStyle>
            <a:lvl1pPr>
              <a:defRPr sz="3600" cap="none" baseline="0"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Section title</a:t>
            </a:r>
            <a:br>
              <a:rPr lang="en-US" dirty="0" smtClean="0"/>
            </a:br>
            <a:r>
              <a:rPr lang="en-US" dirty="0" smtClean="0"/>
              <a:t>in several lines</a:t>
            </a:r>
            <a:endParaRPr lang="ru-RU" dirty="0"/>
          </a:p>
        </p:txBody>
      </p:sp>
      <p:sp>
        <p:nvSpPr>
          <p:cNvPr id="94" name="Текст 93"/>
          <p:cNvSpPr>
            <a:spLocks noGrp="1"/>
          </p:cNvSpPr>
          <p:nvPr>
            <p:ph type="body" sz="quarter" idx="11" hasCustomPrompt="1"/>
          </p:nvPr>
        </p:nvSpPr>
        <p:spPr>
          <a:xfrm>
            <a:off x="1334210" y="352425"/>
            <a:ext cx="1483062" cy="1267906"/>
          </a:xfrm>
        </p:spPr>
        <p:txBody>
          <a:bodyPr>
            <a:noAutofit/>
          </a:bodyPr>
          <a:lstStyle>
            <a:lvl1pPr algn="ctr">
              <a:defRPr sz="10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9" name="Прямоугольник 48"/>
          <p:cNvSpPr/>
          <p:nvPr userDrawn="1"/>
        </p:nvSpPr>
        <p:spPr>
          <a:xfrm>
            <a:off x="1253141" y="1639275"/>
            <a:ext cx="1645200" cy="180000"/>
          </a:xfrm>
          <a:prstGeom prst="rect">
            <a:avLst/>
          </a:pr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9" name="Группа 38"/>
          <p:cNvGrpSpPr>
            <a:grpSpLocks noChangeAspect="1"/>
          </p:cNvGrpSpPr>
          <p:nvPr userDrawn="1"/>
        </p:nvGrpSpPr>
        <p:grpSpPr>
          <a:xfrm>
            <a:off x="12365458" y="2"/>
            <a:ext cx="1080000" cy="6858030"/>
            <a:chOff x="12365458" y="0"/>
            <a:chExt cx="1080000" cy="6858000"/>
          </a:xfrm>
        </p:grpSpPr>
        <p:sp>
          <p:nvSpPr>
            <p:cNvPr id="40" name="Freeform 5"/>
            <p:cNvSpPr>
              <a:spLocks/>
            </p:cNvSpPr>
            <p:nvPr/>
          </p:nvSpPr>
          <p:spPr bwMode="auto">
            <a:xfrm>
              <a:off x="12365458" y="0"/>
              <a:ext cx="1080000" cy="6858000"/>
            </a:xfrm>
            <a:prstGeom prst="roundRect">
              <a:avLst>
                <a:gd name="adj" fmla="val 12318"/>
              </a:avLst>
            </a:prstGeom>
            <a:solidFill>
              <a:schemeClr val="bg1"/>
            </a:solidFill>
            <a:ln w="7938" cap="flat">
              <a:solidFill>
                <a:srgbClr val="FEFEF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41" name="Группа 40"/>
            <p:cNvGrpSpPr/>
            <p:nvPr userDrawn="1"/>
          </p:nvGrpSpPr>
          <p:grpSpPr>
            <a:xfrm>
              <a:off x="12365458" y="5764224"/>
              <a:ext cx="1080000" cy="838989"/>
              <a:chOff x="12365458" y="5764224"/>
              <a:chExt cx="1080000" cy="838989"/>
            </a:xfrm>
          </p:grpSpPr>
          <p:pic>
            <p:nvPicPr>
              <p:cNvPr id="99" name="Picture 30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08164" y="6094649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0" name="Picture 31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37017" y="6101736"/>
                <a:ext cx="152400" cy="123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1" name="Picture 32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125833" y="6321161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02" name="TextBox 101"/>
              <p:cNvSpPr txBox="1"/>
              <p:nvPr/>
            </p:nvSpPr>
            <p:spPr>
              <a:xfrm>
                <a:off x="12365458" y="5764224"/>
                <a:ext cx="1080000" cy="838989"/>
              </a:xfrm>
              <a:prstGeom prst="rect">
                <a:avLst/>
              </a:prstGeom>
              <a:noFill/>
            </p:spPr>
            <p:txBody>
              <a:bodyPr wrap="square" lIns="36000" tIns="0" rIns="3600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Select a text or graphic element.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, respectively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or .</a:t>
                </a:r>
              </a:p>
              <a:p>
                <a:pPr algn="ctr">
                  <a:lnSpc>
                    <a:spcPct val="90000"/>
                  </a:lnSpc>
                  <a:spcBef>
                    <a:spcPts val="300"/>
                  </a:spcBef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After selecting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the pipette tool          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 on the desired color on the palette.</a:t>
                </a:r>
                <a:endParaRPr lang="ru-RU" sz="800" dirty="0">
                  <a:solidFill>
                    <a:srgbClr val="30343F"/>
                  </a:solidFill>
                  <a:latin typeface="Source Sans Pro" panose="020B0503030403020204" pitchFamily="34" charset="0"/>
                </a:endParaRPr>
              </a:p>
            </p:txBody>
          </p:sp>
        </p:grpSp>
        <p:sp>
          <p:nvSpPr>
            <p:cNvPr id="42" name="TextBox 41"/>
            <p:cNvSpPr txBox="1"/>
            <p:nvPr/>
          </p:nvSpPr>
          <p:spPr>
            <a:xfrm>
              <a:off x="12368248" y="18288"/>
              <a:ext cx="1074420" cy="4606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Color palette </a:t>
              </a:r>
              <a:b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</a:b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for EFSR presentations</a:t>
              </a:r>
              <a:endParaRPr lang="ru-RU" sz="1000" dirty="0">
                <a:solidFill>
                  <a:srgbClr val="343467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12365458" y="640080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The main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44" name="Oval 8"/>
            <p:cNvSpPr>
              <a:spLocks noChangeArrowheads="1"/>
            </p:cNvSpPr>
            <p:nvPr/>
          </p:nvSpPr>
          <p:spPr bwMode="auto">
            <a:xfrm>
              <a:off x="12518642" y="970675"/>
              <a:ext cx="350838" cy="346075"/>
            </a:xfrm>
            <a:prstGeom prst="ellipse">
              <a:avLst/>
            </a:prstGeom>
            <a:solidFill>
              <a:srgbClr val="00589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Oval 9"/>
            <p:cNvSpPr>
              <a:spLocks noChangeArrowheads="1"/>
            </p:cNvSpPr>
            <p:nvPr/>
          </p:nvSpPr>
          <p:spPr bwMode="auto">
            <a:xfrm>
              <a:off x="12515726" y="1381725"/>
              <a:ext cx="350838" cy="346075"/>
            </a:xfrm>
            <a:prstGeom prst="ellipse">
              <a:avLst/>
            </a:prstGeom>
            <a:solidFill>
              <a:srgbClr val="00B1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9" name="Oval 10"/>
            <p:cNvSpPr>
              <a:spLocks noChangeArrowheads="1"/>
            </p:cNvSpPr>
            <p:nvPr/>
          </p:nvSpPr>
          <p:spPr bwMode="auto">
            <a:xfrm>
              <a:off x="12515726" y="2602206"/>
              <a:ext cx="350838" cy="346075"/>
            </a:xfrm>
            <a:prstGeom prst="ellipse">
              <a:avLst/>
            </a:prstGeom>
            <a:solidFill>
              <a:srgbClr val="C2BFB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Oval 11"/>
            <p:cNvSpPr>
              <a:spLocks noChangeAspect="1" noChangeArrowheads="1"/>
            </p:cNvSpPr>
            <p:nvPr/>
          </p:nvSpPr>
          <p:spPr bwMode="auto">
            <a:xfrm>
              <a:off x="12515725" y="1780075"/>
              <a:ext cx="793329" cy="792000"/>
            </a:xfrm>
            <a:prstGeom prst="ellipse">
              <a:avLst/>
            </a:prstGeom>
            <a:solidFill>
              <a:srgbClr val="343467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lvl="0"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FFFFFF"/>
                  </a:solidFill>
                  <a:latin typeface="Source Sans Pro" panose="020B0503030403020204" pitchFamily="34" charset="0"/>
                </a:rPr>
                <a:t>Base color</a:t>
              </a:r>
              <a:endParaRPr lang="ru-RU" sz="1000" dirty="0">
                <a:solidFill>
                  <a:srgbClr val="FFFFF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1" name="Oval 13"/>
            <p:cNvSpPr>
              <a:spLocks noChangeArrowheads="1"/>
            </p:cNvSpPr>
            <p:nvPr/>
          </p:nvSpPr>
          <p:spPr bwMode="auto">
            <a:xfrm>
              <a:off x="12515726" y="2978412"/>
              <a:ext cx="350838" cy="346075"/>
            </a:xfrm>
            <a:prstGeom prst="ellipse">
              <a:avLst/>
            </a:prstGeom>
            <a:solidFill>
              <a:srgbClr val="30343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Oval 14"/>
            <p:cNvSpPr>
              <a:spLocks noChangeArrowheads="1"/>
            </p:cNvSpPr>
            <p:nvPr/>
          </p:nvSpPr>
          <p:spPr bwMode="auto">
            <a:xfrm>
              <a:off x="12515726" y="3744823"/>
              <a:ext cx="350838" cy="346075"/>
            </a:xfrm>
            <a:prstGeom prst="ellipse">
              <a:avLst/>
            </a:prstGeom>
            <a:solidFill>
              <a:srgbClr val="D034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Oval 15"/>
            <p:cNvSpPr>
              <a:spLocks noChangeArrowheads="1"/>
            </p:cNvSpPr>
            <p:nvPr/>
          </p:nvSpPr>
          <p:spPr bwMode="auto">
            <a:xfrm>
              <a:off x="12949114" y="975437"/>
              <a:ext cx="350838" cy="346075"/>
            </a:xfrm>
            <a:prstGeom prst="ellipse">
              <a:avLst/>
            </a:prstGeom>
            <a:solidFill>
              <a:srgbClr val="007CB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Oval 16"/>
            <p:cNvSpPr>
              <a:spLocks noChangeArrowheads="1"/>
            </p:cNvSpPr>
            <p:nvPr/>
          </p:nvSpPr>
          <p:spPr bwMode="auto">
            <a:xfrm>
              <a:off x="12949114" y="1381725"/>
              <a:ext cx="350838" cy="346075"/>
            </a:xfrm>
            <a:prstGeom prst="ellipse">
              <a:avLst/>
            </a:prstGeom>
            <a:solidFill>
              <a:srgbClr val="B4DCE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Oval 17"/>
            <p:cNvSpPr>
              <a:spLocks noChangeArrowheads="1"/>
            </p:cNvSpPr>
            <p:nvPr/>
          </p:nvSpPr>
          <p:spPr bwMode="auto">
            <a:xfrm>
              <a:off x="12949114" y="2602206"/>
              <a:ext cx="350838" cy="346075"/>
            </a:xfrm>
            <a:prstGeom prst="ellipse">
              <a:avLst/>
            </a:prstGeom>
            <a:solidFill>
              <a:srgbClr val="84898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Oval 20"/>
            <p:cNvSpPr>
              <a:spLocks noChangeArrowheads="1"/>
            </p:cNvSpPr>
            <p:nvPr/>
          </p:nvSpPr>
          <p:spPr bwMode="auto">
            <a:xfrm>
              <a:off x="12949114" y="2978412"/>
              <a:ext cx="350838" cy="346075"/>
            </a:xfrm>
            <a:prstGeom prst="ellipse">
              <a:avLst/>
            </a:prstGeom>
            <a:solidFill>
              <a:srgbClr val="3738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Oval 21"/>
            <p:cNvSpPr>
              <a:spLocks noChangeArrowheads="1"/>
            </p:cNvSpPr>
            <p:nvPr/>
          </p:nvSpPr>
          <p:spPr bwMode="auto">
            <a:xfrm>
              <a:off x="12949114" y="3744823"/>
              <a:ext cx="350838" cy="346075"/>
            </a:xfrm>
            <a:prstGeom prst="ellipse">
              <a:avLst/>
            </a:prstGeom>
            <a:solidFill>
              <a:srgbClr val="FDAC5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Oval 22"/>
            <p:cNvSpPr>
              <a:spLocks noChangeArrowheads="1"/>
            </p:cNvSpPr>
            <p:nvPr/>
          </p:nvSpPr>
          <p:spPr bwMode="auto">
            <a:xfrm>
              <a:off x="12515726" y="4162223"/>
              <a:ext cx="350838" cy="346075"/>
            </a:xfrm>
            <a:prstGeom prst="ellipse">
              <a:avLst/>
            </a:prstGeom>
            <a:solidFill>
              <a:srgbClr val="F9E54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Oval 23"/>
            <p:cNvSpPr>
              <a:spLocks noChangeArrowheads="1"/>
            </p:cNvSpPr>
            <p:nvPr/>
          </p:nvSpPr>
          <p:spPr bwMode="auto">
            <a:xfrm>
              <a:off x="12949114" y="4162223"/>
              <a:ext cx="350838" cy="346075"/>
            </a:xfrm>
            <a:prstGeom prst="ellipse">
              <a:avLst/>
            </a:prstGeom>
            <a:solidFill>
              <a:srgbClr val="C3D3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Oval 24"/>
            <p:cNvSpPr>
              <a:spLocks noChangeArrowheads="1"/>
            </p:cNvSpPr>
            <p:nvPr/>
          </p:nvSpPr>
          <p:spPr bwMode="auto">
            <a:xfrm>
              <a:off x="12515726" y="4551048"/>
              <a:ext cx="350838" cy="346075"/>
            </a:xfrm>
            <a:prstGeom prst="ellipse">
              <a:avLst/>
            </a:prstGeom>
            <a:solidFill>
              <a:srgbClr val="008C4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Oval 25"/>
            <p:cNvSpPr>
              <a:spLocks noChangeArrowheads="1"/>
            </p:cNvSpPr>
            <p:nvPr/>
          </p:nvSpPr>
          <p:spPr bwMode="auto">
            <a:xfrm>
              <a:off x="12949114" y="4551048"/>
              <a:ext cx="350838" cy="346075"/>
            </a:xfrm>
            <a:prstGeom prst="ellipse">
              <a:avLst/>
            </a:prstGeom>
            <a:solidFill>
              <a:srgbClr val="1D428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Line 33"/>
            <p:cNvSpPr>
              <a:spLocks noChangeShapeType="1"/>
            </p:cNvSpPr>
            <p:nvPr/>
          </p:nvSpPr>
          <p:spPr bwMode="auto">
            <a:xfrm>
              <a:off x="12501439" y="342805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Oval 22"/>
            <p:cNvSpPr>
              <a:spLocks noChangeArrowheads="1"/>
            </p:cNvSpPr>
            <p:nvPr/>
          </p:nvSpPr>
          <p:spPr bwMode="auto">
            <a:xfrm>
              <a:off x="12515726" y="4968448"/>
              <a:ext cx="350838" cy="346075"/>
            </a:xfrm>
            <a:prstGeom prst="ellipse">
              <a:avLst/>
            </a:prstGeom>
            <a:solidFill>
              <a:srgbClr val="883F8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Oval 23"/>
            <p:cNvSpPr>
              <a:spLocks noChangeArrowheads="1"/>
            </p:cNvSpPr>
            <p:nvPr/>
          </p:nvSpPr>
          <p:spPr bwMode="auto">
            <a:xfrm>
              <a:off x="12949114" y="4968448"/>
              <a:ext cx="350838" cy="346075"/>
            </a:xfrm>
            <a:prstGeom prst="ellipse">
              <a:avLst/>
            </a:prstGeom>
            <a:solidFill>
              <a:srgbClr val="919BC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Oval 24"/>
            <p:cNvSpPr>
              <a:spLocks noChangeArrowheads="1"/>
            </p:cNvSpPr>
            <p:nvPr/>
          </p:nvSpPr>
          <p:spPr bwMode="auto">
            <a:xfrm>
              <a:off x="12732420" y="5357273"/>
              <a:ext cx="350838" cy="346075"/>
            </a:xfrm>
            <a:prstGeom prst="ellipse">
              <a:avLst/>
            </a:prstGeom>
            <a:solidFill>
              <a:srgbClr val="856A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Line 33"/>
            <p:cNvSpPr>
              <a:spLocks noChangeShapeType="1"/>
            </p:cNvSpPr>
            <p:nvPr/>
          </p:nvSpPr>
          <p:spPr bwMode="auto">
            <a:xfrm>
              <a:off x="12501439" y="66541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12365458" y="3421008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Additional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3005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1" preserve="1" userDrawn="1">
  <p:cSld name="Section divider 3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503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1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Полилиния 46"/>
          <p:cNvSpPr/>
          <p:nvPr userDrawn="1"/>
        </p:nvSpPr>
        <p:spPr>
          <a:xfrm>
            <a:off x="1251581" y="-2"/>
            <a:ext cx="1646760" cy="1819276"/>
          </a:xfrm>
          <a:custGeom>
            <a:avLst/>
            <a:gdLst>
              <a:gd name="connsiteX0" fmla="*/ 0 w 1646760"/>
              <a:gd name="connsiteY0" fmla="*/ 0 h 1819276"/>
              <a:gd name="connsiteX1" fmla="*/ 1646760 w 1646760"/>
              <a:gd name="connsiteY1" fmla="*/ 0 h 1819276"/>
              <a:gd name="connsiteX2" fmla="*/ 1646760 w 1646760"/>
              <a:gd name="connsiteY2" fmla="*/ 1208296 h 1819276"/>
              <a:gd name="connsiteX3" fmla="*/ 1646760 w 1646760"/>
              <a:gd name="connsiteY3" fmla="*/ 1409701 h 1819276"/>
              <a:gd name="connsiteX4" fmla="*/ 1646760 w 1646760"/>
              <a:gd name="connsiteY4" fmla="*/ 1585289 h 1819276"/>
              <a:gd name="connsiteX5" fmla="*/ 1467066 w 1646760"/>
              <a:gd name="connsiteY5" fmla="*/ 1656577 h 1819276"/>
              <a:gd name="connsiteX6" fmla="*/ 122592 w 1646760"/>
              <a:gd name="connsiteY6" fmla="*/ 1805690 h 1819276"/>
              <a:gd name="connsiteX7" fmla="*/ 0 w 1646760"/>
              <a:gd name="connsiteY7" fmla="*/ 1786552 h 1819276"/>
              <a:gd name="connsiteX8" fmla="*/ 0 w 1646760"/>
              <a:gd name="connsiteY8" fmla="*/ 1409701 h 1819276"/>
              <a:gd name="connsiteX9" fmla="*/ 0 w 1646760"/>
              <a:gd name="connsiteY9" fmla="*/ 1208296 h 1819276"/>
              <a:gd name="connsiteX0" fmla="*/ 0 w 1646760"/>
              <a:gd name="connsiteY0" fmla="*/ 0 h 1819276"/>
              <a:gd name="connsiteX1" fmla="*/ 1646760 w 1646760"/>
              <a:gd name="connsiteY1" fmla="*/ 0 h 1819276"/>
              <a:gd name="connsiteX2" fmla="*/ 1646760 w 1646760"/>
              <a:gd name="connsiteY2" fmla="*/ 1409701 h 1819276"/>
              <a:gd name="connsiteX3" fmla="*/ 1646760 w 1646760"/>
              <a:gd name="connsiteY3" fmla="*/ 1585289 h 1819276"/>
              <a:gd name="connsiteX4" fmla="*/ 1467066 w 1646760"/>
              <a:gd name="connsiteY4" fmla="*/ 1656577 h 1819276"/>
              <a:gd name="connsiteX5" fmla="*/ 122592 w 1646760"/>
              <a:gd name="connsiteY5" fmla="*/ 1805690 h 1819276"/>
              <a:gd name="connsiteX6" fmla="*/ 0 w 1646760"/>
              <a:gd name="connsiteY6" fmla="*/ 1786552 h 1819276"/>
              <a:gd name="connsiteX7" fmla="*/ 0 w 1646760"/>
              <a:gd name="connsiteY7" fmla="*/ 1409701 h 1819276"/>
              <a:gd name="connsiteX8" fmla="*/ 0 w 1646760"/>
              <a:gd name="connsiteY8" fmla="*/ 1208296 h 1819276"/>
              <a:gd name="connsiteX9" fmla="*/ 0 w 1646760"/>
              <a:gd name="connsiteY9" fmla="*/ 0 h 1819276"/>
              <a:gd name="connsiteX0" fmla="*/ 0 w 1646760"/>
              <a:gd name="connsiteY0" fmla="*/ 0 h 1819276"/>
              <a:gd name="connsiteX1" fmla="*/ 1646760 w 1646760"/>
              <a:gd name="connsiteY1" fmla="*/ 0 h 1819276"/>
              <a:gd name="connsiteX2" fmla="*/ 1646760 w 1646760"/>
              <a:gd name="connsiteY2" fmla="*/ 1585289 h 1819276"/>
              <a:gd name="connsiteX3" fmla="*/ 1467066 w 1646760"/>
              <a:gd name="connsiteY3" fmla="*/ 1656577 h 1819276"/>
              <a:gd name="connsiteX4" fmla="*/ 122592 w 1646760"/>
              <a:gd name="connsiteY4" fmla="*/ 1805690 h 1819276"/>
              <a:gd name="connsiteX5" fmla="*/ 0 w 1646760"/>
              <a:gd name="connsiteY5" fmla="*/ 1786552 h 1819276"/>
              <a:gd name="connsiteX6" fmla="*/ 0 w 1646760"/>
              <a:gd name="connsiteY6" fmla="*/ 1409701 h 1819276"/>
              <a:gd name="connsiteX7" fmla="*/ 0 w 1646760"/>
              <a:gd name="connsiteY7" fmla="*/ 1208296 h 1819276"/>
              <a:gd name="connsiteX8" fmla="*/ 0 w 1646760"/>
              <a:gd name="connsiteY8" fmla="*/ 0 h 1819276"/>
              <a:gd name="connsiteX0" fmla="*/ 0 w 1646760"/>
              <a:gd name="connsiteY0" fmla="*/ 0 h 1819276"/>
              <a:gd name="connsiteX1" fmla="*/ 1646760 w 1646760"/>
              <a:gd name="connsiteY1" fmla="*/ 0 h 1819276"/>
              <a:gd name="connsiteX2" fmla="*/ 1646760 w 1646760"/>
              <a:gd name="connsiteY2" fmla="*/ 1585289 h 1819276"/>
              <a:gd name="connsiteX3" fmla="*/ 1467066 w 1646760"/>
              <a:gd name="connsiteY3" fmla="*/ 1656577 h 1819276"/>
              <a:gd name="connsiteX4" fmla="*/ 122592 w 1646760"/>
              <a:gd name="connsiteY4" fmla="*/ 1805690 h 1819276"/>
              <a:gd name="connsiteX5" fmla="*/ 0 w 1646760"/>
              <a:gd name="connsiteY5" fmla="*/ 1786552 h 1819276"/>
              <a:gd name="connsiteX6" fmla="*/ 0 w 1646760"/>
              <a:gd name="connsiteY6" fmla="*/ 1409701 h 1819276"/>
              <a:gd name="connsiteX7" fmla="*/ 0 w 1646760"/>
              <a:gd name="connsiteY7" fmla="*/ 0 h 1819276"/>
              <a:gd name="connsiteX0" fmla="*/ 0 w 1646760"/>
              <a:gd name="connsiteY0" fmla="*/ 0 h 1819276"/>
              <a:gd name="connsiteX1" fmla="*/ 1646760 w 1646760"/>
              <a:gd name="connsiteY1" fmla="*/ 0 h 1819276"/>
              <a:gd name="connsiteX2" fmla="*/ 1646760 w 1646760"/>
              <a:gd name="connsiteY2" fmla="*/ 1585289 h 1819276"/>
              <a:gd name="connsiteX3" fmla="*/ 1467066 w 1646760"/>
              <a:gd name="connsiteY3" fmla="*/ 1656577 h 1819276"/>
              <a:gd name="connsiteX4" fmla="*/ 122592 w 1646760"/>
              <a:gd name="connsiteY4" fmla="*/ 1805690 h 1819276"/>
              <a:gd name="connsiteX5" fmla="*/ 0 w 1646760"/>
              <a:gd name="connsiteY5" fmla="*/ 1786552 h 1819276"/>
              <a:gd name="connsiteX6" fmla="*/ 0 w 1646760"/>
              <a:gd name="connsiteY6" fmla="*/ 0 h 1819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46760" h="1819276">
                <a:moveTo>
                  <a:pt x="0" y="0"/>
                </a:moveTo>
                <a:lnTo>
                  <a:pt x="1646760" y="0"/>
                </a:lnTo>
                <a:lnTo>
                  <a:pt x="1646760" y="1585289"/>
                </a:lnTo>
                <a:lnTo>
                  <a:pt x="1467066" y="1656577"/>
                </a:lnTo>
                <a:cubicBezTo>
                  <a:pt x="1019671" y="1806931"/>
                  <a:pt x="472471" y="1842922"/>
                  <a:pt x="122592" y="1805690"/>
                </a:cubicBezTo>
                <a:lnTo>
                  <a:pt x="0" y="1786552"/>
                </a:lnTo>
                <a:lnTo>
                  <a:pt x="0" y="0"/>
                </a:lnTo>
                <a:close/>
              </a:path>
            </a:pathLst>
          </a:cu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48" name="Прямоугольник 47"/>
          <p:cNvSpPr/>
          <p:nvPr userDrawn="1"/>
        </p:nvSpPr>
        <p:spPr>
          <a:xfrm>
            <a:off x="1253141" y="5590572"/>
            <a:ext cx="1645200" cy="1267428"/>
          </a:xfrm>
          <a:prstGeom prst="rect">
            <a:avLst/>
          </a:pr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Объект 2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1336338" y="2247089"/>
            <a:ext cx="6524962" cy="2507414"/>
          </a:xfrm>
        </p:spPr>
        <p:txBody>
          <a:bodyPr vert="horz"/>
          <a:lstStyle>
            <a:lvl1pPr>
              <a:defRPr sz="3600" cap="none" baseline="0"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Section title</a:t>
            </a:r>
            <a:br>
              <a:rPr lang="en-US" dirty="0" smtClean="0"/>
            </a:br>
            <a:r>
              <a:rPr lang="en-US" dirty="0" smtClean="0"/>
              <a:t>in several lines</a:t>
            </a:r>
            <a:endParaRPr lang="ru-RU" dirty="0"/>
          </a:p>
        </p:txBody>
      </p:sp>
      <p:sp>
        <p:nvSpPr>
          <p:cNvPr id="94" name="Текст 93"/>
          <p:cNvSpPr>
            <a:spLocks noGrp="1"/>
          </p:cNvSpPr>
          <p:nvPr>
            <p:ph type="body" sz="quarter" idx="11" hasCustomPrompt="1"/>
          </p:nvPr>
        </p:nvSpPr>
        <p:spPr>
          <a:xfrm>
            <a:off x="1334210" y="352425"/>
            <a:ext cx="1483062" cy="1267906"/>
          </a:xfrm>
        </p:spPr>
        <p:txBody>
          <a:bodyPr>
            <a:noAutofit/>
          </a:bodyPr>
          <a:lstStyle>
            <a:lvl1pPr algn="ctr">
              <a:defRPr sz="10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grpSp>
        <p:nvGrpSpPr>
          <p:cNvPr id="38" name="Группа 37"/>
          <p:cNvGrpSpPr>
            <a:grpSpLocks noChangeAspect="1"/>
          </p:cNvGrpSpPr>
          <p:nvPr userDrawn="1"/>
        </p:nvGrpSpPr>
        <p:grpSpPr>
          <a:xfrm>
            <a:off x="12365458" y="2"/>
            <a:ext cx="1080000" cy="6858030"/>
            <a:chOff x="12365458" y="0"/>
            <a:chExt cx="1080000" cy="6858000"/>
          </a:xfrm>
        </p:grpSpPr>
        <p:sp>
          <p:nvSpPr>
            <p:cNvPr id="39" name="Freeform 5"/>
            <p:cNvSpPr>
              <a:spLocks/>
            </p:cNvSpPr>
            <p:nvPr/>
          </p:nvSpPr>
          <p:spPr bwMode="auto">
            <a:xfrm>
              <a:off x="12365458" y="0"/>
              <a:ext cx="1080000" cy="6858000"/>
            </a:xfrm>
            <a:prstGeom prst="roundRect">
              <a:avLst>
                <a:gd name="adj" fmla="val 12318"/>
              </a:avLst>
            </a:prstGeom>
            <a:solidFill>
              <a:schemeClr val="bg1"/>
            </a:solidFill>
            <a:ln w="7938" cap="flat">
              <a:solidFill>
                <a:srgbClr val="FEFEF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40" name="Группа 39"/>
            <p:cNvGrpSpPr/>
            <p:nvPr userDrawn="1"/>
          </p:nvGrpSpPr>
          <p:grpSpPr>
            <a:xfrm>
              <a:off x="12365458" y="5764224"/>
              <a:ext cx="1080000" cy="838989"/>
              <a:chOff x="12365458" y="5764224"/>
              <a:chExt cx="1080000" cy="838989"/>
            </a:xfrm>
          </p:grpSpPr>
          <p:pic>
            <p:nvPicPr>
              <p:cNvPr id="97" name="Picture 30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08164" y="6094649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98" name="Picture 31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37017" y="6101736"/>
                <a:ext cx="152400" cy="123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99" name="Picture 32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125833" y="6321161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00" name="TextBox 99"/>
              <p:cNvSpPr txBox="1"/>
              <p:nvPr/>
            </p:nvSpPr>
            <p:spPr>
              <a:xfrm>
                <a:off x="12365458" y="5764224"/>
                <a:ext cx="1080000" cy="838989"/>
              </a:xfrm>
              <a:prstGeom prst="rect">
                <a:avLst/>
              </a:prstGeom>
              <a:noFill/>
            </p:spPr>
            <p:txBody>
              <a:bodyPr wrap="square" lIns="36000" tIns="0" rIns="3600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Select a text or graphic element.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, respectively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or .</a:t>
                </a:r>
              </a:p>
              <a:p>
                <a:pPr algn="ctr">
                  <a:lnSpc>
                    <a:spcPct val="90000"/>
                  </a:lnSpc>
                  <a:spcBef>
                    <a:spcPts val="300"/>
                  </a:spcBef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After selecting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the pipette tool          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 on the desired color on the palette.</a:t>
                </a:r>
                <a:endParaRPr lang="ru-RU" sz="800" dirty="0">
                  <a:solidFill>
                    <a:srgbClr val="30343F"/>
                  </a:solidFill>
                  <a:latin typeface="Source Sans Pro" panose="020B0503030403020204" pitchFamily="34" charset="0"/>
                </a:endParaRPr>
              </a:p>
            </p:txBody>
          </p:sp>
        </p:grpSp>
        <p:sp>
          <p:nvSpPr>
            <p:cNvPr id="41" name="TextBox 40"/>
            <p:cNvSpPr txBox="1"/>
            <p:nvPr/>
          </p:nvSpPr>
          <p:spPr>
            <a:xfrm>
              <a:off x="12368248" y="18288"/>
              <a:ext cx="1074420" cy="4606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Color palette </a:t>
              </a:r>
              <a:b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</a:b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for EFSR presentations</a:t>
              </a:r>
              <a:endParaRPr lang="ru-RU" sz="1000" dirty="0">
                <a:solidFill>
                  <a:srgbClr val="343467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12365458" y="640080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The main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43" name="Oval 8"/>
            <p:cNvSpPr>
              <a:spLocks noChangeArrowheads="1"/>
            </p:cNvSpPr>
            <p:nvPr/>
          </p:nvSpPr>
          <p:spPr bwMode="auto">
            <a:xfrm>
              <a:off x="12518642" y="970675"/>
              <a:ext cx="350838" cy="346075"/>
            </a:xfrm>
            <a:prstGeom prst="ellipse">
              <a:avLst/>
            </a:prstGeom>
            <a:solidFill>
              <a:srgbClr val="00589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Oval 9"/>
            <p:cNvSpPr>
              <a:spLocks noChangeArrowheads="1"/>
            </p:cNvSpPr>
            <p:nvPr/>
          </p:nvSpPr>
          <p:spPr bwMode="auto">
            <a:xfrm>
              <a:off x="12515726" y="1381725"/>
              <a:ext cx="350838" cy="346075"/>
            </a:xfrm>
            <a:prstGeom prst="ellipse">
              <a:avLst/>
            </a:prstGeom>
            <a:solidFill>
              <a:srgbClr val="00B1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Oval 10"/>
            <p:cNvSpPr>
              <a:spLocks noChangeArrowheads="1"/>
            </p:cNvSpPr>
            <p:nvPr/>
          </p:nvSpPr>
          <p:spPr bwMode="auto">
            <a:xfrm>
              <a:off x="12515726" y="2602206"/>
              <a:ext cx="350838" cy="346075"/>
            </a:xfrm>
            <a:prstGeom prst="ellipse">
              <a:avLst/>
            </a:prstGeom>
            <a:solidFill>
              <a:srgbClr val="C2BFB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Oval 11"/>
            <p:cNvSpPr>
              <a:spLocks noChangeAspect="1" noChangeArrowheads="1"/>
            </p:cNvSpPr>
            <p:nvPr/>
          </p:nvSpPr>
          <p:spPr bwMode="auto">
            <a:xfrm>
              <a:off x="12515725" y="1780075"/>
              <a:ext cx="793329" cy="792000"/>
            </a:xfrm>
            <a:prstGeom prst="ellipse">
              <a:avLst/>
            </a:prstGeom>
            <a:solidFill>
              <a:srgbClr val="343467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lvl="0"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FFFFFF"/>
                  </a:solidFill>
                  <a:latin typeface="Source Sans Pro" panose="020B0503030403020204" pitchFamily="34" charset="0"/>
                </a:rPr>
                <a:t>Base color</a:t>
              </a:r>
              <a:endParaRPr lang="ru-RU" sz="1000" dirty="0">
                <a:solidFill>
                  <a:srgbClr val="FFFFF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79" name="Oval 13"/>
            <p:cNvSpPr>
              <a:spLocks noChangeArrowheads="1"/>
            </p:cNvSpPr>
            <p:nvPr/>
          </p:nvSpPr>
          <p:spPr bwMode="auto">
            <a:xfrm>
              <a:off x="12515726" y="2978412"/>
              <a:ext cx="350838" cy="346075"/>
            </a:xfrm>
            <a:prstGeom prst="ellipse">
              <a:avLst/>
            </a:prstGeom>
            <a:solidFill>
              <a:srgbClr val="30343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Oval 14"/>
            <p:cNvSpPr>
              <a:spLocks noChangeArrowheads="1"/>
            </p:cNvSpPr>
            <p:nvPr/>
          </p:nvSpPr>
          <p:spPr bwMode="auto">
            <a:xfrm>
              <a:off x="12515726" y="3744823"/>
              <a:ext cx="350838" cy="346075"/>
            </a:xfrm>
            <a:prstGeom prst="ellipse">
              <a:avLst/>
            </a:prstGeom>
            <a:solidFill>
              <a:srgbClr val="D034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Oval 15"/>
            <p:cNvSpPr>
              <a:spLocks noChangeArrowheads="1"/>
            </p:cNvSpPr>
            <p:nvPr/>
          </p:nvSpPr>
          <p:spPr bwMode="auto">
            <a:xfrm>
              <a:off x="12949114" y="975437"/>
              <a:ext cx="350838" cy="346075"/>
            </a:xfrm>
            <a:prstGeom prst="ellipse">
              <a:avLst/>
            </a:prstGeom>
            <a:solidFill>
              <a:srgbClr val="007CB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Oval 16"/>
            <p:cNvSpPr>
              <a:spLocks noChangeArrowheads="1"/>
            </p:cNvSpPr>
            <p:nvPr/>
          </p:nvSpPr>
          <p:spPr bwMode="auto">
            <a:xfrm>
              <a:off x="12949114" y="1381725"/>
              <a:ext cx="350838" cy="346075"/>
            </a:xfrm>
            <a:prstGeom prst="ellipse">
              <a:avLst/>
            </a:prstGeom>
            <a:solidFill>
              <a:srgbClr val="B4DCE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Oval 17"/>
            <p:cNvSpPr>
              <a:spLocks noChangeArrowheads="1"/>
            </p:cNvSpPr>
            <p:nvPr/>
          </p:nvSpPr>
          <p:spPr bwMode="auto">
            <a:xfrm>
              <a:off x="12949114" y="2602206"/>
              <a:ext cx="350838" cy="346075"/>
            </a:xfrm>
            <a:prstGeom prst="ellipse">
              <a:avLst/>
            </a:prstGeom>
            <a:solidFill>
              <a:srgbClr val="84898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Oval 20"/>
            <p:cNvSpPr>
              <a:spLocks noChangeArrowheads="1"/>
            </p:cNvSpPr>
            <p:nvPr/>
          </p:nvSpPr>
          <p:spPr bwMode="auto">
            <a:xfrm>
              <a:off x="12949114" y="2978412"/>
              <a:ext cx="350838" cy="346075"/>
            </a:xfrm>
            <a:prstGeom prst="ellipse">
              <a:avLst/>
            </a:prstGeom>
            <a:solidFill>
              <a:srgbClr val="3738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Oval 21"/>
            <p:cNvSpPr>
              <a:spLocks noChangeArrowheads="1"/>
            </p:cNvSpPr>
            <p:nvPr/>
          </p:nvSpPr>
          <p:spPr bwMode="auto">
            <a:xfrm>
              <a:off x="12949114" y="3744823"/>
              <a:ext cx="350838" cy="346075"/>
            </a:xfrm>
            <a:prstGeom prst="ellipse">
              <a:avLst/>
            </a:prstGeom>
            <a:solidFill>
              <a:srgbClr val="FDAC5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Oval 22"/>
            <p:cNvSpPr>
              <a:spLocks noChangeArrowheads="1"/>
            </p:cNvSpPr>
            <p:nvPr/>
          </p:nvSpPr>
          <p:spPr bwMode="auto">
            <a:xfrm>
              <a:off x="12515726" y="4162223"/>
              <a:ext cx="350838" cy="346075"/>
            </a:xfrm>
            <a:prstGeom prst="ellipse">
              <a:avLst/>
            </a:prstGeom>
            <a:solidFill>
              <a:srgbClr val="F9E54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Oval 23"/>
            <p:cNvSpPr>
              <a:spLocks noChangeArrowheads="1"/>
            </p:cNvSpPr>
            <p:nvPr/>
          </p:nvSpPr>
          <p:spPr bwMode="auto">
            <a:xfrm>
              <a:off x="12949114" y="4162223"/>
              <a:ext cx="350838" cy="346075"/>
            </a:xfrm>
            <a:prstGeom prst="ellipse">
              <a:avLst/>
            </a:prstGeom>
            <a:solidFill>
              <a:srgbClr val="C3D3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Oval 24"/>
            <p:cNvSpPr>
              <a:spLocks noChangeArrowheads="1"/>
            </p:cNvSpPr>
            <p:nvPr/>
          </p:nvSpPr>
          <p:spPr bwMode="auto">
            <a:xfrm>
              <a:off x="12515726" y="4551048"/>
              <a:ext cx="350838" cy="346075"/>
            </a:xfrm>
            <a:prstGeom prst="ellipse">
              <a:avLst/>
            </a:prstGeom>
            <a:solidFill>
              <a:srgbClr val="008C4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Oval 25"/>
            <p:cNvSpPr>
              <a:spLocks noChangeArrowheads="1"/>
            </p:cNvSpPr>
            <p:nvPr/>
          </p:nvSpPr>
          <p:spPr bwMode="auto">
            <a:xfrm>
              <a:off x="12949114" y="4551048"/>
              <a:ext cx="350838" cy="346075"/>
            </a:xfrm>
            <a:prstGeom prst="ellipse">
              <a:avLst/>
            </a:prstGeom>
            <a:solidFill>
              <a:srgbClr val="1D428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Line 33"/>
            <p:cNvSpPr>
              <a:spLocks noChangeShapeType="1"/>
            </p:cNvSpPr>
            <p:nvPr/>
          </p:nvSpPr>
          <p:spPr bwMode="auto">
            <a:xfrm>
              <a:off x="12501439" y="342805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Oval 22"/>
            <p:cNvSpPr>
              <a:spLocks noChangeArrowheads="1"/>
            </p:cNvSpPr>
            <p:nvPr/>
          </p:nvSpPr>
          <p:spPr bwMode="auto">
            <a:xfrm>
              <a:off x="12515726" y="4968448"/>
              <a:ext cx="350838" cy="346075"/>
            </a:xfrm>
            <a:prstGeom prst="ellipse">
              <a:avLst/>
            </a:prstGeom>
            <a:solidFill>
              <a:srgbClr val="883F8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Oval 23"/>
            <p:cNvSpPr>
              <a:spLocks noChangeArrowheads="1"/>
            </p:cNvSpPr>
            <p:nvPr/>
          </p:nvSpPr>
          <p:spPr bwMode="auto">
            <a:xfrm>
              <a:off x="12949114" y="4968448"/>
              <a:ext cx="350838" cy="346075"/>
            </a:xfrm>
            <a:prstGeom prst="ellipse">
              <a:avLst/>
            </a:prstGeom>
            <a:solidFill>
              <a:srgbClr val="919BC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Oval 24"/>
            <p:cNvSpPr>
              <a:spLocks noChangeArrowheads="1"/>
            </p:cNvSpPr>
            <p:nvPr/>
          </p:nvSpPr>
          <p:spPr bwMode="auto">
            <a:xfrm>
              <a:off x="12732420" y="5357273"/>
              <a:ext cx="350838" cy="346075"/>
            </a:xfrm>
            <a:prstGeom prst="ellipse">
              <a:avLst/>
            </a:prstGeom>
            <a:solidFill>
              <a:srgbClr val="856A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Line 33"/>
            <p:cNvSpPr>
              <a:spLocks noChangeShapeType="1"/>
            </p:cNvSpPr>
            <p:nvPr/>
          </p:nvSpPr>
          <p:spPr bwMode="auto">
            <a:xfrm>
              <a:off x="12501439" y="66541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12365458" y="3421008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Additional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55180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1" preserve="1" userDrawn="1">
  <p:cSld name="Section divider 4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2891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4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Объект 2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1295400" y="2103497"/>
            <a:ext cx="4800600" cy="2651006"/>
          </a:xfrm>
        </p:spPr>
        <p:txBody>
          <a:bodyPr vert="horz"/>
          <a:lstStyle>
            <a:lvl1pPr>
              <a:defRPr sz="3600" cap="none" baseline="0"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Section title</a:t>
            </a:r>
            <a:br>
              <a:rPr lang="en-US" dirty="0" smtClean="0"/>
            </a:br>
            <a:r>
              <a:rPr lang="en-US" dirty="0" smtClean="0"/>
              <a:t>in several lines</a:t>
            </a:r>
            <a:endParaRPr lang="ru-RU" dirty="0"/>
          </a:p>
        </p:txBody>
      </p:sp>
      <p:sp>
        <p:nvSpPr>
          <p:cNvPr id="48" name="Прямоугольник 47"/>
          <p:cNvSpPr/>
          <p:nvPr userDrawn="1"/>
        </p:nvSpPr>
        <p:spPr>
          <a:xfrm>
            <a:off x="1253141" y="0"/>
            <a:ext cx="1645200" cy="18192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Прямоугольник 50"/>
          <p:cNvSpPr/>
          <p:nvPr userDrawn="1"/>
        </p:nvSpPr>
        <p:spPr>
          <a:xfrm>
            <a:off x="1253141" y="5590572"/>
            <a:ext cx="1645200" cy="1267428"/>
          </a:xfrm>
          <a:prstGeom prst="rect">
            <a:avLst/>
          </a:pr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олилиния 52"/>
          <p:cNvSpPr/>
          <p:nvPr userDrawn="1"/>
        </p:nvSpPr>
        <p:spPr>
          <a:xfrm>
            <a:off x="1251581" y="0"/>
            <a:ext cx="1646760" cy="610980"/>
          </a:xfrm>
          <a:custGeom>
            <a:avLst/>
            <a:gdLst>
              <a:gd name="connsiteX0" fmla="*/ 0 w 1646760"/>
              <a:gd name="connsiteY0" fmla="*/ 0 h 610980"/>
              <a:gd name="connsiteX1" fmla="*/ 1646760 w 1646760"/>
              <a:gd name="connsiteY1" fmla="*/ 0 h 610980"/>
              <a:gd name="connsiteX2" fmla="*/ 1646760 w 1646760"/>
              <a:gd name="connsiteY2" fmla="*/ 376993 h 610980"/>
              <a:gd name="connsiteX3" fmla="*/ 1467066 w 1646760"/>
              <a:gd name="connsiteY3" fmla="*/ 448281 h 610980"/>
              <a:gd name="connsiteX4" fmla="*/ 122592 w 1646760"/>
              <a:gd name="connsiteY4" fmla="*/ 597394 h 610980"/>
              <a:gd name="connsiteX5" fmla="*/ 0 w 1646760"/>
              <a:gd name="connsiteY5" fmla="*/ 578256 h 610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46760" h="610980">
                <a:moveTo>
                  <a:pt x="0" y="0"/>
                </a:moveTo>
                <a:lnTo>
                  <a:pt x="1646760" y="0"/>
                </a:lnTo>
                <a:lnTo>
                  <a:pt x="1646760" y="376993"/>
                </a:lnTo>
                <a:lnTo>
                  <a:pt x="1467066" y="448281"/>
                </a:lnTo>
                <a:cubicBezTo>
                  <a:pt x="1019671" y="598635"/>
                  <a:pt x="472471" y="634626"/>
                  <a:pt x="122592" y="597394"/>
                </a:cubicBezTo>
                <a:lnTo>
                  <a:pt x="0" y="578256"/>
                </a:lnTo>
                <a:close/>
              </a:path>
            </a:pathLst>
          </a:cu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278880" y="0"/>
            <a:ext cx="5913120" cy="6858000"/>
          </a:xfrm>
          <a:prstGeom prst="rect">
            <a:avLst/>
          </a:prstGeom>
        </p:spPr>
      </p:pic>
      <p:pic>
        <p:nvPicPr>
          <p:cNvPr id="41" name="Рисунок 4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860" y="315557"/>
            <a:ext cx="2008800" cy="1485151"/>
          </a:xfrm>
          <a:prstGeom prst="rect">
            <a:avLst/>
          </a:prstGeom>
        </p:spPr>
      </p:pic>
      <p:grpSp>
        <p:nvGrpSpPr>
          <p:cNvPr id="40" name="Группа 39"/>
          <p:cNvGrpSpPr>
            <a:grpSpLocks noChangeAspect="1"/>
          </p:cNvGrpSpPr>
          <p:nvPr userDrawn="1"/>
        </p:nvGrpSpPr>
        <p:grpSpPr>
          <a:xfrm>
            <a:off x="12365458" y="2"/>
            <a:ext cx="1080000" cy="6858030"/>
            <a:chOff x="12365458" y="0"/>
            <a:chExt cx="1080000" cy="6858000"/>
          </a:xfrm>
        </p:grpSpPr>
        <p:sp>
          <p:nvSpPr>
            <p:cNvPr id="42" name="Freeform 5"/>
            <p:cNvSpPr>
              <a:spLocks/>
            </p:cNvSpPr>
            <p:nvPr/>
          </p:nvSpPr>
          <p:spPr bwMode="auto">
            <a:xfrm>
              <a:off x="12365458" y="0"/>
              <a:ext cx="1080000" cy="6858000"/>
            </a:xfrm>
            <a:prstGeom prst="roundRect">
              <a:avLst>
                <a:gd name="adj" fmla="val 12318"/>
              </a:avLst>
            </a:prstGeom>
            <a:solidFill>
              <a:schemeClr val="bg1"/>
            </a:solidFill>
            <a:ln w="7938" cap="flat">
              <a:solidFill>
                <a:srgbClr val="FEFEF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43" name="Группа 42"/>
            <p:cNvGrpSpPr/>
            <p:nvPr userDrawn="1"/>
          </p:nvGrpSpPr>
          <p:grpSpPr>
            <a:xfrm>
              <a:off x="12365458" y="5764224"/>
              <a:ext cx="1080000" cy="838989"/>
              <a:chOff x="12365458" y="5764224"/>
              <a:chExt cx="1080000" cy="838989"/>
            </a:xfrm>
          </p:grpSpPr>
          <p:pic>
            <p:nvPicPr>
              <p:cNvPr id="100" name="Picture 30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08164" y="6094649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1" name="Picture 31"/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37017" y="6101736"/>
                <a:ext cx="152400" cy="123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2" name="Picture 32"/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125833" y="6321161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03" name="TextBox 102"/>
              <p:cNvSpPr txBox="1"/>
              <p:nvPr/>
            </p:nvSpPr>
            <p:spPr>
              <a:xfrm>
                <a:off x="12365458" y="5764224"/>
                <a:ext cx="1080000" cy="838989"/>
              </a:xfrm>
              <a:prstGeom prst="rect">
                <a:avLst/>
              </a:prstGeom>
              <a:noFill/>
            </p:spPr>
            <p:txBody>
              <a:bodyPr wrap="square" lIns="36000" tIns="0" rIns="3600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Select a text or graphic element.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, respectively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or .</a:t>
                </a:r>
              </a:p>
              <a:p>
                <a:pPr algn="ctr">
                  <a:lnSpc>
                    <a:spcPct val="90000"/>
                  </a:lnSpc>
                  <a:spcBef>
                    <a:spcPts val="300"/>
                  </a:spcBef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After selecting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the pipette tool          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 on the desired color on the palette.</a:t>
                </a:r>
                <a:endParaRPr lang="ru-RU" sz="800" dirty="0">
                  <a:solidFill>
                    <a:srgbClr val="30343F"/>
                  </a:solidFill>
                  <a:latin typeface="Source Sans Pro" panose="020B0503030403020204" pitchFamily="34" charset="0"/>
                </a:endParaRPr>
              </a:p>
            </p:txBody>
          </p:sp>
        </p:grpSp>
        <p:sp>
          <p:nvSpPr>
            <p:cNvPr id="44" name="TextBox 43"/>
            <p:cNvSpPr txBox="1"/>
            <p:nvPr/>
          </p:nvSpPr>
          <p:spPr>
            <a:xfrm>
              <a:off x="12368248" y="18288"/>
              <a:ext cx="1074420" cy="4606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Color palette </a:t>
              </a:r>
              <a:b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</a:b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for EFSR presentations</a:t>
              </a:r>
              <a:endParaRPr lang="ru-RU" sz="1000" dirty="0">
                <a:solidFill>
                  <a:srgbClr val="343467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12365458" y="640080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The main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54" name="Oval 8"/>
            <p:cNvSpPr>
              <a:spLocks noChangeArrowheads="1"/>
            </p:cNvSpPr>
            <p:nvPr/>
          </p:nvSpPr>
          <p:spPr bwMode="auto">
            <a:xfrm>
              <a:off x="12518642" y="970675"/>
              <a:ext cx="350838" cy="346075"/>
            </a:xfrm>
            <a:prstGeom prst="ellipse">
              <a:avLst/>
            </a:prstGeom>
            <a:solidFill>
              <a:srgbClr val="00589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Oval 9"/>
            <p:cNvSpPr>
              <a:spLocks noChangeArrowheads="1"/>
            </p:cNvSpPr>
            <p:nvPr/>
          </p:nvSpPr>
          <p:spPr bwMode="auto">
            <a:xfrm>
              <a:off x="12515726" y="1381725"/>
              <a:ext cx="350838" cy="346075"/>
            </a:xfrm>
            <a:prstGeom prst="ellipse">
              <a:avLst/>
            </a:prstGeom>
            <a:solidFill>
              <a:srgbClr val="00B1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Oval 10"/>
            <p:cNvSpPr>
              <a:spLocks noChangeArrowheads="1"/>
            </p:cNvSpPr>
            <p:nvPr/>
          </p:nvSpPr>
          <p:spPr bwMode="auto">
            <a:xfrm>
              <a:off x="12515726" y="2602206"/>
              <a:ext cx="350838" cy="346075"/>
            </a:xfrm>
            <a:prstGeom prst="ellipse">
              <a:avLst/>
            </a:prstGeom>
            <a:solidFill>
              <a:srgbClr val="C2BFB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Oval 11"/>
            <p:cNvSpPr>
              <a:spLocks noChangeAspect="1" noChangeArrowheads="1"/>
            </p:cNvSpPr>
            <p:nvPr/>
          </p:nvSpPr>
          <p:spPr bwMode="auto">
            <a:xfrm>
              <a:off x="12515725" y="1780075"/>
              <a:ext cx="793329" cy="792000"/>
            </a:xfrm>
            <a:prstGeom prst="ellipse">
              <a:avLst/>
            </a:prstGeom>
            <a:solidFill>
              <a:srgbClr val="343467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lvl="0"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FFFFFF"/>
                  </a:solidFill>
                  <a:latin typeface="Source Sans Pro" panose="020B0503030403020204" pitchFamily="34" charset="0"/>
                </a:rPr>
                <a:t>Base color</a:t>
              </a:r>
              <a:endParaRPr lang="ru-RU" sz="1000" dirty="0">
                <a:solidFill>
                  <a:srgbClr val="FFFFF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3" name="Oval 13"/>
            <p:cNvSpPr>
              <a:spLocks noChangeArrowheads="1"/>
            </p:cNvSpPr>
            <p:nvPr/>
          </p:nvSpPr>
          <p:spPr bwMode="auto">
            <a:xfrm>
              <a:off x="12515726" y="2978412"/>
              <a:ext cx="350838" cy="346075"/>
            </a:xfrm>
            <a:prstGeom prst="ellipse">
              <a:avLst/>
            </a:prstGeom>
            <a:solidFill>
              <a:srgbClr val="30343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Oval 14"/>
            <p:cNvSpPr>
              <a:spLocks noChangeArrowheads="1"/>
            </p:cNvSpPr>
            <p:nvPr/>
          </p:nvSpPr>
          <p:spPr bwMode="auto">
            <a:xfrm>
              <a:off x="12515726" y="3744823"/>
              <a:ext cx="350838" cy="346075"/>
            </a:xfrm>
            <a:prstGeom prst="ellipse">
              <a:avLst/>
            </a:prstGeom>
            <a:solidFill>
              <a:srgbClr val="D034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Oval 15"/>
            <p:cNvSpPr>
              <a:spLocks noChangeArrowheads="1"/>
            </p:cNvSpPr>
            <p:nvPr/>
          </p:nvSpPr>
          <p:spPr bwMode="auto">
            <a:xfrm>
              <a:off x="12949114" y="975437"/>
              <a:ext cx="350838" cy="346075"/>
            </a:xfrm>
            <a:prstGeom prst="ellipse">
              <a:avLst/>
            </a:prstGeom>
            <a:solidFill>
              <a:srgbClr val="007CB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Oval 16"/>
            <p:cNvSpPr>
              <a:spLocks noChangeArrowheads="1"/>
            </p:cNvSpPr>
            <p:nvPr/>
          </p:nvSpPr>
          <p:spPr bwMode="auto">
            <a:xfrm>
              <a:off x="12949114" y="1381725"/>
              <a:ext cx="350838" cy="346075"/>
            </a:xfrm>
            <a:prstGeom prst="ellipse">
              <a:avLst/>
            </a:prstGeom>
            <a:solidFill>
              <a:srgbClr val="B4DCE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Oval 17"/>
            <p:cNvSpPr>
              <a:spLocks noChangeArrowheads="1"/>
            </p:cNvSpPr>
            <p:nvPr/>
          </p:nvSpPr>
          <p:spPr bwMode="auto">
            <a:xfrm>
              <a:off x="12949114" y="2602206"/>
              <a:ext cx="350838" cy="346075"/>
            </a:xfrm>
            <a:prstGeom prst="ellipse">
              <a:avLst/>
            </a:prstGeom>
            <a:solidFill>
              <a:srgbClr val="84898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Oval 20"/>
            <p:cNvSpPr>
              <a:spLocks noChangeArrowheads="1"/>
            </p:cNvSpPr>
            <p:nvPr/>
          </p:nvSpPr>
          <p:spPr bwMode="auto">
            <a:xfrm>
              <a:off x="12949114" y="2978412"/>
              <a:ext cx="350838" cy="346075"/>
            </a:xfrm>
            <a:prstGeom prst="ellipse">
              <a:avLst/>
            </a:prstGeom>
            <a:solidFill>
              <a:srgbClr val="3738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Oval 21"/>
            <p:cNvSpPr>
              <a:spLocks noChangeArrowheads="1"/>
            </p:cNvSpPr>
            <p:nvPr/>
          </p:nvSpPr>
          <p:spPr bwMode="auto">
            <a:xfrm>
              <a:off x="12949114" y="3744823"/>
              <a:ext cx="350838" cy="346075"/>
            </a:xfrm>
            <a:prstGeom prst="ellipse">
              <a:avLst/>
            </a:prstGeom>
            <a:solidFill>
              <a:srgbClr val="FDAC5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Oval 22"/>
            <p:cNvSpPr>
              <a:spLocks noChangeArrowheads="1"/>
            </p:cNvSpPr>
            <p:nvPr/>
          </p:nvSpPr>
          <p:spPr bwMode="auto">
            <a:xfrm>
              <a:off x="12515726" y="4162223"/>
              <a:ext cx="350838" cy="346075"/>
            </a:xfrm>
            <a:prstGeom prst="ellipse">
              <a:avLst/>
            </a:prstGeom>
            <a:solidFill>
              <a:srgbClr val="F9E54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Oval 23"/>
            <p:cNvSpPr>
              <a:spLocks noChangeArrowheads="1"/>
            </p:cNvSpPr>
            <p:nvPr/>
          </p:nvSpPr>
          <p:spPr bwMode="auto">
            <a:xfrm>
              <a:off x="12949114" y="4162223"/>
              <a:ext cx="350838" cy="346075"/>
            </a:xfrm>
            <a:prstGeom prst="ellipse">
              <a:avLst/>
            </a:prstGeom>
            <a:solidFill>
              <a:srgbClr val="C3D3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Oval 24"/>
            <p:cNvSpPr>
              <a:spLocks noChangeArrowheads="1"/>
            </p:cNvSpPr>
            <p:nvPr/>
          </p:nvSpPr>
          <p:spPr bwMode="auto">
            <a:xfrm>
              <a:off x="12515726" y="4551048"/>
              <a:ext cx="350838" cy="346075"/>
            </a:xfrm>
            <a:prstGeom prst="ellipse">
              <a:avLst/>
            </a:prstGeom>
            <a:solidFill>
              <a:srgbClr val="008C4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Oval 25"/>
            <p:cNvSpPr>
              <a:spLocks noChangeArrowheads="1"/>
            </p:cNvSpPr>
            <p:nvPr/>
          </p:nvSpPr>
          <p:spPr bwMode="auto">
            <a:xfrm>
              <a:off x="12949114" y="4551048"/>
              <a:ext cx="350838" cy="346075"/>
            </a:xfrm>
            <a:prstGeom prst="ellipse">
              <a:avLst/>
            </a:prstGeom>
            <a:solidFill>
              <a:srgbClr val="1D428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Line 33"/>
            <p:cNvSpPr>
              <a:spLocks noChangeShapeType="1"/>
            </p:cNvSpPr>
            <p:nvPr/>
          </p:nvSpPr>
          <p:spPr bwMode="auto">
            <a:xfrm>
              <a:off x="12501439" y="342805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Oval 22"/>
            <p:cNvSpPr>
              <a:spLocks noChangeArrowheads="1"/>
            </p:cNvSpPr>
            <p:nvPr/>
          </p:nvSpPr>
          <p:spPr bwMode="auto">
            <a:xfrm>
              <a:off x="12515726" y="4968448"/>
              <a:ext cx="350838" cy="346075"/>
            </a:xfrm>
            <a:prstGeom prst="ellipse">
              <a:avLst/>
            </a:prstGeom>
            <a:solidFill>
              <a:srgbClr val="883F8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Oval 23"/>
            <p:cNvSpPr>
              <a:spLocks noChangeArrowheads="1"/>
            </p:cNvSpPr>
            <p:nvPr/>
          </p:nvSpPr>
          <p:spPr bwMode="auto">
            <a:xfrm>
              <a:off x="12949114" y="4968448"/>
              <a:ext cx="350838" cy="346075"/>
            </a:xfrm>
            <a:prstGeom prst="ellipse">
              <a:avLst/>
            </a:prstGeom>
            <a:solidFill>
              <a:srgbClr val="919BC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Oval 24"/>
            <p:cNvSpPr>
              <a:spLocks noChangeArrowheads="1"/>
            </p:cNvSpPr>
            <p:nvPr/>
          </p:nvSpPr>
          <p:spPr bwMode="auto">
            <a:xfrm>
              <a:off x="12732420" y="5357273"/>
              <a:ext cx="350838" cy="346075"/>
            </a:xfrm>
            <a:prstGeom prst="ellipse">
              <a:avLst/>
            </a:prstGeom>
            <a:solidFill>
              <a:srgbClr val="856A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Line 33"/>
            <p:cNvSpPr>
              <a:spLocks noChangeShapeType="1"/>
            </p:cNvSpPr>
            <p:nvPr/>
          </p:nvSpPr>
          <p:spPr bwMode="auto">
            <a:xfrm>
              <a:off x="12501439" y="66541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12365458" y="3421008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Additional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7968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1" preserve="1" userDrawn="1">
  <p:cSld name="Section divider 4_free picture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4110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6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Объект 2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1295400" y="2103497"/>
            <a:ext cx="4800600" cy="2651006"/>
          </a:xfrm>
        </p:spPr>
        <p:txBody>
          <a:bodyPr vert="horz"/>
          <a:lstStyle>
            <a:lvl1pPr>
              <a:defRPr sz="3600" cap="none" baseline="0"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Section title</a:t>
            </a:r>
            <a:br>
              <a:rPr lang="en-US" dirty="0" smtClean="0"/>
            </a:br>
            <a:r>
              <a:rPr lang="en-US" dirty="0" smtClean="0"/>
              <a:t>in several lines</a:t>
            </a:r>
            <a:endParaRPr lang="ru-RU" dirty="0"/>
          </a:p>
        </p:txBody>
      </p:sp>
      <p:sp>
        <p:nvSpPr>
          <p:cNvPr id="48" name="Прямоугольник 47"/>
          <p:cNvSpPr/>
          <p:nvPr userDrawn="1"/>
        </p:nvSpPr>
        <p:spPr>
          <a:xfrm>
            <a:off x="1253141" y="0"/>
            <a:ext cx="1645200" cy="18192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Прямоугольник 50"/>
          <p:cNvSpPr/>
          <p:nvPr userDrawn="1"/>
        </p:nvSpPr>
        <p:spPr>
          <a:xfrm>
            <a:off x="1253141" y="5590572"/>
            <a:ext cx="1645200" cy="1267428"/>
          </a:xfrm>
          <a:prstGeom prst="rect">
            <a:avLst/>
          </a:pr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олилиния 52"/>
          <p:cNvSpPr/>
          <p:nvPr userDrawn="1"/>
        </p:nvSpPr>
        <p:spPr>
          <a:xfrm>
            <a:off x="1251581" y="0"/>
            <a:ext cx="1646760" cy="610980"/>
          </a:xfrm>
          <a:custGeom>
            <a:avLst/>
            <a:gdLst>
              <a:gd name="connsiteX0" fmla="*/ 0 w 1646760"/>
              <a:gd name="connsiteY0" fmla="*/ 0 h 610980"/>
              <a:gd name="connsiteX1" fmla="*/ 1646760 w 1646760"/>
              <a:gd name="connsiteY1" fmla="*/ 0 h 610980"/>
              <a:gd name="connsiteX2" fmla="*/ 1646760 w 1646760"/>
              <a:gd name="connsiteY2" fmla="*/ 376993 h 610980"/>
              <a:gd name="connsiteX3" fmla="*/ 1467066 w 1646760"/>
              <a:gd name="connsiteY3" fmla="*/ 448281 h 610980"/>
              <a:gd name="connsiteX4" fmla="*/ 122592 w 1646760"/>
              <a:gd name="connsiteY4" fmla="*/ 597394 h 610980"/>
              <a:gd name="connsiteX5" fmla="*/ 0 w 1646760"/>
              <a:gd name="connsiteY5" fmla="*/ 578256 h 610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46760" h="610980">
                <a:moveTo>
                  <a:pt x="0" y="0"/>
                </a:moveTo>
                <a:lnTo>
                  <a:pt x="1646760" y="0"/>
                </a:lnTo>
                <a:lnTo>
                  <a:pt x="1646760" y="376993"/>
                </a:lnTo>
                <a:lnTo>
                  <a:pt x="1467066" y="448281"/>
                </a:lnTo>
                <a:cubicBezTo>
                  <a:pt x="1019671" y="598635"/>
                  <a:pt x="472471" y="634626"/>
                  <a:pt x="122592" y="597394"/>
                </a:cubicBezTo>
                <a:lnTo>
                  <a:pt x="0" y="578256"/>
                </a:lnTo>
                <a:close/>
              </a:path>
            </a:pathLst>
          </a:cu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46" name="Рисунок 4"/>
          <p:cNvSpPr>
            <a:spLocks noGrp="1"/>
          </p:cNvSpPr>
          <p:nvPr>
            <p:ph type="pic" sz="quarter" idx="11"/>
          </p:nvPr>
        </p:nvSpPr>
        <p:spPr>
          <a:xfrm>
            <a:off x="6275388" y="0"/>
            <a:ext cx="5916612" cy="6857999"/>
          </a:xfrm>
          <a:solidFill>
            <a:schemeClr val="accent4"/>
          </a:solidFill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pic>
        <p:nvPicPr>
          <p:cNvPr id="40" name="Рисунок 3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860" y="315557"/>
            <a:ext cx="2008800" cy="1485151"/>
          </a:xfrm>
          <a:prstGeom prst="rect">
            <a:avLst/>
          </a:prstGeom>
        </p:spPr>
      </p:pic>
      <p:grpSp>
        <p:nvGrpSpPr>
          <p:cNvPr id="41" name="Группа 40"/>
          <p:cNvGrpSpPr>
            <a:grpSpLocks noChangeAspect="1"/>
          </p:cNvGrpSpPr>
          <p:nvPr userDrawn="1"/>
        </p:nvGrpSpPr>
        <p:grpSpPr>
          <a:xfrm>
            <a:off x="12365458" y="2"/>
            <a:ext cx="1080000" cy="6858030"/>
            <a:chOff x="12365458" y="0"/>
            <a:chExt cx="1080000" cy="6858000"/>
          </a:xfrm>
        </p:grpSpPr>
        <p:sp>
          <p:nvSpPr>
            <p:cNvPr id="42" name="Freeform 5"/>
            <p:cNvSpPr>
              <a:spLocks/>
            </p:cNvSpPr>
            <p:nvPr/>
          </p:nvSpPr>
          <p:spPr bwMode="auto">
            <a:xfrm>
              <a:off x="12365458" y="0"/>
              <a:ext cx="1080000" cy="6858000"/>
            </a:xfrm>
            <a:prstGeom prst="roundRect">
              <a:avLst>
                <a:gd name="adj" fmla="val 12318"/>
              </a:avLst>
            </a:prstGeom>
            <a:solidFill>
              <a:schemeClr val="bg1"/>
            </a:solidFill>
            <a:ln w="7938" cap="flat">
              <a:solidFill>
                <a:srgbClr val="FEFEF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43" name="Группа 42"/>
            <p:cNvGrpSpPr/>
            <p:nvPr userDrawn="1"/>
          </p:nvGrpSpPr>
          <p:grpSpPr>
            <a:xfrm>
              <a:off x="12365458" y="5764224"/>
              <a:ext cx="1080000" cy="838989"/>
              <a:chOff x="12365458" y="5764224"/>
              <a:chExt cx="1080000" cy="838989"/>
            </a:xfrm>
          </p:grpSpPr>
          <p:pic>
            <p:nvPicPr>
              <p:cNvPr id="101" name="Picture 30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08164" y="6094649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2" name="Picture 31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37017" y="6101736"/>
                <a:ext cx="152400" cy="123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3" name="Picture 32"/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125833" y="6321161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04" name="TextBox 103"/>
              <p:cNvSpPr txBox="1"/>
              <p:nvPr/>
            </p:nvSpPr>
            <p:spPr>
              <a:xfrm>
                <a:off x="12365458" y="5764224"/>
                <a:ext cx="1080000" cy="838989"/>
              </a:xfrm>
              <a:prstGeom prst="rect">
                <a:avLst/>
              </a:prstGeom>
              <a:noFill/>
            </p:spPr>
            <p:txBody>
              <a:bodyPr wrap="square" lIns="36000" tIns="0" rIns="3600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Select a text or graphic element.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, respectively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or .</a:t>
                </a:r>
              </a:p>
              <a:p>
                <a:pPr algn="ctr">
                  <a:lnSpc>
                    <a:spcPct val="90000"/>
                  </a:lnSpc>
                  <a:spcBef>
                    <a:spcPts val="300"/>
                  </a:spcBef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After selecting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the pipette tool          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 on the desired color on the palette.</a:t>
                </a:r>
                <a:endParaRPr lang="ru-RU" sz="800" dirty="0">
                  <a:solidFill>
                    <a:srgbClr val="30343F"/>
                  </a:solidFill>
                  <a:latin typeface="Source Sans Pro" panose="020B0503030403020204" pitchFamily="34" charset="0"/>
                </a:endParaRPr>
              </a:p>
            </p:txBody>
          </p:sp>
        </p:grpSp>
        <p:sp>
          <p:nvSpPr>
            <p:cNvPr id="44" name="TextBox 43"/>
            <p:cNvSpPr txBox="1"/>
            <p:nvPr/>
          </p:nvSpPr>
          <p:spPr>
            <a:xfrm>
              <a:off x="12368248" y="18288"/>
              <a:ext cx="1074420" cy="4606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Color palette </a:t>
              </a:r>
              <a:b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</a:b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for EFSR presentations</a:t>
              </a:r>
              <a:endParaRPr lang="ru-RU" sz="1000" dirty="0">
                <a:solidFill>
                  <a:srgbClr val="343467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12365458" y="640080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The main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55" name="Oval 8"/>
            <p:cNvSpPr>
              <a:spLocks noChangeArrowheads="1"/>
            </p:cNvSpPr>
            <p:nvPr/>
          </p:nvSpPr>
          <p:spPr bwMode="auto">
            <a:xfrm>
              <a:off x="12518642" y="970675"/>
              <a:ext cx="350838" cy="346075"/>
            </a:xfrm>
            <a:prstGeom prst="ellipse">
              <a:avLst/>
            </a:prstGeom>
            <a:solidFill>
              <a:srgbClr val="00589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Oval 9"/>
            <p:cNvSpPr>
              <a:spLocks noChangeArrowheads="1"/>
            </p:cNvSpPr>
            <p:nvPr/>
          </p:nvSpPr>
          <p:spPr bwMode="auto">
            <a:xfrm>
              <a:off x="12515726" y="1381725"/>
              <a:ext cx="350838" cy="346075"/>
            </a:xfrm>
            <a:prstGeom prst="ellipse">
              <a:avLst/>
            </a:prstGeom>
            <a:solidFill>
              <a:srgbClr val="00B1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Oval 10"/>
            <p:cNvSpPr>
              <a:spLocks noChangeArrowheads="1"/>
            </p:cNvSpPr>
            <p:nvPr/>
          </p:nvSpPr>
          <p:spPr bwMode="auto">
            <a:xfrm>
              <a:off x="12515726" y="2602206"/>
              <a:ext cx="350838" cy="346075"/>
            </a:xfrm>
            <a:prstGeom prst="ellipse">
              <a:avLst/>
            </a:prstGeom>
            <a:solidFill>
              <a:srgbClr val="C2BFB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Oval 11"/>
            <p:cNvSpPr>
              <a:spLocks noChangeAspect="1" noChangeArrowheads="1"/>
            </p:cNvSpPr>
            <p:nvPr/>
          </p:nvSpPr>
          <p:spPr bwMode="auto">
            <a:xfrm>
              <a:off x="12515725" y="1780075"/>
              <a:ext cx="793329" cy="792000"/>
            </a:xfrm>
            <a:prstGeom prst="ellipse">
              <a:avLst/>
            </a:prstGeom>
            <a:solidFill>
              <a:srgbClr val="343467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lvl="0"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FFFFFF"/>
                  </a:solidFill>
                  <a:latin typeface="Source Sans Pro" panose="020B0503030403020204" pitchFamily="34" charset="0"/>
                </a:rPr>
                <a:t>Base color</a:t>
              </a:r>
              <a:endParaRPr lang="ru-RU" sz="1000" dirty="0">
                <a:solidFill>
                  <a:srgbClr val="FFFFF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4" name="Oval 13"/>
            <p:cNvSpPr>
              <a:spLocks noChangeArrowheads="1"/>
            </p:cNvSpPr>
            <p:nvPr/>
          </p:nvSpPr>
          <p:spPr bwMode="auto">
            <a:xfrm>
              <a:off x="12515726" y="2978412"/>
              <a:ext cx="350838" cy="346075"/>
            </a:xfrm>
            <a:prstGeom prst="ellipse">
              <a:avLst/>
            </a:prstGeom>
            <a:solidFill>
              <a:srgbClr val="30343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Oval 14"/>
            <p:cNvSpPr>
              <a:spLocks noChangeArrowheads="1"/>
            </p:cNvSpPr>
            <p:nvPr/>
          </p:nvSpPr>
          <p:spPr bwMode="auto">
            <a:xfrm>
              <a:off x="12515726" y="3744823"/>
              <a:ext cx="350838" cy="346075"/>
            </a:xfrm>
            <a:prstGeom prst="ellipse">
              <a:avLst/>
            </a:prstGeom>
            <a:solidFill>
              <a:srgbClr val="D034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Oval 15"/>
            <p:cNvSpPr>
              <a:spLocks noChangeArrowheads="1"/>
            </p:cNvSpPr>
            <p:nvPr/>
          </p:nvSpPr>
          <p:spPr bwMode="auto">
            <a:xfrm>
              <a:off x="12949114" y="975437"/>
              <a:ext cx="350838" cy="346075"/>
            </a:xfrm>
            <a:prstGeom prst="ellipse">
              <a:avLst/>
            </a:prstGeom>
            <a:solidFill>
              <a:srgbClr val="007CB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Oval 16"/>
            <p:cNvSpPr>
              <a:spLocks noChangeArrowheads="1"/>
            </p:cNvSpPr>
            <p:nvPr/>
          </p:nvSpPr>
          <p:spPr bwMode="auto">
            <a:xfrm>
              <a:off x="12949114" y="1381725"/>
              <a:ext cx="350838" cy="346075"/>
            </a:xfrm>
            <a:prstGeom prst="ellipse">
              <a:avLst/>
            </a:prstGeom>
            <a:solidFill>
              <a:srgbClr val="B4DCE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Oval 17"/>
            <p:cNvSpPr>
              <a:spLocks noChangeArrowheads="1"/>
            </p:cNvSpPr>
            <p:nvPr/>
          </p:nvSpPr>
          <p:spPr bwMode="auto">
            <a:xfrm>
              <a:off x="12949114" y="2602206"/>
              <a:ext cx="350838" cy="346075"/>
            </a:xfrm>
            <a:prstGeom prst="ellipse">
              <a:avLst/>
            </a:prstGeom>
            <a:solidFill>
              <a:srgbClr val="84898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Oval 20"/>
            <p:cNvSpPr>
              <a:spLocks noChangeArrowheads="1"/>
            </p:cNvSpPr>
            <p:nvPr/>
          </p:nvSpPr>
          <p:spPr bwMode="auto">
            <a:xfrm>
              <a:off x="12949114" y="2978412"/>
              <a:ext cx="350838" cy="346075"/>
            </a:xfrm>
            <a:prstGeom prst="ellipse">
              <a:avLst/>
            </a:prstGeom>
            <a:solidFill>
              <a:srgbClr val="3738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Oval 21"/>
            <p:cNvSpPr>
              <a:spLocks noChangeArrowheads="1"/>
            </p:cNvSpPr>
            <p:nvPr/>
          </p:nvSpPr>
          <p:spPr bwMode="auto">
            <a:xfrm>
              <a:off x="12949114" y="3744823"/>
              <a:ext cx="350838" cy="346075"/>
            </a:xfrm>
            <a:prstGeom prst="ellipse">
              <a:avLst/>
            </a:prstGeom>
            <a:solidFill>
              <a:srgbClr val="FDAC5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Oval 22"/>
            <p:cNvSpPr>
              <a:spLocks noChangeArrowheads="1"/>
            </p:cNvSpPr>
            <p:nvPr/>
          </p:nvSpPr>
          <p:spPr bwMode="auto">
            <a:xfrm>
              <a:off x="12515726" y="4162223"/>
              <a:ext cx="350838" cy="346075"/>
            </a:xfrm>
            <a:prstGeom prst="ellipse">
              <a:avLst/>
            </a:prstGeom>
            <a:solidFill>
              <a:srgbClr val="F9E54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Oval 23"/>
            <p:cNvSpPr>
              <a:spLocks noChangeArrowheads="1"/>
            </p:cNvSpPr>
            <p:nvPr/>
          </p:nvSpPr>
          <p:spPr bwMode="auto">
            <a:xfrm>
              <a:off x="12949114" y="4162223"/>
              <a:ext cx="350838" cy="346075"/>
            </a:xfrm>
            <a:prstGeom prst="ellipse">
              <a:avLst/>
            </a:prstGeom>
            <a:solidFill>
              <a:srgbClr val="C3D3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Oval 24"/>
            <p:cNvSpPr>
              <a:spLocks noChangeArrowheads="1"/>
            </p:cNvSpPr>
            <p:nvPr/>
          </p:nvSpPr>
          <p:spPr bwMode="auto">
            <a:xfrm>
              <a:off x="12515726" y="4551048"/>
              <a:ext cx="350838" cy="346075"/>
            </a:xfrm>
            <a:prstGeom prst="ellipse">
              <a:avLst/>
            </a:prstGeom>
            <a:solidFill>
              <a:srgbClr val="008C4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Oval 25"/>
            <p:cNvSpPr>
              <a:spLocks noChangeArrowheads="1"/>
            </p:cNvSpPr>
            <p:nvPr/>
          </p:nvSpPr>
          <p:spPr bwMode="auto">
            <a:xfrm>
              <a:off x="12949114" y="4551048"/>
              <a:ext cx="350838" cy="346075"/>
            </a:xfrm>
            <a:prstGeom prst="ellipse">
              <a:avLst/>
            </a:prstGeom>
            <a:solidFill>
              <a:srgbClr val="1D428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Line 33"/>
            <p:cNvSpPr>
              <a:spLocks noChangeShapeType="1"/>
            </p:cNvSpPr>
            <p:nvPr/>
          </p:nvSpPr>
          <p:spPr bwMode="auto">
            <a:xfrm>
              <a:off x="12501439" y="342805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Oval 22"/>
            <p:cNvSpPr>
              <a:spLocks noChangeArrowheads="1"/>
            </p:cNvSpPr>
            <p:nvPr/>
          </p:nvSpPr>
          <p:spPr bwMode="auto">
            <a:xfrm>
              <a:off x="12515726" y="4968448"/>
              <a:ext cx="350838" cy="346075"/>
            </a:xfrm>
            <a:prstGeom prst="ellipse">
              <a:avLst/>
            </a:prstGeom>
            <a:solidFill>
              <a:srgbClr val="883F8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Oval 23"/>
            <p:cNvSpPr>
              <a:spLocks noChangeArrowheads="1"/>
            </p:cNvSpPr>
            <p:nvPr/>
          </p:nvSpPr>
          <p:spPr bwMode="auto">
            <a:xfrm>
              <a:off x="12949114" y="4968448"/>
              <a:ext cx="350838" cy="346075"/>
            </a:xfrm>
            <a:prstGeom prst="ellipse">
              <a:avLst/>
            </a:prstGeom>
            <a:solidFill>
              <a:srgbClr val="919BC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Oval 24"/>
            <p:cNvSpPr>
              <a:spLocks noChangeArrowheads="1"/>
            </p:cNvSpPr>
            <p:nvPr/>
          </p:nvSpPr>
          <p:spPr bwMode="auto">
            <a:xfrm>
              <a:off x="12732420" y="5357273"/>
              <a:ext cx="350838" cy="346075"/>
            </a:xfrm>
            <a:prstGeom prst="ellipse">
              <a:avLst/>
            </a:prstGeom>
            <a:solidFill>
              <a:srgbClr val="856A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Line 33"/>
            <p:cNvSpPr>
              <a:spLocks noChangeShapeType="1"/>
            </p:cNvSpPr>
            <p:nvPr/>
          </p:nvSpPr>
          <p:spPr bwMode="auto">
            <a:xfrm>
              <a:off x="12501439" y="66541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12365458" y="3421008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Additional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62999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1" preserve="1" userDrawn="1">
  <p:cSld name="Section divider 5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5519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9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Объект 2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6275388" y="2103497"/>
            <a:ext cx="5473700" cy="2651006"/>
          </a:xfrm>
        </p:spPr>
        <p:txBody>
          <a:bodyPr vert="horz" anchor="ctr"/>
          <a:lstStyle>
            <a:lvl1pPr>
              <a:defRPr sz="3600" cap="none" baseline="0"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Section title</a:t>
            </a:r>
            <a:br>
              <a:rPr lang="en-US" dirty="0" smtClean="0"/>
            </a:br>
            <a:r>
              <a:rPr lang="en-US" dirty="0" smtClean="0"/>
              <a:t>in several lines</a:t>
            </a:r>
            <a:endParaRPr lang="ru-RU" dirty="0"/>
          </a:p>
        </p:txBody>
      </p:sp>
      <p:sp>
        <p:nvSpPr>
          <p:cNvPr id="48" name="Прямоугольник 47"/>
          <p:cNvSpPr/>
          <p:nvPr userDrawn="1"/>
        </p:nvSpPr>
        <p:spPr>
          <a:xfrm>
            <a:off x="10103888" y="0"/>
            <a:ext cx="1645200" cy="18192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Прямоугольник 50"/>
          <p:cNvSpPr/>
          <p:nvPr userDrawn="1"/>
        </p:nvSpPr>
        <p:spPr>
          <a:xfrm>
            <a:off x="10103888" y="5590572"/>
            <a:ext cx="1645200" cy="1267428"/>
          </a:xfrm>
          <a:prstGeom prst="rect">
            <a:avLst/>
          </a:pr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олилиния 52"/>
          <p:cNvSpPr/>
          <p:nvPr userDrawn="1"/>
        </p:nvSpPr>
        <p:spPr>
          <a:xfrm>
            <a:off x="10102328" y="0"/>
            <a:ext cx="1646760" cy="610980"/>
          </a:xfrm>
          <a:custGeom>
            <a:avLst/>
            <a:gdLst>
              <a:gd name="connsiteX0" fmla="*/ 0 w 1646760"/>
              <a:gd name="connsiteY0" fmla="*/ 0 h 610980"/>
              <a:gd name="connsiteX1" fmla="*/ 1646760 w 1646760"/>
              <a:gd name="connsiteY1" fmla="*/ 0 h 610980"/>
              <a:gd name="connsiteX2" fmla="*/ 1646760 w 1646760"/>
              <a:gd name="connsiteY2" fmla="*/ 376993 h 610980"/>
              <a:gd name="connsiteX3" fmla="*/ 1467066 w 1646760"/>
              <a:gd name="connsiteY3" fmla="*/ 448281 h 610980"/>
              <a:gd name="connsiteX4" fmla="*/ 122592 w 1646760"/>
              <a:gd name="connsiteY4" fmla="*/ 597394 h 610980"/>
              <a:gd name="connsiteX5" fmla="*/ 0 w 1646760"/>
              <a:gd name="connsiteY5" fmla="*/ 578256 h 610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46760" h="610980">
                <a:moveTo>
                  <a:pt x="0" y="0"/>
                </a:moveTo>
                <a:lnTo>
                  <a:pt x="1646760" y="0"/>
                </a:lnTo>
                <a:lnTo>
                  <a:pt x="1646760" y="376993"/>
                </a:lnTo>
                <a:lnTo>
                  <a:pt x="1467066" y="448281"/>
                </a:lnTo>
                <a:cubicBezTo>
                  <a:pt x="1019671" y="598635"/>
                  <a:pt x="472471" y="634626"/>
                  <a:pt x="122592" y="597394"/>
                </a:cubicBezTo>
                <a:lnTo>
                  <a:pt x="0" y="578256"/>
                </a:lnTo>
                <a:close/>
              </a:path>
            </a:pathLst>
          </a:cu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5905500" cy="6858000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0788" y="315557"/>
            <a:ext cx="2008800" cy="1485151"/>
          </a:xfrm>
          <a:prstGeom prst="rect">
            <a:avLst/>
          </a:prstGeom>
        </p:spPr>
      </p:pic>
      <p:grpSp>
        <p:nvGrpSpPr>
          <p:cNvPr id="41" name="Группа 40"/>
          <p:cNvGrpSpPr>
            <a:grpSpLocks noChangeAspect="1"/>
          </p:cNvGrpSpPr>
          <p:nvPr userDrawn="1"/>
        </p:nvGrpSpPr>
        <p:grpSpPr>
          <a:xfrm>
            <a:off x="12365458" y="2"/>
            <a:ext cx="1080000" cy="6858030"/>
            <a:chOff x="12365458" y="0"/>
            <a:chExt cx="1080000" cy="6858000"/>
          </a:xfrm>
        </p:grpSpPr>
        <p:sp>
          <p:nvSpPr>
            <p:cNvPr id="42" name="Freeform 5"/>
            <p:cNvSpPr>
              <a:spLocks/>
            </p:cNvSpPr>
            <p:nvPr/>
          </p:nvSpPr>
          <p:spPr bwMode="auto">
            <a:xfrm>
              <a:off x="12365458" y="0"/>
              <a:ext cx="1080000" cy="6858000"/>
            </a:xfrm>
            <a:prstGeom prst="roundRect">
              <a:avLst>
                <a:gd name="adj" fmla="val 12318"/>
              </a:avLst>
            </a:prstGeom>
            <a:solidFill>
              <a:schemeClr val="bg1"/>
            </a:solidFill>
            <a:ln w="7938" cap="flat">
              <a:solidFill>
                <a:srgbClr val="FEFEF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43" name="Группа 42"/>
            <p:cNvGrpSpPr/>
            <p:nvPr userDrawn="1"/>
          </p:nvGrpSpPr>
          <p:grpSpPr>
            <a:xfrm>
              <a:off x="12365458" y="5764224"/>
              <a:ext cx="1080000" cy="838989"/>
              <a:chOff x="12365458" y="5764224"/>
              <a:chExt cx="1080000" cy="838989"/>
            </a:xfrm>
          </p:grpSpPr>
          <p:pic>
            <p:nvPicPr>
              <p:cNvPr id="100" name="Picture 30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08164" y="6094649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1" name="Picture 31"/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37017" y="6101736"/>
                <a:ext cx="152400" cy="123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2" name="Picture 32"/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125833" y="6321161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03" name="TextBox 102"/>
              <p:cNvSpPr txBox="1"/>
              <p:nvPr/>
            </p:nvSpPr>
            <p:spPr>
              <a:xfrm>
                <a:off x="12365458" y="5764224"/>
                <a:ext cx="1080000" cy="838989"/>
              </a:xfrm>
              <a:prstGeom prst="rect">
                <a:avLst/>
              </a:prstGeom>
              <a:noFill/>
            </p:spPr>
            <p:txBody>
              <a:bodyPr wrap="square" lIns="36000" tIns="0" rIns="3600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Select a text or graphic element.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, respectively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or .</a:t>
                </a:r>
              </a:p>
              <a:p>
                <a:pPr algn="ctr">
                  <a:lnSpc>
                    <a:spcPct val="90000"/>
                  </a:lnSpc>
                  <a:spcBef>
                    <a:spcPts val="300"/>
                  </a:spcBef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After selecting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the pipette tool          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 on the desired color on the palette.</a:t>
                </a:r>
                <a:endParaRPr lang="ru-RU" sz="800" dirty="0">
                  <a:solidFill>
                    <a:srgbClr val="30343F"/>
                  </a:solidFill>
                  <a:latin typeface="Source Sans Pro" panose="020B0503030403020204" pitchFamily="34" charset="0"/>
                </a:endParaRPr>
              </a:p>
            </p:txBody>
          </p:sp>
        </p:grpSp>
        <p:sp>
          <p:nvSpPr>
            <p:cNvPr id="44" name="TextBox 43"/>
            <p:cNvSpPr txBox="1"/>
            <p:nvPr/>
          </p:nvSpPr>
          <p:spPr>
            <a:xfrm>
              <a:off x="12368248" y="18288"/>
              <a:ext cx="1074420" cy="4606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Color palette </a:t>
              </a:r>
              <a:b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</a:b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for EFSR presentations</a:t>
              </a:r>
              <a:endParaRPr lang="ru-RU" sz="1000" dirty="0">
                <a:solidFill>
                  <a:srgbClr val="343467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12365458" y="640080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The main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54" name="Oval 8"/>
            <p:cNvSpPr>
              <a:spLocks noChangeArrowheads="1"/>
            </p:cNvSpPr>
            <p:nvPr/>
          </p:nvSpPr>
          <p:spPr bwMode="auto">
            <a:xfrm>
              <a:off x="12518642" y="970675"/>
              <a:ext cx="350838" cy="346075"/>
            </a:xfrm>
            <a:prstGeom prst="ellipse">
              <a:avLst/>
            </a:prstGeom>
            <a:solidFill>
              <a:srgbClr val="00589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Oval 9"/>
            <p:cNvSpPr>
              <a:spLocks noChangeArrowheads="1"/>
            </p:cNvSpPr>
            <p:nvPr/>
          </p:nvSpPr>
          <p:spPr bwMode="auto">
            <a:xfrm>
              <a:off x="12515726" y="1381725"/>
              <a:ext cx="350838" cy="346075"/>
            </a:xfrm>
            <a:prstGeom prst="ellipse">
              <a:avLst/>
            </a:prstGeom>
            <a:solidFill>
              <a:srgbClr val="00B1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Oval 10"/>
            <p:cNvSpPr>
              <a:spLocks noChangeArrowheads="1"/>
            </p:cNvSpPr>
            <p:nvPr/>
          </p:nvSpPr>
          <p:spPr bwMode="auto">
            <a:xfrm>
              <a:off x="12515726" y="2602206"/>
              <a:ext cx="350838" cy="346075"/>
            </a:xfrm>
            <a:prstGeom prst="ellipse">
              <a:avLst/>
            </a:prstGeom>
            <a:solidFill>
              <a:srgbClr val="C2BFB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Oval 11"/>
            <p:cNvSpPr>
              <a:spLocks noChangeAspect="1" noChangeArrowheads="1"/>
            </p:cNvSpPr>
            <p:nvPr/>
          </p:nvSpPr>
          <p:spPr bwMode="auto">
            <a:xfrm>
              <a:off x="12515725" y="1780075"/>
              <a:ext cx="793329" cy="792000"/>
            </a:xfrm>
            <a:prstGeom prst="ellipse">
              <a:avLst/>
            </a:prstGeom>
            <a:solidFill>
              <a:srgbClr val="343467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lvl="0"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FFFFFF"/>
                  </a:solidFill>
                  <a:latin typeface="Source Sans Pro" panose="020B0503030403020204" pitchFamily="34" charset="0"/>
                </a:rPr>
                <a:t>Base color</a:t>
              </a:r>
              <a:endParaRPr lang="ru-RU" sz="1000" dirty="0">
                <a:solidFill>
                  <a:srgbClr val="FFFFF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3" name="Oval 13"/>
            <p:cNvSpPr>
              <a:spLocks noChangeArrowheads="1"/>
            </p:cNvSpPr>
            <p:nvPr/>
          </p:nvSpPr>
          <p:spPr bwMode="auto">
            <a:xfrm>
              <a:off x="12515726" y="2978412"/>
              <a:ext cx="350838" cy="346075"/>
            </a:xfrm>
            <a:prstGeom prst="ellipse">
              <a:avLst/>
            </a:prstGeom>
            <a:solidFill>
              <a:srgbClr val="30343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Oval 14"/>
            <p:cNvSpPr>
              <a:spLocks noChangeArrowheads="1"/>
            </p:cNvSpPr>
            <p:nvPr/>
          </p:nvSpPr>
          <p:spPr bwMode="auto">
            <a:xfrm>
              <a:off x="12515726" y="3744823"/>
              <a:ext cx="350838" cy="346075"/>
            </a:xfrm>
            <a:prstGeom prst="ellipse">
              <a:avLst/>
            </a:prstGeom>
            <a:solidFill>
              <a:srgbClr val="D034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Oval 15"/>
            <p:cNvSpPr>
              <a:spLocks noChangeArrowheads="1"/>
            </p:cNvSpPr>
            <p:nvPr/>
          </p:nvSpPr>
          <p:spPr bwMode="auto">
            <a:xfrm>
              <a:off x="12949114" y="975437"/>
              <a:ext cx="350838" cy="346075"/>
            </a:xfrm>
            <a:prstGeom prst="ellipse">
              <a:avLst/>
            </a:prstGeom>
            <a:solidFill>
              <a:srgbClr val="007CB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Oval 16"/>
            <p:cNvSpPr>
              <a:spLocks noChangeArrowheads="1"/>
            </p:cNvSpPr>
            <p:nvPr/>
          </p:nvSpPr>
          <p:spPr bwMode="auto">
            <a:xfrm>
              <a:off x="12949114" y="1381725"/>
              <a:ext cx="350838" cy="346075"/>
            </a:xfrm>
            <a:prstGeom prst="ellipse">
              <a:avLst/>
            </a:prstGeom>
            <a:solidFill>
              <a:srgbClr val="B4DCE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Oval 17"/>
            <p:cNvSpPr>
              <a:spLocks noChangeArrowheads="1"/>
            </p:cNvSpPr>
            <p:nvPr/>
          </p:nvSpPr>
          <p:spPr bwMode="auto">
            <a:xfrm>
              <a:off x="12949114" y="2602206"/>
              <a:ext cx="350838" cy="346075"/>
            </a:xfrm>
            <a:prstGeom prst="ellipse">
              <a:avLst/>
            </a:prstGeom>
            <a:solidFill>
              <a:srgbClr val="84898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Oval 20"/>
            <p:cNvSpPr>
              <a:spLocks noChangeArrowheads="1"/>
            </p:cNvSpPr>
            <p:nvPr/>
          </p:nvSpPr>
          <p:spPr bwMode="auto">
            <a:xfrm>
              <a:off x="12949114" y="2978412"/>
              <a:ext cx="350838" cy="346075"/>
            </a:xfrm>
            <a:prstGeom prst="ellipse">
              <a:avLst/>
            </a:prstGeom>
            <a:solidFill>
              <a:srgbClr val="3738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Oval 21"/>
            <p:cNvSpPr>
              <a:spLocks noChangeArrowheads="1"/>
            </p:cNvSpPr>
            <p:nvPr/>
          </p:nvSpPr>
          <p:spPr bwMode="auto">
            <a:xfrm>
              <a:off x="12949114" y="3744823"/>
              <a:ext cx="350838" cy="346075"/>
            </a:xfrm>
            <a:prstGeom prst="ellipse">
              <a:avLst/>
            </a:prstGeom>
            <a:solidFill>
              <a:srgbClr val="FDAC5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Oval 22"/>
            <p:cNvSpPr>
              <a:spLocks noChangeArrowheads="1"/>
            </p:cNvSpPr>
            <p:nvPr/>
          </p:nvSpPr>
          <p:spPr bwMode="auto">
            <a:xfrm>
              <a:off x="12515726" y="4162223"/>
              <a:ext cx="350838" cy="346075"/>
            </a:xfrm>
            <a:prstGeom prst="ellipse">
              <a:avLst/>
            </a:prstGeom>
            <a:solidFill>
              <a:srgbClr val="F9E54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Oval 23"/>
            <p:cNvSpPr>
              <a:spLocks noChangeArrowheads="1"/>
            </p:cNvSpPr>
            <p:nvPr/>
          </p:nvSpPr>
          <p:spPr bwMode="auto">
            <a:xfrm>
              <a:off x="12949114" y="4162223"/>
              <a:ext cx="350838" cy="346075"/>
            </a:xfrm>
            <a:prstGeom prst="ellipse">
              <a:avLst/>
            </a:prstGeom>
            <a:solidFill>
              <a:srgbClr val="C3D3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Oval 24"/>
            <p:cNvSpPr>
              <a:spLocks noChangeArrowheads="1"/>
            </p:cNvSpPr>
            <p:nvPr/>
          </p:nvSpPr>
          <p:spPr bwMode="auto">
            <a:xfrm>
              <a:off x="12515726" y="4551048"/>
              <a:ext cx="350838" cy="346075"/>
            </a:xfrm>
            <a:prstGeom prst="ellipse">
              <a:avLst/>
            </a:prstGeom>
            <a:solidFill>
              <a:srgbClr val="008C4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Oval 25"/>
            <p:cNvSpPr>
              <a:spLocks noChangeArrowheads="1"/>
            </p:cNvSpPr>
            <p:nvPr/>
          </p:nvSpPr>
          <p:spPr bwMode="auto">
            <a:xfrm>
              <a:off x="12949114" y="4551048"/>
              <a:ext cx="350838" cy="346075"/>
            </a:xfrm>
            <a:prstGeom prst="ellipse">
              <a:avLst/>
            </a:prstGeom>
            <a:solidFill>
              <a:srgbClr val="1D428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Line 33"/>
            <p:cNvSpPr>
              <a:spLocks noChangeShapeType="1"/>
            </p:cNvSpPr>
            <p:nvPr/>
          </p:nvSpPr>
          <p:spPr bwMode="auto">
            <a:xfrm>
              <a:off x="12501439" y="342805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Oval 22"/>
            <p:cNvSpPr>
              <a:spLocks noChangeArrowheads="1"/>
            </p:cNvSpPr>
            <p:nvPr/>
          </p:nvSpPr>
          <p:spPr bwMode="auto">
            <a:xfrm>
              <a:off x="12515726" y="4968448"/>
              <a:ext cx="350838" cy="346075"/>
            </a:xfrm>
            <a:prstGeom prst="ellipse">
              <a:avLst/>
            </a:prstGeom>
            <a:solidFill>
              <a:srgbClr val="883F8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Oval 23"/>
            <p:cNvSpPr>
              <a:spLocks noChangeArrowheads="1"/>
            </p:cNvSpPr>
            <p:nvPr/>
          </p:nvSpPr>
          <p:spPr bwMode="auto">
            <a:xfrm>
              <a:off x="12949114" y="4968448"/>
              <a:ext cx="350838" cy="346075"/>
            </a:xfrm>
            <a:prstGeom prst="ellipse">
              <a:avLst/>
            </a:prstGeom>
            <a:solidFill>
              <a:srgbClr val="919BC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Oval 24"/>
            <p:cNvSpPr>
              <a:spLocks noChangeArrowheads="1"/>
            </p:cNvSpPr>
            <p:nvPr/>
          </p:nvSpPr>
          <p:spPr bwMode="auto">
            <a:xfrm>
              <a:off x="12732420" y="5357273"/>
              <a:ext cx="350838" cy="346075"/>
            </a:xfrm>
            <a:prstGeom prst="ellipse">
              <a:avLst/>
            </a:prstGeom>
            <a:solidFill>
              <a:srgbClr val="856A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Line 33"/>
            <p:cNvSpPr>
              <a:spLocks noChangeShapeType="1"/>
            </p:cNvSpPr>
            <p:nvPr/>
          </p:nvSpPr>
          <p:spPr bwMode="auto">
            <a:xfrm>
              <a:off x="12501439" y="66541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12365458" y="3421008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Additional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01777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1" preserve="1" userDrawn="1">
  <p:cSld name="Section divider 5_free picture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0507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1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Объект 2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6275388" y="2103497"/>
            <a:ext cx="5473700" cy="2651006"/>
          </a:xfrm>
        </p:spPr>
        <p:txBody>
          <a:bodyPr vert="horz" anchor="ctr"/>
          <a:lstStyle>
            <a:lvl1pPr>
              <a:defRPr sz="3600" cap="none" baseline="0"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Section title</a:t>
            </a:r>
            <a:br>
              <a:rPr lang="en-US" dirty="0" smtClean="0"/>
            </a:br>
            <a:r>
              <a:rPr lang="en-US" dirty="0" smtClean="0"/>
              <a:t>in several lines</a:t>
            </a:r>
            <a:endParaRPr lang="ru-RU" dirty="0"/>
          </a:p>
        </p:txBody>
      </p:sp>
      <p:sp>
        <p:nvSpPr>
          <p:cNvPr id="48" name="Прямоугольник 47"/>
          <p:cNvSpPr/>
          <p:nvPr userDrawn="1"/>
        </p:nvSpPr>
        <p:spPr>
          <a:xfrm>
            <a:off x="10103888" y="0"/>
            <a:ext cx="1645200" cy="18192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Прямоугольник 50"/>
          <p:cNvSpPr/>
          <p:nvPr userDrawn="1"/>
        </p:nvSpPr>
        <p:spPr>
          <a:xfrm>
            <a:off x="10103888" y="5590572"/>
            <a:ext cx="1645200" cy="1267428"/>
          </a:xfrm>
          <a:prstGeom prst="rect">
            <a:avLst/>
          </a:pr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53" name="Полилиния 52"/>
          <p:cNvSpPr/>
          <p:nvPr userDrawn="1"/>
        </p:nvSpPr>
        <p:spPr>
          <a:xfrm>
            <a:off x="10102328" y="0"/>
            <a:ext cx="1646760" cy="610980"/>
          </a:xfrm>
          <a:custGeom>
            <a:avLst/>
            <a:gdLst>
              <a:gd name="connsiteX0" fmla="*/ 0 w 1646760"/>
              <a:gd name="connsiteY0" fmla="*/ 0 h 610980"/>
              <a:gd name="connsiteX1" fmla="*/ 1646760 w 1646760"/>
              <a:gd name="connsiteY1" fmla="*/ 0 h 610980"/>
              <a:gd name="connsiteX2" fmla="*/ 1646760 w 1646760"/>
              <a:gd name="connsiteY2" fmla="*/ 376993 h 610980"/>
              <a:gd name="connsiteX3" fmla="*/ 1467066 w 1646760"/>
              <a:gd name="connsiteY3" fmla="*/ 448281 h 610980"/>
              <a:gd name="connsiteX4" fmla="*/ 122592 w 1646760"/>
              <a:gd name="connsiteY4" fmla="*/ 597394 h 610980"/>
              <a:gd name="connsiteX5" fmla="*/ 0 w 1646760"/>
              <a:gd name="connsiteY5" fmla="*/ 578256 h 610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46760" h="610980">
                <a:moveTo>
                  <a:pt x="0" y="0"/>
                </a:moveTo>
                <a:lnTo>
                  <a:pt x="1646760" y="0"/>
                </a:lnTo>
                <a:lnTo>
                  <a:pt x="1646760" y="376993"/>
                </a:lnTo>
                <a:lnTo>
                  <a:pt x="1467066" y="448281"/>
                </a:lnTo>
                <a:cubicBezTo>
                  <a:pt x="1019671" y="598635"/>
                  <a:pt x="472471" y="634626"/>
                  <a:pt x="122592" y="597394"/>
                </a:cubicBezTo>
                <a:lnTo>
                  <a:pt x="0" y="578256"/>
                </a:lnTo>
                <a:close/>
              </a:path>
            </a:pathLst>
          </a:cu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46" name="Рисунок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916612" cy="6857999"/>
          </a:xfrm>
          <a:solidFill>
            <a:schemeClr val="accent4"/>
          </a:solidFill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pic>
        <p:nvPicPr>
          <p:cNvPr id="40" name="Рисунок 3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0788" y="315557"/>
            <a:ext cx="2008800" cy="1485151"/>
          </a:xfrm>
          <a:prstGeom prst="rect">
            <a:avLst/>
          </a:prstGeom>
        </p:spPr>
      </p:pic>
      <p:grpSp>
        <p:nvGrpSpPr>
          <p:cNvPr id="41" name="Группа 40"/>
          <p:cNvGrpSpPr>
            <a:grpSpLocks noChangeAspect="1"/>
          </p:cNvGrpSpPr>
          <p:nvPr userDrawn="1"/>
        </p:nvGrpSpPr>
        <p:grpSpPr>
          <a:xfrm>
            <a:off x="12365458" y="2"/>
            <a:ext cx="1080000" cy="6858030"/>
            <a:chOff x="12365458" y="0"/>
            <a:chExt cx="1080000" cy="6858000"/>
          </a:xfrm>
        </p:grpSpPr>
        <p:sp>
          <p:nvSpPr>
            <p:cNvPr id="42" name="Freeform 5"/>
            <p:cNvSpPr>
              <a:spLocks/>
            </p:cNvSpPr>
            <p:nvPr/>
          </p:nvSpPr>
          <p:spPr bwMode="auto">
            <a:xfrm>
              <a:off x="12365458" y="0"/>
              <a:ext cx="1080000" cy="6858000"/>
            </a:xfrm>
            <a:prstGeom prst="roundRect">
              <a:avLst>
                <a:gd name="adj" fmla="val 12318"/>
              </a:avLst>
            </a:prstGeom>
            <a:solidFill>
              <a:schemeClr val="bg1"/>
            </a:solidFill>
            <a:ln w="7938" cap="flat">
              <a:solidFill>
                <a:srgbClr val="FEFEF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43" name="Группа 42"/>
            <p:cNvGrpSpPr/>
            <p:nvPr userDrawn="1"/>
          </p:nvGrpSpPr>
          <p:grpSpPr>
            <a:xfrm>
              <a:off x="12365458" y="5764224"/>
              <a:ext cx="1080000" cy="838989"/>
              <a:chOff x="12365458" y="5764224"/>
              <a:chExt cx="1080000" cy="838989"/>
            </a:xfrm>
          </p:grpSpPr>
          <p:pic>
            <p:nvPicPr>
              <p:cNvPr id="101" name="Picture 30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08164" y="6094649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2" name="Picture 31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37017" y="6101736"/>
                <a:ext cx="152400" cy="123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3" name="Picture 32"/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125833" y="6321161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04" name="TextBox 103"/>
              <p:cNvSpPr txBox="1"/>
              <p:nvPr/>
            </p:nvSpPr>
            <p:spPr>
              <a:xfrm>
                <a:off x="12365458" y="5764224"/>
                <a:ext cx="1080000" cy="838989"/>
              </a:xfrm>
              <a:prstGeom prst="rect">
                <a:avLst/>
              </a:prstGeom>
              <a:noFill/>
            </p:spPr>
            <p:txBody>
              <a:bodyPr wrap="square" lIns="36000" tIns="0" rIns="3600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Select a text or graphic element.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, respectively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or .</a:t>
                </a:r>
              </a:p>
              <a:p>
                <a:pPr algn="ctr">
                  <a:lnSpc>
                    <a:spcPct val="90000"/>
                  </a:lnSpc>
                  <a:spcBef>
                    <a:spcPts val="300"/>
                  </a:spcBef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After selecting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the pipette tool          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 on the desired color on the palette.</a:t>
                </a:r>
                <a:endParaRPr lang="ru-RU" sz="800" dirty="0">
                  <a:solidFill>
                    <a:srgbClr val="30343F"/>
                  </a:solidFill>
                  <a:latin typeface="Source Sans Pro" panose="020B0503030403020204" pitchFamily="34" charset="0"/>
                </a:endParaRPr>
              </a:p>
            </p:txBody>
          </p:sp>
        </p:grpSp>
        <p:sp>
          <p:nvSpPr>
            <p:cNvPr id="44" name="TextBox 43"/>
            <p:cNvSpPr txBox="1"/>
            <p:nvPr/>
          </p:nvSpPr>
          <p:spPr>
            <a:xfrm>
              <a:off x="12368248" y="18288"/>
              <a:ext cx="1074420" cy="4606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Color palette </a:t>
              </a:r>
              <a:b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</a:b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for EFSR presentations</a:t>
              </a:r>
              <a:endParaRPr lang="ru-RU" sz="1000" dirty="0">
                <a:solidFill>
                  <a:srgbClr val="343467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12365458" y="640080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The main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55" name="Oval 8"/>
            <p:cNvSpPr>
              <a:spLocks noChangeArrowheads="1"/>
            </p:cNvSpPr>
            <p:nvPr/>
          </p:nvSpPr>
          <p:spPr bwMode="auto">
            <a:xfrm>
              <a:off x="12518642" y="970675"/>
              <a:ext cx="350838" cy="346075"/>
            </a:xfrm>
            <a:prstGeom prst="ellipse">
              <a:avLst/>
            </a:prstGeom>
            <a:solidFill>
              <a:srgbClr val="00589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Oval 9"/>
            <p:cNvSpPr>
              <a:spLocks noChangeArrowheads="1"/>
            </p:cNvSpPr>
            <p:nvPr/>
          </p:nvSpPr>
          <p:spPr bwMode="auto">
            <a:xfrm>
              <a:off x="12515726" y="1381725"/>
              <a:ext cx="350838" cy="346075"/>
            </a:xfrm>
            <a:prstGeom prst="ellipse">
              <a:avLst/>
            </a:prstGeom>
            <a:solidFill>
              <a:srgbClr val="00B1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Oval 10"/>
            <p:cNvSpPr>
              <a:spLocks noChangeArrowheads="1"/>
            </p:cNvSpPr>
            <p:nvPr/>
          </p:nvSpPr>
          <p:spPr bwMode="auto">
            <a:xfrm>
              <a:off x="12515726" y="2602206"/>
              <a:ext cx="350838" cy="346075"/>
            </a:xfrm>
            <a:prstGeom prst="ellipse">
              <a:avLst/>
            </a:prstGeom>
            <a:solidFill>
              <a:srgbClr val="C2BFB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Oval 11"/>
            <p:cNvSpPr>
              <a:spLocks noChangeAspect="1" noChangeArrowheads="1"/>
            </p:cNvSpPr>
            <p:nvPr/>
          </p:nvSpPr>
          <p:spPr bwMode="auto">
            <a:xfrm>
              <a:off x="12515725" y="1780075"/>
              <a:ext cx="793329" cy="792000"/>
            </a:xfrm>
            <a:prstGeom prst="ellipse">
              <a:avLst/>
            </a:prstGeom>
            <a:solidFill>
              <a:srgbClr val="343467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lvl="0"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FFFFFF"/>
                  </a:solidFill>
                  <a:latin typeface="Source Sans Pro" panose="020B0503030403020204" pitchFamily="34" charset="0"/>
                </a:rPr>
                <a:t>Base color</a:t>
              </a:r>
              <a:endParaRPr lang="ru-RU" sz="1000" dirty="0">
                <a:solidFill>
                  <a:srgbClr val="FFFFF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4" name="Oval 13"/>
            <p:cNvSpPr>
              <a:spLocks noChangeArrowheads="1"/>
            </p:cNvSpPr>
            <p:nvPr/>
          </p:nvSpPr>
          <p:spPr bwMode="auto">
            <a:xfrm>
              <a:off x="12515726" y="2978412"/>
              <a:ext cx="350838" cy="346075"/>
            </a:xfrm>
            <a:prstGeom prst="ellipse">
              <a:avLst/>
            </a:prstGeom>
            <a:solidFill>
              <a:srgbClr val="30343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Oval 14"/>
            <p:cNvSpPr>
              <a:spLocks noChangeArrowheads="1"/>
            </p:cNvSpPr>
            <p:nvPr/>
          </p:nvSpPr>
          <p:spPr bwMode="auto">
            <a:xfrm>
              <a:off x="12515726" y="3744823"/>
              <a:ext cx="350838" cy="346075"/>
            </a:xfrm>
            <a:prstGeom prst="ellipse">
              <a:avLst/>
            </a:prstGeom>
            <a:solidFill>
              <a:srgbClr val="D034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Oval 15"/>
            <p:cNvSpPr>
              <a:spLocks noChangeArrowheads="1"/>
            </p:cNvSpPr>
            <p:nvPr/>
          </p:nvSpPr>
          <p:spPr bwMode="auto">
            <a:xfrm>
              <a:off x="12949114" y="975437"/>
              <a:ext cx="350838" cy="346075"/>
            </a:xfrm>
            <a:prstGeom prst="ellipse">
              <a:avLst/>
            </a:prstGeom>
            <a:solidFill>
              <a:srgbClr val="007CB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Oval 16"/>
            <p:cNvSpPr>
              <a:spLocks noChangeArrowheads="1"/>
            </p:cNvSpPr>
            <p:nvPr/>
          </p:nvSpPr>
          <p:spPr bwMode="auto">
            <a:xfrm>
              <a:off x="12949114" y="1381725"/>
              <a:ext cx="350838" cy="346075"/>
            </a:xfrm>
            <a:prstGeom prst="ellipse">
              <a:avLst/>
            </a:prstGeom>
            <a:solidFill>
              <a:srgbClr val="B4DCE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Oval 17"/>
            <p:cNvSpPr>
              <a:spLocks noChangeArrowheads="1"/>
            </p:cNvSpPr>
            <p:nvPr/>
          </p:nvSpPr>
          <p:spPr bwMode="auto">
            <a:xfrm>
              <a:off x="12949114" y="2602206"/>
              <a:ext cx="350838" cy="346075"/>
            </a:xfrm>
            <a:prstGeom prst="ellipse">
              <a:avLst/>
            </a:prstGeom>
            <a:solidFill>
              <a:srgbClr val="84898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Oval 20"/>
            <p:cNvSpPr>
              <a:spLocks noChangeArrowheads="1"/>
            </p:cNvSpPr>
            <p:nvPr/>
          </p:nvSpPr>
          <p:spPr bwMode="auto">
            <a:xfrm>
              <a:off x="12949114" y="2978412"/>
              <a:ext cx="350838" cy="346075"/>
            </a:xfrm>
            <a:prstGeom prst="ellipse">
              <a:avLst/>
            </a:prstGeom>
            <a:solidFill>
              <a:srgbClr val="3738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Oval 21"/>
            <p:cNvSpPr>
              <a:spLocks noChangeArrowheads="1"/>
            </p:cNvSpPr>
            <p:nvPr/>
          </p:nvSpPr>
          <p:spPr bwMode="auto">
            <a:xfrm>
              <a:off x="12949114" y="3744823"/>
              <a:ext cx="350838" cy="346075"/>
            </a:xfrm>
            <a:prstGeom prst="ellipse">
              <a:avLst/>
            </a:prstGeom>
            <a:solidFill>
              <a:srgbClr val="FDAC5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Oval 22"/>
            <p:cNvSpPr>
              <a:spLocks noChangeArrowheads="1"/>
            </p:cNvSpPr>
            <p:nvPr/>
          </p:nvSpPr>
          <p:spPr bwMode="auto">
            <a:xfrm>
              <a:off x="12515726" y="4162223"/>
              <a:ext cx="350838" cy="346075"/>
            </a:xfrm>
            <a:prstGeom prst="ellipse">
              <a:avLst/>
            </a:prstGeom>
            <a:solidFill>
              <a:srgbClr val="F9E54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Oval 23"/>
            <p:cNvSpPr>
              <a:spLocks noChangeArrowheads="1"/>
            </p:cNvSpPr>
            <p:nvPr/>
          </p:nvSpPr>
          <p:spPr bwMode="auto">
            <a:xfrm>
              <a:off x="12949114" y="4162223"/>
              <a:ext cx="350838" cy="346075"/>
            </a:xfrm>
            <a:prstGeom prst="ellipse">
              <a:avLst/>
            </a:prstGeom>
            <a:solidFill>
              <a:srgbClr val="C3D3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Oval 24"/>
            <p:cNvSpPr>
              <a:spLocks noChangeArrowheads="1"/>
            </p:cNvSpPr>
            <p:nvPr/>
          </p:nvSpPr>
          <p:spPr bwMode="auto">
            <a:xfrm>
              <a:off x="12515726" y="4551048"/>
              <a:ext cx="350838" cy="346075"/>
            </a:xfrm>
            <a:prstGeom prst="ellipse">
              <a:avLst/>
            </a:prstGeom>
            <a:solidFill>
              <a:srgbClr val="008C4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Oval 25"/>
            <p:cNvSpPr>
              <a:spLocks noChangeArrowheads="1"/>
            </p:cNvSpPr>
            <p:nvPr/>
          </p:nvSpPr>
          <p:spPr bwMode="auto">
            <a:xfrm>
              <a:off x="12949114" y="4551048"/>
              <a:ext cx="350838" cy="346075"/>
            </a:xfrm>
            <a:prstGeom prst="ellipse">
              <a:avLst/>
            </a:prstGeom>
            <a:solidFill>
              <a:srgbClr val="1D428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Line 33"/>
            <p:cNvSpPr>
              <a:spLocks noChangeShapeType="1"/>
            </p:cNvSpPr>
            <p:nvPr/>
          </p:nvSpPr>
          <p:spPr bwMode="auto">
            <a:xfrm>
              <a:off x="12501439" y="342805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Oval 22"/>
            <p:cNvSpPr>
              <a:spLocks noChangeArrowheads="1"/>
            </p:cNvSpPr>
            <p:nvPr/>
          </p:nvSpPr>
          <p:spPr bwMode="auto">
            <a:xfrm>
              <a:off x="12515726" y="4968448"/>
              <a:ext cx="350838" cy="346075"/>
            </a:xfrm>
            <a:prstGeom prst="ellipse">
              <a:avLst/>
            </a:prstGeom>
            <a:solidFill>
              <a:srgbClr val="883F8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Oval 23"/>
            <p:cNvSpPr>
              <a:spLocks noChangeArrowheads="1"/>
            </p:cNvSpPr>
            <p:nvPr/>
          </p:nvSpPr>
          <p:spPr bwMode="auto">
            <a:xfrm>
              <a:off x="12949114" y="4968448"/>
              <a:ext cx="350838" cy="346075"/>
            </a:xfrm>
            <a:prstGeom prst="ellipse">
              <a:avLst/>
            </a:prstGeom>
            <a:solidFill>
              <a:srgbClr val="919BC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Oval 24"/>
            <p:cNvSpPr>
              <a:spLocks noChangeArrowheads="1"/>
            </p:cNvSpPr>
            <p:nvPr/>
          </p:nvSpPr>
          <p:spPr bwMode="auto">
            <a:xfrm>
              <a:off x="12732420" y="5357273"/>
              <a:ext cx="350838" cy="346075"/>
            </a:xfrm>
            <a:prstGeom prst="ellipse">
              <a:avLst/>
            </a:prstGeom>
            <a:solidFill>
              <a:srgbClr val="856A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Line 33"/>
            <p:cNvSpPr>
              <a:spLocks noChangeShapeType="1"/>
            </p:cNvSpPr>
            <p:nvPr/>
          </p:nvSpPr>
          <p:spPr bwMode="auto">
            <a:xfrm>
              <a:off x="12501439" y="66541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12365458" y="3421008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Additional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1950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 preserve="1" userDrawn="1">
  <p:cSld name="1_Agenda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4959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4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Объект 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0" y="-2"/>
            <a:ext cx="12191999" cy="9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2" name="Прямая соединительная линия 21"/>
          <p:cNvCxnSpPr/>
          <p:nvPr userDrawn="1"/>
        </p:nvCxnSpPr>
        <p:spPr>
          <a:xfrm>
            <a:off x="442913" y="6308521"/>
            <a:ext cx="11306175" cy="0"/>
          </a:xfrm>
          <a:prstGeom prst="line">
            <a:avLst/>
          </a:prstGeom>
          <a:ln>
            <a:solidFill>
              <a:srgbClr val="3434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Google Shape;51;p7"/>
          <p:cNvSpPr txBox="1">
            <a:spLocks noGrp="1"/>
          </p:cNvSpPr>
          <p:nvPr userDrawn="1">
            <p:ph type="title" hasCustomPrompt="1"/>
          </p:nvPr>
        </p:nvSpPr>
        <p:spPr>
          <a:xfrm>
            <a:off x="442913" y="104304"/>
            <a:ext cx="9883935" cy="801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/>
          <a:lstStyle>
            <a:lvl1pPr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cap="none" baseline="0">
                <a:solidFill>
                  <a:schemeClr val="bg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 smtClean="0"/>
              <a:t>Slide title</a:t>
            </a:r>
            <a:endParaRPr dirty="0"/>
          </a:p>
        </p:txBody>
      </p:sp>
      <p:sp>
        <p:nvSpPr>
          <p:cNvPr id="4" name="Текст 3"/>
          <p:cNvSpPr>
            <a:spLocks noGrp="1"/>
          </p:cNvSpPr>
          <p:nvPr userDrawn="1">
            <p:ph type="body" sz="quarter" idx="13"/>
          </p:nvPr>
        </p:nvSpPr>
        <p:spPr>
          <a:xfrm>
            <a:off x="442913" y="1520825"/>
            <a:ext cx="11306175" cy="4651375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2941" y="74787"/>
            <a:ext cx="1112400" cy="822419"/>
          </a:xfrm>
          <a:prstGeom prst="rect">
            <a:avLst/>
          </a:prstGeom>
        </p:spPr>
      </p:pic>
      <p:sp>
        <p:nvSpPr>
          <p:cNvPr id="5" name="Дата 4"/>
          <p:cNvSpPr>
            <a:spLocks noGrp="1"/>
          </p:cNvSpPr>
          <p:nvPr>
            <p:ph type="dt" idx="1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idx="15"/>
          </p:nvPr>
        </p:nvSpPr>
        <p:spPr/>
        <p:txBody>
          <a:bodyPr/>
          <a:lstStyle/>
          <a:p>
            <a:r>
              <a:rPr lang="en-US" smtClean="0"/>
              <a:t>Footer goes here</a:t>
            </a:r>
            <a:endParaRPr lang="en-US" dirty="0" smtClean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idx="16"/>
          </p:nvPr>
        </p:nvSpPr>
        <p:spPr/>
        <p:txBody>
          <a:bodyPr/>
          <a:lstStyle/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68141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 preserve="1" userDrawn="1">
  <p:cSld name="1_Agenda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/>
          <p:cNvSpPr/>
          <p:nvPr userDrawn="1"/>
        </p:nvSpPr>
        <p:spPr>
          <a:xfrm>
            <a:off x="0" y="-2"/>
            <a:ext cx="12191999" cy="9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032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Объект 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cxnSp>
        <p:nvCxnSpPr>
          <p:cNvPr id="22" name="Прямая соединительная линия 21"/>
          <p:cNvCxnSpPr/>
          <p:nvPr userDrawn="1"/>
        </p:nvCxnSpPr>
        <p:spPr>
          <a:xfrm>
            <a:off x="442913" y="6308521"/>
            <a:ext cx="11306175" cy="0"/>
          </a:xfrm>
          <a:prstGeom prst="line">
            <a:avLst/>
          </a:prstGeom>
          <a:ln>
            <a:solidFill>
              <a:srgbClr val="3434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Google Shape;51;p7"/>
          <p:cNvSpPr txBox="1">
            <a:spLocks noGrp="1"/>
          </p:cNvSpPr>
          <p:nvPr>
            <p:ph type="title" hasCustomPrompt="1"/>
          </p:nvPr>
        </p:nvSpPr>
        <p:spPr>
          <a:xfrm>
            <a:off x="442913" y="104304"/>
            <a:ext cx="9883935" cy="80148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>
            <a:lvl1pPr>
              <a:lnSpc>
                <a:spcPct val="300000"/>
              </a:lnSpc>
              <a:defRPr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  <a:buClr>
                <a:schemeClr val="dk1"/>
              </a:buClr>
              <a:buSzPts val="3200"/>
              <a:buFont typeface="Georgia"/>
              <a:buNone/>
            </a:pPr>
            <a:r>
              <a:rPr lang="en-US" dirty="0" smtClean="0"/>
              <a:t>Slide title</a:t>
            </a:r>
            <a:endParaRPr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442914" y="1520825"/>
            <a:ext cx="5473700" cy="4651375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>
          <a:xfrm>
            <a:off x="6275388" y="1520825"/>
            <a:ext cx="5473700" cy="4651375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2941" y="74787"/>
            <a:ext cx="1112400" cy="822419"/>
          </a:xfrm>
          <a:prstGeom prst="rect">
            <a:avLst/>
          </a:prstGeom>
        </p:spPr>
      </p:pic>
      <p:sp>
        <p:nvSpPr>
          <p:cNvPr id="6" name="Дата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idx="16"/>
          </p:nvPr>
        </p:nvSpPr>
        <p:spPr/>
        <p:txBody>
          <a:bodyPr/>
          <a:lstStyle/>
          <a:p>
            <a:r>
              <a:rPr lang="en-US" smtClean="0"/>
              <a:t>Footer goes here</a:t>
            </a:r>
            <a:endParaRPr lang="en-US" dirty="0" smtClean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idx="17"/>
          </p:nvPr>
        </p:nvSpPr>
        <p:spPr/>
        <p:txBody>
          <a:bodyPr/>
          <a:lstStyle/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7031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1" preserve="1" userDrawn="1">
  <p:cSld name="2_Title Slide 1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829760"/>
            <a:ext cx="12192000" cy="4358640"/>
          </a:xfrm>
          <a:prstGeom prst="rect">
            <a:avLst/>
          </a:prstGeom>
        </p:spPr>
      </p:pic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4111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5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Прямоугольник 48"/>
          <p:cNvSpPr/>
          <p:nvPr userDrawn="1"/>
        </p:nvSpPr>
        <p:spPr>
          <a:xfrm>
            <a:off x="1253141" y="6172200"/>
            <a:ext cx="1645200" cy="685800"/>
          </a:xfrm>
          <a:prstGeom prst="rect">
            <a:avLst/>
          </a:pr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Объект 2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1307938" y="2838688"/>
            <a:ext cx="9474362" cy="861774"/>
          </a:xfrm>
        </p:spPr>
        <p:txBody>
          <a:bodyPr vert="horz">
            <a:spAutoFit/>
          </a:bodyPr>
          <a:lstStyle>
            <a:lvl1pPr>
              <a:defRPr sz="280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itle of the presentation in several lines</a:t>
            </a:r>
            <a:r>
              <a:rPr lang="ru-RU" dirty="0" smtClean="0"/>
              <a:t>,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itle of the presentation in several lines</a:t>
            </a:r>
            <a:endParaRPr lang="ru-RU" dirty="0"/>
          </a:p>
        </p:txBody>
      </p:sp>
      <p:sp>
        <p:nvSpPr>
          <p:cNvPr id="46" name="Прямоугольник 45"/>
          <p:cNvSpPr/>
          <p:nvPr userDrawn="1"/>
        </p:nvSpPr>
        <p:spPr>
          <a:xfrm>
            <a:off x="1253141" y="0"/>
            <a:ext cx="1645200" cy="18192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олилиния 49"/>
          <p:cNvSpPr/>
          <p:nvPr userDrawn="1"/>
        </p:nvSpPr>
        <p:spPr>
          <a:xfrm>
            <a:off x="1251581" y="0"/>
            <a:ext cx="1646760" cy="610980"/>
          </a:xfrm>
          <a:custGeom>
            <a:avLst/>
            <a:gdLst>
              <a:gd name="connsiteX0" fmla="*/ 0 w 1646760"/>
              <a:gd name="connsiteY0" fmla="*/ 0 h 610980"/>
              <a:gd name="connsiteX1" fmla="*/ 1646760 w 1646760"/>
              <a:gd name="connsiteY1" fmla="*/ 0 h 610980"/>
              <a:gd name="connsiteX2" fmla="*/ 1646760 w 1646760"/>
              <a:gd name="connsiteY2" fmla="*/ 376993 h 610980"/>
              <a:gd name="connsiteX3" fmla="*/ 1467066 w 1646760"/>
              <a:gd name="connsiteY3" fmla="*/ 448281 h 610980"/>
              <a:gd name="connsiteX4" fmla="*/ 122592 w 1646760"/>
              <a:gd name="connsiteY4" fmla="*/ 597394 h 610980"/>
              <a:gd name="connsiteX5" fmla="*/ 0 w 1646760"/>
              <a:gd name="connsiteY5" fmla="*/ 578256 h 610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46760" h="610980">
                <a:moveTo>
                  <a:pt x="0" y="0"/>
                </a:moveTo>
                <a:lnTo>
                  <a:pt x="1646760" y="0"/>
                </a:lnTo>
                <a:lnTo>
                  <a:pt x="1646760" y="376993"/>
                </a:lnTo>
                <a:lnTo>
                  <a:pt x="1467066" y="448281"/>
                </a:lnTo>
                <a:cubicBezTo>
                  <a:pt x="1019671" y="598635"/>
                  <a:pt x="472471" y="634626"/>
                  <a:pt x="122592" y="597394"/>
                </a:cubicBezTo>
                <a:lnTo>
                  <a:pt x="0" y="578256"/>
                </a:lnTo>
                <a:close/>
              </a:path>
            </a:pathLst>
          </a:cu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2" name="Прямоугольник 51"/>
          <p:cNvSpPr/>
          <p:nvPr userDrawn="1"/>
        </p:nvSpPr>
        <p:spPr>
          <a:xfrm>
            <a:off x="10237627" y="6302602"/>
            <a:ext cx="1511461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r"/>
            <a:r>
              <a:rPr lang="en-US" sz="1400" dirty="0" smtClean="0">
                <a:solidFill>
                  <a:schemeClr val="bg2"/>
                </a:solidFill>
              </a:rPr>
              <a:t>EFSD.ORG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idx="10"/>
          </p:nvPr>
        </p:nvSpPr>
        <p:spPr>
          <a:xfrm>
            <a:off x="1353659" y="6341745"/>
            <a:ext cx="1463201" cy="137160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>
              <a:defRPr lang="ru-RU" sz="1400" dirty="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algn="l"/>
            <a:endParaRPr lang="ru-RU"/>
          </a:p>
        </p:txBody>
      </p:sp>
      <p:sp>
        <p:nvSpPr>
          <p:cNvPr id="55" name="Текст 52"/>
          <p:cNvSpPr>
            <a:spLocks noGrp="1"/>
          </p:cNvSpPr>
          <p:nvPr>
            <p:ph type="body" sz="quarter" idx="11" hasCustomPrompt="1"/>
          </p:nvPr>
        </p:nvSpPr>
        <p:spPr>
          <a:xfrm>
            <a:off x="1295399" y="5005745"/>
            <a:ext cx="9496425" cy="98488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Aft>
                <a:spcPts val="0"/>
              </a:spcAft>
              <a:defRPr lang="ru-RU" sz="1600" cap="none" baseline="0" smtClean="0">
                <a:solidFill>
                  <a:schemeClr val="bg1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ru-RU" sz="1800" smtClean="0">
                <a:latin typeface="+mn-lt"/>
              </a:defRPr>
            </a:lvl2pPr>
            <a:lvl3pPr>
              <a:defRPr lang="ru-RU" sz="1800" smtClean="0">
                <a:latin typeface="+mn-lt"/>
              </a:defRPr>
            </a:lvl3pPr>
            <a:lvl4pPr>
              <a:defRPr lang="ru-RU" sz="1800" smtClean="0">
                <a:latin typeface="+mn-lt"/>
              </a:defRPr>
            </a:lvl4pPr>
            <a:lvl5pPr>
              <a:defRPr lang="ru-RU" sz="1800">
                <a:latin typeface="+mn-lt"/>
              </a:defRPr>
            </a:lvl5pPr>
          </a:lstStyle>
          <a:p>
            <a:pPr lvl="0">
              <a:spcAft>
                <a:spcPts val="0"/>
              </a:spcAft>
            </a:pPr>
            <a:r>
              <a:rPr lang="en-US" dirty="0" smtClean="0"/>
              <a:t>Name Surname </a:t>
            </a:r>
          </a:p>
          <a:p>
            <a:pPr lvl="0">
              <a:spcAft>
                <a:spcPts val="0"/>
              </a:spcAft>
            </a:pPr>
            <a:r>
              <a:rPr lang="en-US" dirty="0" smtClean="0"/>
              <a:t>Position</a:t>
            </a:r>
            <a:br>
              <a:rPr lang="en-US" dirty="0" smtClean="0"/>
            </a:br>
            <a:r>
              <a:rPr lang="en-US" dirty="0" smtClean="0"/>
              <a:t>Venue</a:t>
            </a:r>
            <a:br>
              <a:rPr lang="en-US" dirty="0" smtClean="0"/>
            </a:br>
            <a:r>
              <a:rPr lang="en-US" dirty="0" smtClean="0"/>
              <a:t>Event title</a:t>
            </a:r>
          </a:p>
        </p:txBody>
      </p:sp>
      <p:sp>
        <p:nvSpPr>
          <p:cNvPr id="51" name="Прямоугольник 50"/>
          <p:cNvSpPr/>
          <p:nvPr userDrawn="1"/>
        </p:nvSpPr>
        <p:spPr>
          <a:xfrm>
            <a:off x="1253141" y="1712595"/>
            <a:ext cx="1645200" cy="116205"/>
          </a:xfrm>
          <a:prstGeom prst="rect">
            <a:avLst/>
          </a:pr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4" name="Рисунок 4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860" y="315557"/>
            <a:ext cx="2008800" cy="1485151"/>
          </a:xfrm>
          <a:prstGeom prst="rect">
            <a:avLst/>
          </a:prstGeom>
        </p:spPr>
      </p:pic>
      <p:grpSp>
        <p:nvGrpSpPr>
          <p:cNvPr id="47" name="Группа 46"/>
          <p:cNvGrpSpPr>
            <a:grpSpLocks noChangeAspect="1"/>
          </p:cNvGrpSpPr>
          <p:nvPr userDrawn="1"/>
        </p:nvGrpSpPr>
        <p:grpSpPr>
          <a:xfrm>
            <a:off x="12365458" y="2"/>
            <a:ext cx="1080000" cy="6858030"/>
            <a:chOff x="12365458" y="0"/>
            <a:chExt cx="1080000" cy="6858000"/>
          </a:xfrm>
        </p:grpSpPr>
        <p:sp>
          <p:nvSpPr>
            <p:cNvPr id="82" name="Freeform 5"/>
            <p:cNvSpPr>
              <a:spLocks/>
            </p:cNvSpPr>
            <p:nvPr/>
          </p:nvSpPr>
          <p:spPr bwMode="auto">
            <a:xfrm>
              <a:off x="12365458" y="0"/>
              <a:ext cx="1080000" cy="6858000"/>
            </a:xfrm>
            <a:prstGeom prst="roundRect">
              <a:avLst>
                <a:gd name="adj" fmla="val 12318"/>
              </a:avLst>
            </a:prstGeom>
            <a:solidFill>
              <a:schemeClr val="bg1"/>
            </a:solidFill>
            <a:ln w="7938" cap="flat">
              <a:solidFill>
                <a:srgbClr val="FEFEF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83" name="Группа 82"/>
            <p:cNvGrpSpPr/>
            <p:nvPr userDrawn="1"/>
          </p:nvGrpSpPr>
          <p:grpSpPr>
            <a:xfrm>
              <a:off x="12365458" y="5764224"/>
              <a:ext cx="1080000" cy="838989"/>
              <a:chOff x="12365458" y="5764224"/>
              <a:chExt cx="1080000" cy="838989"/>
            </a:xfrm>
          </p:grpSpPr>
          <p:pic>
            <p:nvPicPr>
              <p:cNvPr id="107" name="Picture 30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08164" y="6094649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8" name="Picture 31"/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37017" y="6101736"/>
                <a:ext cx="152400" cy="123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9" name="Picture 32"/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125833" y="6321161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10" name="TextBox 109"/>
              <p:cNvSpPr txBox="1"/>
              <p:nvPr/>
            </p:nvSpPr>
            <p:spPr>
              <a:xfrm>
                <a:off x="12365458" y="5764224"/>
                <a:ext cx="1080000" cy="838989"/>
              </a:xfrm>
              <a:prstGeom prst="rect">
                <a:avLst/>
              </a:prstGeom>
              <a:noFill/>
            </p:spPr>
            <p:txBody>
              <a:bodyPr wrap="square" lIns="36000" tIns="0" rIns="3600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Select a text or graphic element.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, respectively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or .</a:t>
                </a:r>
              </a:p>
              <a:p>
                <a:pPr algn="ctr">
                  <a:lnSpc>
                    <a:spcPct val="90000"/>
                  </a:lnSpc>
                  <a:spcBef>
                    <a:spcPts val="300"/>
                  </a:spcBef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After selecting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the pipette tool          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 on the desired color on the palette.</a:t>
                </a:r>
                <a:endParaRPr lang="ru-RU" sz="800" dirty="0">
                  <a:solidFill>
                    <a:srgbClr val="30343F"/>
                  </a:solidFill>
                  <a:latin typeface="Source Sans Pro" panose="020B0503030403020204" pitchFamily="34" charset="0"/>
                </a:endParaRPr>
              </a:p>
            </p:txBody>
          </p:sp>
        </p:grpSp>
        <p:sp>
          <p:nvSpPr>
            <p:cNvPr id="84" name="TextBox 83"/>
            <p:cNvSpPr txBox="1"/>
            <p:nvPr/>
          </p:nvSpPr>
          <p:spPr>
            <a:xfrm>
              <a:off x="12368248" y="18288"/>
              <a:ext cx="1074420" cy="4606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Color palette </a:t>
              </a:r>
              <a:b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</a:b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for EFSR presentations</a:t>
              </a:r>
              <a:endParaRPr lang="ru-RU" sz="1000" dirty="0">
                <a:solidFill>
                  <a:srgbClr val="343467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12365458" y="640080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The main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6" name="Oval 8"/>
            <p:cNvSpPr>
              <a:spLocks noChangeArrowheads="1"/>
            </p:cNvSpPr>
            <p:nvPr/>
          </p:nvSpPr>
          <p:spPr bwMode="auto">
            <a:xfrm>
              <a:off x="12518642" y="970675"/>
              <a:ext cx="350838" cy="346075"/>
            </a:xfrm>
            <a:prstGeom prst="ellipse">
              <a:avLst/>
            </a:prstGeom>
            <a:solidFill>
              <a:srgbClr val="00589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Oval 9"/>
            <p:cNvSpPr>
              <a:spLocks noChangeArrowheads="1"/>
            </p:cNvSpPr>
            <p:nvPr/>
          </p:nvSpPr>
          <p:spPr bwMode="auto">
            <a:xfrm>
              <a:off x="12515726" y="1381725"/>
              <a:ext cx="350838" cy="346075"/>
            </a:xfrm>
            <a:prstGeom prst="ellipse">
              <a:avLst/>
            </a:prstGeom>
            <a:solidFill>
              <a:srgbClr val="00B1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Oval 10"/>
            <p:cNvSpPr>
              <a:spLocks noChangeArrowheads="1"/>
            </p:cNvSpPr>
            <p:nvPr/>
          </p:nvSpPr>
          <p:spPr bwMode="auto">
            <a:xfrm>
              <a:off x="12515726" y="2602206"/>
              <a:ext cx="350838" cy="346075"/>
            </a:xfrm>
            <a:prstGeom prst="ellipse">
              <a:avLst/>
            </a:prstGeom>
            <a:solidFill>
              <a:srgbClr val="C2BFB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Oval 11"/>
            <p:cNvSpPr>
              <a:spLocks noChangeAspect="1" noChangeArrowheads="1"/>
            </p:cNvSpPr>
            <p:nvPr/>
          </p:nvSpPr>
          <p:spPr bwMode="auto">
            <a:xfrm>
              <a:off x="12515725" y="1780075"/>
              <a:ext cx="793329" cy="792000"/>
            </a:xfrm>
            <a:prstGeom prst="ellipse">
              <a:avLst/>
            </a:prstGeom>
            <a:solidFill>
              <a:srgbClr val="343467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lvl="0"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FFFFFF"/>
                  </a:solidFill>
                  <a:latin typeface="Source Sans Pro" panose="020B0503030403020204" pitchFamily="34" charset="0"/>
                </a:rPr>
                <a:t>Base color</a:t>
              </a:r>
              <a:endParaRPr lang="ru-RU" sz="1000" dirty="0">
                <a:solidFill>
                  <a:srgbClr val="FFFFF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90" name="Oval 13"/>
            <p:cNvSpPr>
              <a:spLocks noChangeArrowheads="1"/>
            </p:cNvSpPr>
            <p:nvPr/>
          </p:nvSpPr>
          <p:spPr bwMode="auto">
            <a:xfrm>
              <a:off x="12515726" y="2978412"/>
              <a:ext cx="350838" cy="346075"/>
            </a:xfrm>
            <a:prstGeom prst="ellipse">
              <a:avLst/>
            </a:prstGeom>
            <a:solidFill>
              <a:srgbClr val="30343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Oval 14"/>
            <p:cNvSpPr>
              <a:spLocks noChangeArrowheads="1"/>
            </p:cNvSpPr>
            <p:nvPr/>
          </p:nvSpPr>
          <p:spPr bwMode="auto">
            <a:xfrm>
              <a:off x="12515726" y="3744823"/>
              <a:ext cx="350838" cy="346075"/>
            </a:xfrm>
            <a:prstGeom prst="ellipse">
              <a:avLst/>
            </a:prstGeom>
            <a:solidFill>
              <a:srgbClr val="D034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Oval 15"/>
            <p:cNvSpPr>
              <a:spLocks noChangeArrowheads="1"/>
            </p:cNvSpPr>
            <p:nvPr/>
          </p:nvSpPr>
          <p:spPr bwMode="auto">
            <a:xfrm>
              <a:off x="12949114" y="975437"/>
              <a:ext cx="350838" cy="346075"/>
            </a:xfrm>
            <a:prstGeom prst="ellipse">
              <a:avLst/>
            </a:prstGeom>
            <a:solidFill>
              <a:srgbClr val="007CB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Oval 16"/>
            <p:cNvSpPr>
              <a:spLocks noChangeArrowheads="1"/>
            </p:cNvSpPr>
            <p:nvPr/>
          </p:nvSpPr>
          <p:spPr bwMode="auto">
            <a:xfrm>
              <a:off x="12949114" y="1381725"/>
              <a:ext cx="350838" cy="346075"/>
            </a:xfrm>
            <a:prstGeom prst="ellipse">
              <a:avLst/>
            </a:prstGeom>
            <a:solidFill>
              <a:srgbClr val="B4DCE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Oval 17"/>
            <p:cNvSpPr>
              <a:spLocks noChangeArrowheads="1"/>
            </p:cNvSpPr>
            <p:nvPr/>
          </p:nvSpPr>
          <p:spPr bwMode="auto">
            <a:xfrm>
              <a:off x="12949114" y="2602206"/>
              <a:ext cx="350838" cy="346075"/>
            </a:xfrm>
            <a:prstGeom prst="ellipse">
              <a:avLst/>
            </a:prstGeom>
            <a:solidFill>
              <a:srgbClr val="84898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Oval 20"/>
            <p:cNvSpPr>
              <a:spLocks noChangeArrowheads="1"/>
            </p:cNvSpPr>
            <p:nvPr/>
          </p:nvSpPr>
          <p:spPr bwMode="auto">
            <a:xfrm>
              <a:off x="12949114" y="2978412"/>
              <a:ext cx="350838" cy="346075"/>
            </a:xfrm>
            <a:prstGeom prst="ellipse">
              <a:avLst/>
            </a:prstGeom>
            <a:solidFill>
              <a:srgbClr val="3738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Oval 21"/>
            <p:cNvSpPr>
              <a:spLocks noChangeArrowheads="1"/>
            </p:cNvSpPr>
            <p:nvPr/>
          </p:nvSpPr>
          <p:spPr bwMode="auto">
            <a:xfrm>
              <a:off x="12949114" y="3744823"/>
              <a:ext cx="350838" cy="346075"/>
            </a:xfrm>
            <a:prstGeom prst="ellipse">
              <a:avLst/>
            </a:prstGeom>
            <a:solidFill>
              <a:srgbClr val="FDAC5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Oval 22"/>
            <p:cNvSpPr>
              <a:spLocks noChangeArrowheads="1"/>
            </p:cNvSpPr>
            <p:nvPr/>
          </p:nvSpPr>
          <p:spPr bwMode="auto">
            <a:xfrm>
              <a:off x="12515726" y="4162223"/>
              <a:ext cx="350838" cy="346075"/>
            </a:xfrm>
            <a:prstGeom prst="ellipse">
              <a:avLst/>
            </a:prstGeom>
            <a:solidFill>
              <a:srgbClr val="F9E54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Oval 23"/>
            <p:cNvSpPr>
              <a:spLocks noChangeArrowheads="1"/>
            </p:cNvSpPr>
            <p:nvPr/>
          </p:nvSpPr>
          <p:spPr bwMode="auto">
            <a:xfrm>
              <a:off x="12949114" y="4162223"/>
              <a:ext cx="350838" cy="346075"/>
            </a:xfrm>
            <a:prstGeom prst="ellipse">
              <a:avLst/>
            </a:prstGeom>
            <a:solidFill>
              <a:srgbClr val="C3D3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Oval 24"/>
            <p:cNvSpPr>
              <a:spLocks noChangeArrowheads="1"/>
            </p:cNvSpPr>
            <p:nvPr/>
          </p:nvSpPr>
          <p:spPr bwMode="auto">
            <a:xfrm>
              <a:off x="12515726" y="4551048"/>
              <a:ext cx="350838" cy="346075"/>
            </a:xfrm>
            <a:prstGeom prst="ellipse">
              <a:avLst/>
            </a:prstGeom>
            <a:solidFill>
              <a:srgbClr val="008C4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Oval 25"/>
            <p:cNvSpPr>
              <a:spLocks noChangeArrowheads="1"/>
            </p:cNvSpPr>
            <p:nvPr/>
          </p:nvSpPr>
          <p:spPr bwMode="auto">
            <a:xfrm>
              <a:off x="12949114" y="4551048"/>
              <a:ext cx="350838" cy="346075"/>
            </a:xfrm>
            <a:prstGeom prst="ellipse">
              <a:avLst/>
            </a:prstGeom>
            <a:solidFill>
              <a:srgbClr val="1D428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Line 33"/>
            <p:cNvSpPr>
              <a:spLocks noChangeShapeType="1"/>
            </p:cNvSpPr>
            <p:nvPr/>
          </p:nvSpPr>
          <p:spPr bwMode="auto">
            <a:xfrm>
              <a:off x="12501439" y="342805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Oval 22"/>
            <p:cNvSpPr>
              <a:spLocks noChangeArrowheads="1"/>
            </p:cNvSpPr>
            <p:nvPr/>
          </p:nvSpPr>
          <p:spPr bwMode="auto">
            <a:xfrm>
              <a:off x="12515726" y="4968448"/>
              <a:ext cx="350838" cy="346075"/>
            </a:xfrm>
            <a:prstGeom prst="ellipse">
              <a:avLst/>
            </a:prstGeom>
            <a:solidFill>
              <a:srgbClr val="883F8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Oval 23"/>
            <p:cNvSpPr>
              <a:spLocks noChangeArrowheads="1"/>
            </p:cNvSpPr>
            <p:nvPr/>
          </p:nvSpPr>
          <p:spPr bwMode="auto">
            <a:xfrm>
              <a:off x="12949114" y="4968448"/>
              <a:ext cx="350838" cy="346075"/>
            </a:xfrm>
            <a:prstGeom prst="ellipse">
              <a:avLst/>
            </a:prstGeom>
            <a:solidFill>
              <a:srgbClr val="919BC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Oval 24"/>
            <p:cNvSpPr>
              <a:spLocks noChangeArrowheads="1"/>
            </p:cNvSpPr>
            <p:nvPr/>
          </p:nvSpPr>
          <p:spPr bwMode="auto">
            <a:xfrm>
              <a:off x="12732420" y="5357273"/>
              <a:ext cx="350838" cy="346075"/>
            </a:xfrm>
            <a:prstGeom prst="ellipse">
              <a:avLst/>
            </a:prstGeom>
            <a:solidFill>
              <a:srgbClr val="856A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Line 33"/>
            <p:cNvSpPr>
              <a:spLocks noChangeShapeType="1"/>
            </p:cNvSpPr>
            <p:nvPr/>
          </p:nvSpPr>
          <p:spPr bwMode="auto">
            <a:xfrm>
              <a:off x="12501439" y="66541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TextBox 105"/>
            <p:cNvSpPr txBox="1"/>
            <p:nvPr/>
          </p:nvSpPr>
          <p:spPr>
            <a:xfrm>
              <a:off x="12365458" y="3421008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Additional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3542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 preserve="1" userDrawn="1">
  <p:cSld name="1_Agenda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/>
          <p:cNvSpPr/>
          <p:nvPr userDrawn="1"/>
        </p:nvSpPr>
        <p:spPr>
          <a:xfrm>
            <a:off x="0" y="-2"/>
            <a:ext cx="12191999" cy="9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3495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Объект 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cxnSp>
        <p:nvCxnSpPr>
          <p:cNvPr id="22" name="Прямая соединительная линия 21"/>
          <p:cNvCxnSpPr/>
          <p:nvPr userDrawn="1"/>
        </p:nvCxnSpPr>
        <p:spPr>
          <a:xfrm>
            <a:off x="442913" y="6308521"/>
            <a:ext cx="11306175" cy="0"/>
          </a:xfrm>
          <a:prstGeom prst="line">
            <a:avLst/>
          </a:prstGeom>
          <a:ln>
            <a:solidFill>
              <a:srgbClr val="3434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Google Shape;51;p7"/>
          <p:cNvSpPr txBox="1">
            <a:spLocks noGrp="1"/>
          </p:cNvSpPr>
          <p:nvPr>
            <p:ph type="title" hasCustomPrompt="1"/>
          </p:nvPr>
        </p:nvSpPr>
        <p:spPr>
          <a:xfrm>
            <a:off x="442913" y="104304"/>
            <a:ext cx="9883935" cy="801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/>
          <a:lstStyle>
            <a:lvl1pPr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cap="none" baseline="0">
                <a:solidFill>
                  <a:schemeClr val="bg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 smtClean="0"/>
              <a:t>Slide title</a:t>
            </a:r>
            <a:endParaRPr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442914" y="1520825"/>
            <a:ext cx="3529011" cy="4651375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>
          <a:xfrm>
            <a:off x="4327525" y="1520825"/>
            <a:ext cx="3533775" cy="4651375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/>
          </p:nvPr>
        </p:nvSpPr>
        <p:spPr>
          <a:xfrm>
            <a:off x="8218488" y="1520825"/>
            <a:ext cx="3530600" cy="4651375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2941" y="74787"/>
            <a:ext cx="1112400" cy="822419"/>
          </a:xfrm>
          <a:prstGeom prst="rect">
            <a:avLst/>
          </a:prstGeom>
        </p:spPr>
      </p:pic>
      <p:sp>
        <p:nvSpPr>
          <p:cNvPr id="7" name="Дата 6"/>
          <p:cNvSpPr>
            <a:spLocks noGrp="1"/>
          </p:cNvSpPr>
          <p:nvPr>
            <p:ph type="dt" idx="16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idx="17"/>
          </p:nvPr>
        </p:nvSpPr>
        <p:spPr/>
        <p:txBody>
          <a:bodyPr/>
          <a:lstStyle/>
          <a:p>
            <a:r>
              <a:rPr lang="en-US" smtClean="0"/>
              <a:t>Footer goes here</a:t>
            </a:r>
            <a:endParaRPr lang="en-US" dirty="0" smtClean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idx="18"/>
          </p:nvPr>
        </p:nvSpPr>
        <p:spPr/>
        <p:txBody>
          <a:bodyPr/>
          <a:lstStyle/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15957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 preserve="1" userDrawn="1">
  <p:cSld name="1_Agenda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8175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Объект 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51" name="Google Shape;51;p7"/>
          <p:cNvSpPr txBox="1">
            <a:spLocks noGrp="1"/>
          </p:cNvSpPr>
          <p:nvPr>
            <p:ph type="title" hasCustomPrompt="1"/>
          </p:nvPr>
        </p:nvSpPr>
        <p:spPr>
          <a:xfrm>
            <a:off x="442913" y="432000"/>
            <a:ext cx="9905047" cy="801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/>
          <a:lstStyle>
            <a:lvl1pPr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 smtClean="0"/>
              <a:t>Slide title</a:t>
            </a:r>
            <a:endParaRPr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442914" y="1520825"/>
            <a:ext cx="5473700" cy="4651375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4"/>
          </p:nvPr>
        </p:nvSpPr>
        <p:spPr>
          <a:xfrm>
            <a:off x="6275388" y="1520825"/>
            <a:ext cx="5473700" cy="4651375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541" y="289560"/>
            <a:ext cx="1450800" cy="1072605"/>
          </a:xfrm>
          <a:prstGeom prst="rect">
            <a:avLst/>
          </a:prstGeom>
        </p:spPr>
      </p:pic>
      <p:sp>
        <p:nvSpPr>
          <p:cNvPr id="5" name="Дата 4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idx="16"/>
          </p:nvPr>
        </p:nvSpPr>
        <p:spPr/>
        <p:txBody>
          <a:bodyPr/>
          <a:lstStyle/>
          <a:p>
            <a:r>
              <a:rPr lang="en-US" smtClean="0"/>
              <a:t>Footer goes here</a:t>
            </a:r>
            <a:endParaRPr lang="en-US" dirty="0" smtClean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idx="17"/>
          </p:nvPr>
        </p:nvSpPr>
        <p:spPr/>
        <p:txBody>
          <a:bodyPr/>
          <a:lstStyle/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5599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" userDrawn="1">
  <p:cSld name="Three Content"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0907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Объект 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112" name="Google Shape;112;p16"/>
          <p:cNvSpPr txBox="1">
            <a:spLocks noGrp="1"/>
          </p:cNvSpPr>
          <p:nvPr>
            <p:ph type="body" idx="1"/>
          </p:nvPr>
        </p:nvSpPr>
        <p:spPr>
          <a:xfrm>
            <a:off x="442913" y="1520825"/>
            <a:ext cx="3528900" cy="4651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3" name="Google Shape;113;p16"/>
          <p:cNvSpPr txBox="1">
            <a:spLocks noGrp="1"/>
          </p:cNvSpPr>
          <p:nvPr>
            <p:ph type="body" idx="2"/>
          </p:nvPr>
        </p:nvSpPr>
        <p:spPr>
          <a:xfrm>
            <a:off x="4332288" y="1520825"/>
            <a:ext cx="3528900" cy="4651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4" name="Google Shape;114;p16"/>
          <p:cNvSpPr txBox="1">
            <a:spLocks noGrp="1"/>
          </p:cNvSpPr>
          <p:nvPr>
            <p:ph type="body" idx="3"/>
          </p:nvPr>
        </p:nvSpPr>
        <p:spPr>
          <a:xfrm>
            <a:off x="8220076" y="1520825"/>
            <a:ext cx="3528900" cy="4651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442913" y="428624"/>
            <a:ext cx="9979169" cy="804863"/>
          </a:xfrm>
        </p:spPr>
        <p:txBody>
          <a:bodyPr vert="horz"/>
          <a:lstStyle/>
          <a:p>
            <a:r>
              <a:rPr lang="en-US" dirty="0" smtClean="0"/>
              <a:t>Slide title</a:t>
            </a:r>
            <a:endParaRPr lang="en-US" dirty="0"/>
          </a:p>
        </p:txBody>
      </p:sp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541" y="289560"/>
            <a:ext cx="1450800" cy="1072605"/>
          </a:xfrm>
          <a:prstGeom prst="rect">
            <a:avLst/>
          </a:prstGeom>
        </p:spPr>
      </p:pic>
      <p:sp>
        <p:nvSpPr>
          <p:cNvPr id="5" name="Дата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US" smtClean="0"/>
              <a:t>Footer goes here</a:t>
            </a:r>
            <a:endParaRPr lang="en-US" dirty="0" smtClean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Content" userDrawn="1">
  <p:cSld name="Four Content"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4174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Объект 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129" name="Google Shape;129;p18"/>
          <p:cNvSpPr txBox="1">
            <a:spLocks noGrp="1"/>
          </p:cNvSpPr>
          <p:nvPr>
            <p:ph type="body" idx="1"/>
          </p:nvPr>
        </p:nvSpPr>
        <p:spPr>
          <a:xfrm>
            <a:off x="442913" y="1520825"/>
            <a:ext cx="2556000" cy="4651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0" name="Google Shape;130;p18"/>
          <p:cNvSpPr txBox="1">
            <a:spLocks noGrp="1"/>
          </p:cNvSpPr>
          <p:nvPr>
            <p:ph type="body" idx="2"/>
          </p:nvPr>
        </p:nvSpPr>
        <p:spPr>
          <a:xfrm>
            <a:off x="3360613" y="1520825"/>
            <a:ext cx="2556000" cy="4651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1" name="Google Shape;131;p18"/>
          <p:cNvSpPr txBox="1">
            <a:spLocks noGrp="1"/>
          </p:cNvSpPr>
          <p:nvPr>
            <p:ph type="body" idx="3"/>
          </p:nvPr>
        </p:nvSpPr>
        <p:spPr>
          <a:xfrm>
            <a:off x="6275388" y="1520825"/>
            <a:ext cx="2556000" cy="4651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2" name="Google Shape;132;p18"/>
          <p:cNvSpPr txBox="1">
            <a:spLocks noGrp="1"/>
          </p:cNvSpPr>
          <p:nvPr>
            <p:ph type="body" idx="4"/>
          </p:nvPr>
        </p:nvSpPr>
        <p:spPr>
          <a:xfrm>
            <a:off x="9190163" y="1520825"/>
            <a:ext cx="2556000" cy="4651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442914" y="428624"/>
            <a:ext cx="9937604" cy="804863"/>
          </a:xfrm>
        </p:spPr>
        <p:txBody>
          <a:bodyPr vert="horz"/>
          <a:lstStyle/>
          <a:p>
            <a:r>
              <a:rPr lang="en-US" dirty="0" smtClean="0"/>
              <a:t>Slide title</a:t>
            </a:r>
            <a:endParaRPr lang="en-US" dirty="0"/>
          </a:p>
        </p:txBody>
      </p:sp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541" y="289560"/>
            <a:ext cx="1450800" cy="1072605"/>
          </a:xfrm>
          <a:prstGeom prst="rect">
            <a:avLst/>
          </a:prstGeom>
        </p:spPr>
      </p:pic>
      <p:sp>
        <p:nvSpPr>
          <p:cNvPr id="5" name="Дата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US" smtClean="0"/>
              <a:t>Footer goes here</a:t>
            </a:r>
            <a:endParaRPr lang="en-US" dirty="0" smtClean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ve Content" userDrawn="1">
  <p:cSld name="Five Content">
    <p:spTree>
      <p:nvGrpSpPr>
        <p:cNvPr id="1" name="Shape 1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7082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Объект 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148" name="Google Shape;148;p20"/>
          <p:cNvSpPr txBox="1">
            <a:spLocks noGrp="1"/>
          </p:cNvSpPr>
          <p:nvPr>
            <p:ph type="body" idx="1"/>
          </p:nvPr>
        </p:nvSpPr>
        <p:spPr>
          <a:xfrm>
            <a:off x="442913" y="1520825"/>
            <a:ext cx="1972800" cy="4651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49" name="Google Shape;149;p20"/>
          <p:cNvSpPr txBox="1">
            <a:spLocks noGrp="1"/>
          </p:cNvSpPr>
          <p:nvPr>
            <p:ph type="body" idx="2"/>
          </p:nvPr>
        </p:nvSpPr>
        <p:spPr>
          <a:xfrm>
            <a:off x="2777045" y="1520825"/>
            <a:ext cx="1972800" cy="4651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0" name="Google Shape;150;p20"/>
          <p:cNvSpPr txBox="1">
            <a:spLocks noGrp="1"/>
          </p:cNvSpPr>
          <p:nvPr>
            <p:ph type="body" idx="3"/>
          </p:nvPr>
        </p:nvSpPr>
        <p:spPr>
          <a:xfrm>
            <a:off x="5111177" y="1520825"/>
            <a:ext cx="1972800" cy="4651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1" name="Google Shape;151;p20"/>
          <p:cNvSpPr txBox="1">
            <a:spLocks noGrp="1"/>
          </p:cNvSpPr>
          <p:nvPr>
            <p:ph type="body" idx="4"/>
          </p:nvPr>
        </p:nvSpPr>
        <p:spPr>
          <a:xfrm>
            <a:off x="7445309" y="1520825"/>
            <a:ext cx="1972800" cy="4651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2" name="Google Shape;152;p20"/>
          <p:cNvSpPr txBox="1">
            <a:spLocks noGrp="1"/>
          </p:cNvSpPr>
          <p:nvPr>
            <p:ph type="body" idx="5"/>
          </p:nvPr>
        </p:nvSpPr>
        <p:spPr>
          <a:xfrm>
            <a:off x="9779443" y="1520825"/>
            <a:ext cx="1972800" cy="4651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442913" y="428624"/>
            <a:ext cx="9927214" cy="804863"/>
          </a:xfrm>
        </p:spPr>
        <p:txBody>
          <a:bodyPr vert="horz"/>
          <a:lstStyle/>
          <a:p>
            <a:r>
              <a:rPr lang="en-US" dirty="0" smtClean="0"/>
              <a:t>Slide title</a:t>
            </a:r>
            <a:endParaRPr lang="en-US" dirty="0"/>
          </a:p>
        </p:txBody>
      </p:sp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541" y="289560"/>
            <a:ext cx="1450800" cy="1072605"/>
          </a:xfrm>
          <a:prstGeom prst="rect">
            <a:avLst/>
          </a:prstGeom>
        </p:spPr>
      </p:pic>
      <p:sp>
        <p:nvSpPr>
          <p:cNvPr id="5" name="Дата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US" smtClean="0"/>
              <a:t>Footer goes here</a:t>
            </a:r>
            <a:endParaRPr lang="en-US" dirty="0" smtClean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Images" userDrawn="1">
  <p:cSld name="Three Images"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1367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Объект 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169" name="Google Shape;169;p22"/>
          <p:cNvSpPr>
            <a:spLocks noGrp="1"/>
          </p:cNvSpPr>
          <p:nvPr>
            <p:ph type="pic" idx="2"/>
          </p:nvPr>
        </p:nvSpPr>
        <p:spPr>
          <a:xfrm>
            <a:off x="442912" y="2100263"/>
            <a:ext cx="3528900" cy="30174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spcFirstLastPara="1" wrap="square" lIns="0" tIns="0" rIns="0" bIns="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170" name="Google Shape;170;p22"/>
          <p:cNvSpPr txBox="1">
            <a:spLocks noGrp="1"/>
          </p:cNvSpPr>
          <p:nvPr>
            <p:ph type="body" idx="1" hasCustomPrompt="1"/>
          </p:nvPr>
        </p:nvSpPr>
        <p:spPr>
          <a:xfrm>
            <a:off x="442913" y="5280025"/>
            <a:ext cx="3528900" cy="89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None/>
              <a:defRPr sz="1800" b="1"/>
            </a:lvl1pPr>
            <a:lvl2pPr marL="914400" lvl="1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2pPr>
            <a:lvl3pPr marL="1371600" lvl="2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3pPr>
            <a:lvl4pPr marL="1828800" lvl="3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4pPr>
            <a:lvl5pPr marL="2286000" lvl="4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6pPr>
            <a:lvl7pPr marL="3200400" lvl="6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7pPr>
            <a:lvl8pPr marL="3657600" lvl="7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8pPr>
            <a:lvl9pPr marL="4114800" lvl="8" indent="-3302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Char char="•"/>
              <a:defRPr/>
            </a:lvl9pPr>
          </a:lstStyle>
          <a:p>
            <a:pPr lvl="0"/>
            <a:r>
              <a:rPr lang="en-US" dirty="0" smtClean="0"/>
              <a:t>Text goes here</a:t>
            </a:r>
            <a:endParaRPr lang="ru-RU" dirty="0" smtClean="0"/>
          </a:p>
        </p:txBody>
      </p:sp>
      <p:sp>
        <p:nvSpPr>
          <p:cNvPr id="171" name="Google Shape;171;p22"/>
          <p:cNvSpPr>
            <a:spLocks noGrp="1"/>
          </p:cNvSpPr>
          <p:nvPr>
            <p:ph type="pic" idx="3"/>
          </p:nvPr>
        </p:nvSpPr>
        <p:spPr>
          <a:xfrm>
            <a:off x="4331494" y="2100263"/>
            <a:ext cx="3528900" cy="30174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spcFirstLastPara="1" wrap="square" lIns="0" tIns="0" rIns="0" bIns="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172" name="Google Shape;172;p22"/>
          <p:cNvSpPr txBox="1">
            <a:spLocks noGrp="1"/>
          </p:cNvSpPr>
          <p:nvPr>
            <p:ph type="body" idx="4" hasCustomPrompt="1"/>
          </p:nvPr>
        </p:nvSpPr>
        <p:spPr>
          <a:xfrm>
            <a:off x="4331495" y="5280025"/>
            <a:ext cx="3528900" cy="89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None/>
              <a:defRPr sz="1800" b="1"/>
            </a:lvl1pPr>
            <a:lvl2pPr marL="914400" lvl="1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2pPr>
            <a:lvl3pPr marL="1371600" lvl="2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3pPr>
            <a:lvl4pPr marL="1828800" lvl="3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4pPr>
            <a:lvl5pPr marL="2286000" lvl="4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6pPr>
            <a:lvl7pPr marL="3200400" lvl="6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7pPr>
            <a:lvl8pPr marL="3657600" lvl="7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8pPr>
            <a:lvl9pPr marL="4114800" lvl="8" indent="-3302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Char char="•"/>
              <a:defRPr/>
            </a:lvl9pPr>
          </a:lstStyle>
          <a:p>
            <a:pPr lvl="0"/>
            <a:r>
              <a:rPr lang="en-US" dirty="0" smtClean="0"/>
              <a:t>Text goes here</a:t>
            </a:r>
            <a:endParaRPr lang="ru-RU" dirty="0" smtClean="0"/>
          </a:p>
        </p:txBody>
      </p:sp>
      <p:sp>
        <p:nvSpPr>
          <p:cNvPr id="173" name="Google Shape;173;p22"/>
          <p:cNvSpPr>
            <a:spLocks noGrp="1"/>
          </p:cNvSpPr>
          <p:nvPr>
            <p:ph type="pic" idx="5"/>
          </p:nvPr>
        </p:nvSpPr>
        <p:spPr>
          <a:xfrm>
            <a:off x="8220075" y="2100263"/>
            <a:ext cx="3528900" cy="30174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spcFirstLastPara="1" wrap="square" lIns="0" tIns="0" rIns="0" bIns="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174" name="Google Shape;174;p22"/>
          <p:cNvSpPr txBox="1">
            <a:spLocks noGrp="1"/>
          </p:cNvSpPr>
          <p:nvPr>
            <p:ph type="body" idx="6" hasCustomPrompt="1"/>
          </p:nvPr>
        </p:nvSpPr>
        <p:spPr>
          <a:xfrm>
            <a:off x="8220076" y="5280025"/>
            <a:ext cx="3528900" cy="89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None/>
              <a:defRPr sz="1800" b="1"/>
            </a:lvl1pPr>
            <a:lvl2pPr marL="914400" lvl="1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2pPr>
            <a:lvl3pPr marL="1371600" lvl="2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3pPr>
            <a:lvl4pPr marL="1828800" lvl="3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4pPr>
            <a:lvl5pPr marL="2286000" lvl="4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6pPr>
            <a:lvl7pPr marL="3200400" lvl="6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7pPr>
            <a:lvl8pPr marL="3657600" lvl="7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8pPr>
            <a:lvl9pPr marL="4114800" lvl="8" indent="-3302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Char char="•"/>
              <a:defRPr/>
            </a:lvl9pPr>
          </a:lstStyle>
          <a:p>
            <a:pPr lvl="0"/>
            <a:r>
              <a:rPr lang="en-US" dirty="0" smtClean="0"/>
              <a:t>Text goes here</a:t>
            </a:r>
            <a:endParaRPr lang="ru-RU" dirty="0" smtClean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442913" y="428624"/>
            <a:ext cx="9927214" cy="804863"/>
          </a:xfrm>
        </p:spPr>
        <p:txBody>
          <a:bodyPr vert="horz"/>
          <a:lstStyle/>
          <a:p>
            <a:r>
              <a:rPr lang="en-US" dirty="0" smtClean="0"/>
              <a:t>Slide title</a:t>
            </a:r>
            <a:endParaRPr lang="en-US" dirty="0"/>
          </a:p>
        </p:txBody>
      </p:sp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541" y="289560"/>
            <a:ext cx="1450800" cy="1072605"/>
          </a:xfrm>
          <a:prstGeom prst="rect">
            <a:avLst/>
          </a:prstGeom>
        </p:spPr>
      </p:pic>
      <p:sp>
        <p:nvSpPr>
          <p:cNvPr id="5" name="Дата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US" smtClean="0"/>
              <a:t>Footer goes here</a:t>
            </a:r>
            <a:endParaRPr lang="en-US" dirty="0" smtClean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Text Boxes for Icons" userDrawn="1">
  <p:cSld name="Four Text Boxes for Icons"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6704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Объект 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192" name="Google Shape;192;p24"/>
          <p:cNvSpPr txBox="1">
            <a:spLocks noGrp="1"/>
          </p:cNvSpPr>
          <p:nvPr>
            <p:ph type="body" idx="1" hasCustomPrompt="1"/>
          </p:nvPr>
        </p:nvSpPr>
        <p:spPr>
          <a:xfrm>
            <a:off x="442913" y="3429000"/>
            <a:ext cx="2560320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None/>
              <a:defRPr sz="1200" b="1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2pPr>
            <a:lvl3pPr marL="1371600" lvl="2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4pPr>
            <a:lvl5pPr marL="2286000" lvl="4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6pPr>
            <a:lvl7pPr marL="3200400" lvl="6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7pPr>
            <a:lvl8pPr marL="3657600" lvl="7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8pPr>
            <a:lvl9pPr marL="4114800" lvl="8" indent="-3302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Char char="•"/>
              <a:defRPr/>
            </a:lvl9pPr>
          </a:lstStyle>
          <a:p>
            <a:pPr lvl="0"/>
            <a:r>
              <a:rPr lang="en-US" dirty="0" smtClean="0"/>
              <a:t>Text goes here</a:t>
            </a:r>
            <a:endParaRPr lang="ru-RU" dirty="0" smtClean="0"/>
          </a:p>
        </p:txBody>
      </p:sp>
      <p:sp>
        <p:nvSpPr>
          <p:cNvPr id="193" name="Google Shape;193;p24"/>
          <p:cNvSpPr txBox="1">
            <a:spLocks noGrp="1"/>
          </p:cNvSpPr>
          <p:nvPr>
            <p:ph type="body" idx="2" hasCustomPrompt="1"/>
          </p:nvPr>
        </p:nvSpPr>
        <p:spPr>
          <a:xfrm>
            <a:off x="3359638" y="3429000"/>
            <a:ext cx="2560320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None/>
              <a:defRPr sz="1200" b="1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2pPr>
            <a:lvl3pPr marL="1371600" lvl="2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4pPr>
            <a:lvl5pPr marL="2286000" lvl="4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6pPr>
            <a:lvl7pPr marL="3200400" lvl="6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7pPr>
            <a:lvl8pPr marL="3657600" lvl="7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8pPr>
            <a:lvl9pPr marL="4114800" lvl="8" indent="-3302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Char char="•"/>
              <a:defRPr/>
            </a:lvl9pPr>
          </a:lstStyle>
          <a:p>
            <a:pPr lvl="0"/>
            <a:r>
              <a:rPr lang="en-US" dirty="0" smtClean="0"/>
              <a:t>Text goes here</a:t>
            </a:r>
            <a:endParaRPr lang="ru-RU" dirty="0" smtClean="0"/>
          </a:p>
        </p:txBody>
      </p:sp>
      <p:sp>
        <p:nvSpPr>
          <p:cNvPr id="194" name="Google Shape;194;p24"/>
          <p:cNvSpPr txBox="1">
            <a:spLocks noGrp="1"/>
          </p:cNvSpPr>
          <p:nvPr>
            <p:ph type="body" idx="3" hasCustomPrompt="1"/>
          </p:nvPr>
        </p:nvSpPr>
        <p:spPr>
          <a:xfrm>
            <a:off x="6276363" y="3429000"/>
            <a:ext cx="2560320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None/>
              <a:defRPr sz="1200" b="1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2pPr>
            <a:lvl3pPr marL="1371600" lvl="2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4pPr>
            <a:lvl5pPr marL="2286000" lvl="4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6pPr>
            <a:lvl7pPr marL="3200400" lvl="6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7pPr>
            <a:lvl8pPr marL="3657600" lvl="7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8pPr>
            <a:lvl9pPr marL="4114800" lvl="8" indent="-3302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Char char="•"/>
              <a:defRPr/>
            </a:lvl9pPr>
          </a:lstStyle>
          <a:p>
            <a:pPr lvl="0"/>
            <a:r>
              <a:rPr lang="en-US" dirty="0" smtClean="0"/>
              <a:t>Text goes here</a:t>
            </a:r>
            <a:endParaRPr lang="ru-RU" dirty="0" smtClean="0"/>
          </a:p>
        </p:txBody>
      </p:sp>
      <p:sp>
        <p:nvSpPr>
          <p:cNvPr id="195" name="Google Shape;195;p24"/>
          <p:cNvSpPr txBox="1">
            <a:spLocks noGrp="1"/>
          </p:cNvSpPr>
          <p:nvPr>
            <p:ph type="body" idx="4" hasCustomPrompt="1"/>
          </p:nvPr>
        </p:nvSpPr>
        <p:spPr>
          <a:xfrm>
            <a:off x="9193088" y="3429000"/>
            <a:ext cx="2560320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None/>
              <a:defRPr sz="1200" b="1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2pPr>
            <a:lvl3pPr marL="1371600" lvl="2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4pPr>
            <a:lvl5pPr marL="2286000" lvl="4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6pPr>
            <a:lvl7pPr marL="3200400" lvl="6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7pPr>
            <a:lvl8pPr marL="3657600" lvl="7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8pPr>
            <a:lvl9pPr marL="4114800" lvl="8" indent="-3302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Char char="•"/>
              <a:defRPr/>
            </a:lvl9pPr>
          </a:lstStyle>
          <a:p>
            <a:pPr lvl="0"/>
            <a:r>
              <a:rPr lang="en-US" dirty="0" smtClean="0"/>
              <a:t>Text goes here</a:t>
            </a:r>
            <a:endParaRPr lang="ru-RU" dirty="0" smtClean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442913" y="428624"/>
            <a:ext cx="9916823" cy="804863"/>
          </a:xfrm>
        </p:spPr>
        <p:txBody>
          <a:bodyPr vert="horz"/>
          <a:lstStyle/>
          <a:p>
            <a:r>
              <a:rPr lang="en-US" dirty="0" smtClean="0"/>
              <a:t>Slide title</a:t>
            </a:r>
            <a:endParaRPr lang="en-US" dirty="0"/>
          </a:p>
        </p:txBody>
      </p:sp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541" y="289560"/>
            <a:ext cx="1450800" cy="1072605"/>
          </a:xfrm>
          <a:prstGeom prst="rect">
            <a:avLst/>
          </a:prstGeom>
        </p:spPr>
      </p:pic>
      <p:sp>
        <p:nvSpPr>
          <p:cNvPr id="5" name="Дата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US" smtClean="0"/>
              <a:t>Footer goes here</a:t>
            </a:r>
            <a:endParaRPr lang="en-US" dirty="0" smtClean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Team Images" userDrawn="1">
  <p:cSld name="Four Team Images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1232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Объект 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11" name="Google Shape;211;p26"/>
          <p:cNvSpPr>
            <a:spLocks noGrp="1"/>
          </p:cNvSpPr>
          <p:nvPr>
            <p:ph type="pic" idx="2"/>
          </p:nvPr>
        </p:nvSpPr>
        <p:spPr>
          <a:xfrm>
            <a:off x="442911" y="2103120"/>
            <a:ext cx="1325880" cy="132588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spcFirstLastPara="1" wrap="square" lIns="0" tIns="0" rIns="0" bIns="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12" name="Google Shape;212;p26"/>
          <p:cNvSpPr txBox="1">
            <a:spLocks noGrp="1"/>
          </p:cNvSpPr>
          <p:nvPr>
            <p:ph type="body" idx="1" hasCustomPrompt="1"/>
          </p:nvPr>
        </p:nvSpPr>
        <p:spPr>
          <a:xfrm>
            <a:off x="442912" y="3657600"/>
            <a:ext cx="2560320" cy="251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 b="1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2pPr>
            <a:lvl3pPr marL="1371600" lvl="2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3pPr>
            <a:lvl4pPr marL="1828800" lvl="3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4pPr>
            <a:lvl5pPr marL="2286000" lvl="4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5pPr>
            <a:lvl6pPr marL="2743200" lvl="5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6pPr>
            <a:lvl7pPr marL="3200400" lvl="6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7pPr>
            <a:lvl8pPr marL="3657600" lvl="7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8pPr>
            <a:lvl9pPr marL="4114800" lvl="8" indent="-3302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Char char="•"/>
              <a:defRPr sz="1600"/>
            </a:lvl9pPr>
          </a:lstStyle>
          <a:p>
            <a:pPr lvl="0"/>
            <a:r>
              <a:rPr lang="en-US" dirty="0" smtClean="0"/>
              <a:t>Text goes here</a:t>
            </a:r>
            <a:endParaRPr lang="ru-RU" dirty="0" smtClean="0"/>
          </a:p>
        </p:txBody>
      </p:sp>
      <p:sp>
        <p:nvSpPr>
          <p:cNvPr id="213" name="Google Shape;213;p26"/>
          <p:cNvSpPr>
            <a:spLocks noGrp="1"/>
          </p:cNvSpPr>
          <p:nvPr>
            <p:ph type="pic" idx="3"/>
          </p:nvPr>
        </p:nvSpPr>
        <p:spPr>
          <a:xfrm>
            <a:off x="3359638" y="2103120"/>
            <a:ext cx="1325880" cy="132588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spcFirstLastPara="1" wrap="square" lIns="0" tIns="0" rIns="0" bIns="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14" name="Google Shape;214;p26"/>
          <p:cNvSpPr txBox="1">
            <a:spLocks noGrp="1"/>
          </p:cNvSpPr>
          <p:nvPr>
            <p:ph type="body" idx="4" hasCustomPrompt="1"/>
          </p:nvPr>
        </p:nvSpPr>
        <p:spPr>
          <a:xfrm>
            <a:off x="3359638" y="3657600"/>
            <a:ext cx="2560320" cy="251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 b="1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2pPr>
            <a:lvl3pPr marL="1371600" lvl="2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3pPr>
            <a:lvl4pPr marL="1828800" lvl="3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4pPr>
            <a:lvl5pPr marL="2286000" lvl="4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5pPr>
            <a:lvl6pPr marL="2743200" lvl="5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6pPr>
            <a:lvl7pPr marL="3200400" lvl="6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7pPr>
            <a:lvl8pPr marL="3657600" lvl="7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8pPr>
            <a:lvl9pPr marL="4114800" lvl="8" indent="-3302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Char char="•"/>
              <a:defRPr sz="1600"/>
            </a:lvl9pPr>
          </a:lstStyle>
          <a:p>
            <a:pPr lvl="0"/>
            <a:r>
              <a:rPr lang="en-US" dirty="0" smtClean="0"/>
              <a:t>Text goes here</a:t>
            </a:r>
            <a:endParaRPr lang="ru-RU" dirty="0" smtClean="0"/>
          </a:p>
        </p:txBody>
      </p:sp>
      <p:sp>
        <p:nvSpPr>
          <p:cNvPr id="215" name="Google Shape;215;p26"/>
          <p:cNvSpPr>
            <a:spLocks noGrp="1"/>
          </p:cNvSpPr>
          <p:nvPr>
            <p:ph type="pic" idx="5"/>
          </p:nvPr>
        </p:nvSpPr>
        <p:spPr>
          <a:xfrm>
            <a:off x="6276363" y="2103120"/>
            <a:ext cx="1325880" cy="132588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spcFirstLastPara="1" wrap="square" lIns="0" tIns="0" rIns="0" bIns="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16" name="Google Shape;216;p26"/>
          <p:cNvSpPr txBox="1">
            <a:spLocks noGrp="1"/>
          </p:cNvSpPr>
          <p:nvPr>
            <p:ph type="body" idx="6" hasCustomPrompt="1"/>
          </p:nvPr>
        </p:nvSpPr>
        <p:spPr>
          <a:xfrm>
            <a:off x="6276362" y="3657600"/>
            <a:ext cx="2560320" cy="251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 b="1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2pPr>
            <a:lvl3pPr marL="1371600" lvl="2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3pPr>
            <a:lvl4pPr marL="1828800" lvl="3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4pPr>
            <a:lvl5pPr marL="2286000" lvl="4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5pPr>
            <a:lvl6pPr marL="2743200" lvl="5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6pPr>
            <a:lvl7pPr marL="3200400" lvl="6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7pPr>
            <a:lvl8pPr marL="3657600" lvl="7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8pPr>
            <a:lvl9pPr marL="4114800" lvl="8" indent="-3302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Char char="•"/>
              <a:defRPr sz="1600"/>
            </a:lvl9pPr>
          </a:lstStyle>
          <a:p>
            <a:pPr lvl="0"/>
            <a:r>
              <a:rPr lang="en-US" dirty="0" smtClean="0"/>
              <a:t>Text goes here</a:t>
            </a:r>
            <a:endParaRPr lang="ru-RU" dirty="0" smtClean="0"/>
          </a:p>
        </p:txBody>
      </p:sp>
      <p:sp>
        <p:nvSpPr>
          <p:cNvPr id="217" name="Google Shape;217;p26"/>
          <p:cNvSpPr>
            <a:spLocks noGrp="1"/>
          </p:cNvSpPr>
          <p:nvPr>
            <p:ph type="pic" idx="7"/>
          </p:nvPr>
        </p:nvSpPr>
        <p:spPr>
          <a:xfrm>
            <a:off x="9193088" y="2103120"/>
            <a:ext cx="1325880" cy="132588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spcFirstLastPara="1" wrap="square" lIns="0" tIns="0" rIns="0" bIns="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18" name="Google Shape;218;p26"/>
          <p:cNvSpPr txBox="1">
            <a:spLocks noGrp="1"/>
          </p:cNvSpPr>
          <p:nvPr>
            <p:ph type="body" idx="8" hasCustomPrompt="1"/>
          </p:nvPr>
        </p:nvSpPr>
        <p:spPr>
          <a:xfrm>
            <a:off x="9193088" y="3657600"/>
            <a:ext cx="2560320" cy="251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 b="1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2pPr>
            <a:lvl3pPr marL="1371600" lvl="2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3pPr>
            <a:lvl4pPr marL="1828800" lvl="3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4pPr>
            <a:lvl5pPr marL="2286000" lvl="4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5pPr>
            <a:lvl6pPr marL="2743200" lvl="5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6pPr>
            <a:lvl7pPr marL="3200400" lvl="6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7pPr>
            <a:lvl8pPr marL="3657600" lvl="7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8pPr>
            <a:lvl9pPr marL="4114800" lvl="8" indent="-3302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Char char="•"/>
              <a:defRPr sz="1600"/>
            </a:lvl9pPr>
          </a:lstStyle>
          <a:p>
            <a:pPr lvl="0"/>
            <a:r>
              <a:rPr lang="en-US" dirty="0" smtClean="0"/>
              <a:t>Text goes here</a:t>
            </a:r>
            <a:endParaRPr lang="ru-RU" dirty="0" smtClean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442913" y="428624"/>
            <a:ext cx="9672637" cy="804863"/>
          </a:xfrm>
        </p:spPr>
        <p:txBody>
          <a:bodyPr vert="horz"/>
          <a:lstStyle/>
          <a:p>
            <a:r>
              <a:rPr lang="en-US" dirty="0" smtClean="0"/>
              <a:t>Slide title</a:t>
            </a:r>
            <a:endParaRPr lang="en-US" dirty="0"/>
          </a:p>
        </p:txBody>
      </p:sp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541" y="289560"/>
            <a:ext cx="1450800" cy="1072605"/>
          </a:xfrm>
          <a:prstGeom prst="rect">
            <a:avLst/>
          </a:prstGeom>
        </p:spPr>
      </p:pic>
      <p:sp>
        <p:nvSpPr>
          <p:cNvPr id="5" name="Дата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US" smtClean="0"/>
              <a:t>Footer goes here</a:t>
            </a:r>
            <a:endParaRPr lang="en-US" dirty="0" smtClean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 Infographic" userDrawn="1">
  <p:cSld name="Three Content Infographic"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7275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Объект 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79" name="Google Shape;279;p35"/>
          <p:cNvSpPr txBox="1">
            <a:spLocks noGrp="1"/>
          </p:cNvSpPr>
          <p:nvPr>
            <p:ph type="body" idx="1" hasCustomPrompt="1"/>
          </p:nvPr>
        </p:nvSpPr>
        <p:spPr>
          <a:xfrm>
            <a:off x="442913" y="3599542"/>
            <a:ext cx="3529012" cy="25780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800"/>
              <a:buNone/>
              <a:defRPr>
                <a:solidFill>
                  <a:schemeClr val="accent3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>
                <a:solidFill>
                  <a:schemeClr val="dk1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>
                <a:solidFill>
                  <a:schemeClr val="dk1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 dirty="0" smtClean="0"/>
              <a:t>Text goes here</a:t>
            </a:r>
            <a:endParaRPr lang="ru-RU" dirty="0" smtClean="0"/>
          </a:p>
        </p:txBody>
      </p:sp>
      <p:sp>
        <p:nvSpPr>
          <p:cNvPr id="280" name="Google Shape;280;p35"/>
          <p:cNvSpPr txBox="1">
            <a:spLocks noGrp="1"/>
          </p:cNvSpPr>
          <p:nvPr>
            <p:ph type="body" idx="2" hasCustomPrompt="1"/>
          </p:nvPr>
        </p:nvSpPr>
        <p:spPr>
          <a:xfrm>
            <a:off x="442913" y="2095500"/>
            <a:ext cx="3529012" cy="133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/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8500"/>
              <a:buNone/>
              <a:defRPr sz="8500" b="0">
                <a:solidFill>
                  <a:schemeClr val="accent3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 dirty="0" smtClean="0"/>
              <a:t>Text</a:t>
            </a:r>
            <a:endParaRPr dirty="0"/>
          </a:p>
        </p:txBody>
      </p:sp>
      <p:sp>
        <p:nvSpPr>
          <p:cNvPr id="281" name="Google Shape;281;p35"/>
          <p:cNvSpPr txBox="1">
            <a:spLocks noGrp="1"/>
          </p:cNvSpPr>
          <p:nvPr>
            <p:ph type="body" idx="3" hasCustomPrompt="1"/>
          </p:nvPr>
        </p:nvSpPr>
        <p:spPr>
          <a:xfrm>
            <a:off x="4327524" y="2095500"/>
            <a:ext cx="3533775" cy="133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/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500"/>
              <a:buNone/>
              <a:defRPr sz="8500" b="0">
                <a:solidFill>
                  <a:srgbClr val="007CB8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282" name="Google Shape;282;p35"/>
          <p:cNvSpPr txBox="1">
            <a:spLocks noGrp="1"/>
          </p:cNvSpPr>
          <p:nvPr>
            <p:ph type="body" idx="4" hasCustomPrompt="1"/>
          </p:nvPr>
        </p:nvSpPr>
        <p:spPr>
          <a:xfrm>
            <a:off x="8222571" y="2095500"/>
            <a:ext cx="3529012" cy="133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/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500"/>
              <a:buNone/>
              <a:defRPr sz="8500" b="0">
                <a:solidFill>
                  <a:schemeClr val="accen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285" name="Google Shape;285;p35"/>
          <p:cNvSpPr txBox="1">
            <a:spLocks noGrp="1"/>
          </p:cNvSpPr>
          <p:nvPr>
            <p:ph type="body" idx="5" hasCustomPrompt="1"/>
          </p:nvPr>
        </p:nvSpPr>
        <p:spPr>
          <a:xfrm>
            <a:off x="4327525" y="3599542"/>
            <a:ext cx="3533775" cy="25780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>
                <a:solidFill>
                  <a:srgbClr val="007CB8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>
                <a:solidFill>
                  <a:schemeClr val="dk1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>
                <a:solidFill>
                  <a:schemeClr val="dk1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 dirty="0" smtClean="0"/>
              <a:t>Text goes here</a:t>
            </a:r>
            <a:endParaRPr lang="ru-RU" dirty="0" smtClean="0"/>
          </a:p>
        </p:txBody>
      </p:sp>
      <p:sp>
        <p:nvSpPr>
          <p:cNvPr id="286" name="Google Shape;286;p35"/>
          <p:cNvSpPr txBox="1">
            <a:spLocks noGrp="1"/>
          </p:cNvSpPr>
          <p:nvPr>
            <p:ph type="body" idx="6" hasCustomPrompt="1"/>
          </p:nvPr>
        </p:nvSpPr>
        <p:spPr>
          <a:xfrm>
            <a:off x="8222571" y="3599542"/>
            <a:ext cx="3529012" cy="25780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>
                <a:solidFill>
                  <a:schemeClr val="accen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>
                <a:solidFill>
                  <a:schemeClr val="dk1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>
                <a:solidFill>
                  <a:schemeClr val="dk1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 dirty="0" smtClean="0"/>
              <a:t>Text goes here</a:t>
            </a:r>
            <a:endParaRPr lang="ru-RU" dirty="0" smtClean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442914" y="428624"/>
            <a:ext cx="9777412" cy="804863"/>
          </a:xfrm>
        </p:spPr>
        <p:txBody>
          <a:bodyPr vert="horz"/>
          <a:lstStyle/>
          <a:p>
            <a:r>
              <a:rPr lang="en-US" dirty="0" smtClean="0"/>
              <a:t>Slide title</a:t>
            </a:r>
            <a:endParaRPr lang="en-US" dirty="0"/>
          </a:p>
        </p:txBody>
      </p:sp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541" y="289560"/>
            <a:ext cx="1450800" cy="1072605"/>
          </a:xfrm>
          <a:prstGeom prst="rect">
            <a:avLst/>
          </a:prstGeom>
        </p:spPr>
      </p:pic>
      <p:sp>
        <p:nvSpPr>
          <p:cNvPr id="5" name="Дата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US" smtClean="0"/>
              <a:t>Footer goes here</a:t>
            </a:r>
            <a:endParaRPr lang="en-US" dirty="0" smtClean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 preserve="1" userDrawn="1">
  <p:cSld name="Agenda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Объект 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51" name="Google Shape;51;p7"/>
          <p:cNvSpPr txBox="1">
            <a:spLocks noGrp="1"/>
          </p:cNvSpPr>
          <p:nvPr>
            <p:ph type="title"/>
          </p:nvPr>
        </p:nvSpPr>
        <p:spPr>
          <a:xfrm>
            <a:off x="442913" y="432000"/>
            <a:ext cx="9905047" cy="801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/>
          <a:lstStyle>
            <a:lvl1pPr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52" name="Google Shape;52;p7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53" name="Google Shape;53;p7"/>
          <p:cNvSpPr txBox="1">
            <a:spLocks noGrp="1"/>
          </p:cNvSpPr>
          <p:nvPr>
            <p:ph type="dt" idx="10"/>
          </p:nvPr>
        </p:nvSpPr>
        <p:spPr>
          <a:xfrm>
            <a:off x="9984296" y="635508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7"/>
          <p:cNvSpPr txBox="1">
            <a:spLocks noGrp="1"/>
          </p:cNvSpPr>
          <p:nvPr>
            <p:ph type="ftr" idx="11"/>
          </p:nvPr>
        </p:nvSpPr>
        <p:spPr>
          <a:xfrm>
            <a:off x="442912" y="6355080"/>
            <a:ext cx="5473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 smtClean="0"/>
              <a:t>Нижний колонтитул</a:t>
            </a:r>
            <a:endParaRPr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442913" y="1520825"/>
            <a:ext cx="11306175" cy="4651375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490" y="289560"/>
            <a:ext cx="1450851" cy="1072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9218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1" preserve="1" userDrawn="1">
  <p:cSld name="2_Title Slide 1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829760"/>
            <a:ext cx="12192000" cy="4358640"/>
          </a:xfrm>
          <a:prstGeom prst="rect">
            <a:avLst/>
          </a:prstGeom>
        </p:spPr>
      </p:pic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3143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79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Прямоугольник 48"/>
          <p:cNvSpPr/>
          <p:nvPr userDrawn="1"/>
        </p:nvSpPr>
        <p:spPr>
          <a:xfrm>
            <a:off x="1253141" y="6172200"/>
            <a:ext cx="1645200" cy="685800"/>
          </a:xfrm>
          <a:prstGeom prst="rect">
            <a:avLst/>
          </a:pr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Объект 2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1307938" y="2838688"/>
            <a:ext cx="9474362" cy="861774"/>
          </a:xfrm>
        </p:spPr>
        <p:txBody>
          <a:bodyPr vert="horz">
            <a:spAutoFit/>
          </a:bodyPr>
          <a:lstStyle>
            <a:lvl1pPr>
              <a:defRPr sz="280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itle of the presentation in several lines</a:t>
            </a:r>
            <a:r>
              <a:rPr lang="ru-RU" dirty="0" smtClean="0"/>
              <a:t>,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itle of the presentation in several lines</a:t>
            </a:r>
            <a:endParaRPr lang="ru-RU" dirty="0"/>
          </a:p>
        </p:txBody>
      </p:sp>
      <p:sp>
        <p:nvSpPr>
          <p:cNvPr id="46" name="Прямоугольник 45"/>
          <p:cNvSpPr/>
          <p:nvPr userDrawn="1"/>
        </p:nvSpPr>
        <p:spPr>
          <a:xfrm>
            <a:off x="1253141" y="0"/>
            <a:ext cx="1645200" cy="18192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олилиния 49"/>
          <p:cNvSpPr/>
          <p:nvPr userDrawn="1"/>
        </p:nvSpPr>
        <p:spPr>
          <a:xfrm>
            <a:off x="1251581" y="0"/>
            <a:ext cx="1646760" cy="610980"/>
          </a:xfrm>
          <a:custGeom>
            <a:avLst/>
            <a:gdLst>
              <a:gd name="connsiteX0" fmla="*/ 0 w 1646760"/>
              <a:gd name="connsiteY0" fmla="*/ 0 h 610980"/>
              <a:gd name="connsiteX1" fmla="*/ 1646760 w 1646760"/>
              <a:gd name="connsiteY1" fmla="*/ 0 h 610980"/>
              <a:gd name="connsiteX2" fmla="*/ 1646760 w 1646760"/>
              <a:gd name="connsiteY2" fmla="*/ 376993 h 610980"/>
              <a:gd name="connsiteX3" fmla="*/ 1467066 w 1646760"/>
              <a:gd name="connsiteY3" fmla="*/ 448281 h 610980"/>
              <a:gd name="connsiteX4" fmla="*/ 122592 w 1646760"/>
              <a:gd name="connsiteY4" fmla="*/ 597394 h 610980"/>
              <a:gd name="connsiteX5" fmla="*/ 0 w 1646760"/>
              <a:gd name="connsiteY5" fmla="*/ 578256 h 610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46760" h="610980">
                <a:moveTo>
                  <a:pt x="0" y="0"/>
                </a:moveTo>
                <a:lnTo>
                  <a:pt x="1646760" y="0"/>
                </a:lnTo>
                <a:lnTo>
                  <a:pt x="1646760" y="376993"/>
                </a:lnTo>
                <a:lnTo>
                  <a:pt x="1467066" y="448281"/>
                </a:lnTo>
                <a:cubicBezTo>
                  <a:pt x="1019671" y="598635"/>
                  <a:pt x="472471" y="634626"/>
                  <a:pt x="122592" y="597394"/>
                </a:cubicBezTo>
                <a:lnTo>
                  <a:pt x="0" y="578256"/>
                </a:lnTo>
                <a:close/>
              </a:path>
            </a:pathLst>
          </a:cu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2" name="Прямоугольник 51"/>
          <p:cNvSpPr/>
          <p:nvPr userDrawn="1"/>
        </p:nvSpPr>
        <p:spPr>
          <a:xfrm>
            <a:off x="10237627" y="6302602"/>
            <a:ext cx="1511461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r"/>
            <a:r>
              <a:rPr lang="en-US" sz="1400" dirty="0" smtClean="0">
                <a:solidFill>
                  <a:schemeClr val="bg2"/>
                </a:solidFill>
              </a:rPr>
              <a:t>EFSD.ORG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idx="10"/>
          </p:nvPr>
        </p:nvSpPr>
        <p:spPr>
          <a:xfrm>
            <a:off x="1353659" y="6341745"/>
            <a:ext cx="1463201" cy="137160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>
              <a:defRPr lang="ru-RU" sz="1400" dirty="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algn="l"/>
            <a:endParaRPr lang="ru-RU"/>
          </a:p>
        </p:txBody>
      </p:sp>
      <p:sp>
        <p:nvSpPr>
          <p:cNvPr id="55" name="Текст 52"/>
          <p:cNvSpPr>
            <a:spLocks noGrp="1"/>
          </p:cNvSpPr>
          <p:nvPr>
            <p:ph type="body" sz="quarter" idx="11" hasCustomPrompt="1"/>
          </p:nvPr>
        </p:nvSpPr>
        <p:spPr>
          <a:xfrm>
            <a:off x="1295399" y="5005745"/>
            <a:ext cx="9496425" cy="98488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Aft>
                <a:spcPts val="0"/>
              </a:spcAft>
              <a:defRPr lang="ru-RU" sz="1600" cap="none" baseline="0" smtClean="0">
                <a:solidFill>
                  <a:schemeClr val="bg1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ru-RU" sz="1800" smtClean="0">
                <a:latin typeface="+mn-lt"/>
              </a:defRPr>
            </a:lvl2pPr>
            <a:lvl3pPr>
              <a:defRPr lang="ru-RU" sz="1800" smtClean="0">
                <a:latin typeface="+mn-lt"/>
              </a:defRPr>
            </a:lvl3pPr>
            <a:lvl4pPr>
              <a:defRPr lang="ru-RU" sz="1800" smtClean="0">
                <a:latin typeface="+mn-lt"/>
              </a:defRPr>
            </a:lvl4pPr>
            <a:lvl5pPr>
              <a:defRPr lang="ru-RU" sz="1800">
                <a:latin typeface="+mn-lt"/>
              </a:defRPr>
            </a:lvl5pPr>
          </a:lstStyle>
          <a:p>
            <a:pPr lvl="0">
              <a:spcAft>
                <a:spcPts val="0"/>
              </a:spcAft>
            </a:pPr>
            <a:r>
              <a:rPr lang="en-US" dirty="0" smtClean="0"/>
              <a:t>Name Surname </a:t>
            </a:r>
          </a:p>
          <a:p>
            <a:pPr lvl="0">
              <a:spcAft>
                <a:spcPts val="0"/>
              </a:spcAft>
            </a:pPr>
            <a:r>
              <a:rPr lang="en-US" dirty="0" smtClean="0"/>
              <a:t>Position</a:t>
            </a:r>
            <a:br>
              <a:rPr lang="en-US" dirty="0" smtClean="0"/>
            </a:br>
            <a:r>
              <a:rPr lang="en-US" dirty="0" smtClean="0"/>
              <a:t>Venue</a:t>
            </a:r>
            <a:br>
              <a:rPr lang="en-US" dirty="0" smtClean="0"/>
            </a:br>
            <a:r>
              <a:rPr lang="en-US" dirty="0" smtClean="0"/>
              <a:t>Event title</a:t>
            </a:r>
          </a:p>
        </p:txBody>
      </p:sp>
      <p:sp>
        <p:nvSpPr>
          <p:cNvPr id="51" name="Прямоугольник 50"/>
          <p:cNvSpPr/>
          <p:nvPr userDrawn="1"/>
        </p:nvSpPr>
        <p:spPr>
          <a:xfrm>
            <a:off x="1253141" y="1712595"/>
            <a:ext cx="1645200" cy="116205"/>
          </a:xfrm>
          <a:prstGeom prst="rect">
            <a:avLst/>
          </a:pr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860" y="315557"/>
            <a:ext cx="2008800" cy="1485151"/>
          </a:xfrm>
          <a:prstGeom prst="rect">
            <a:avLst/>
          </a:prstGeom>
        </p:spPr>
      </p:pic>
      <p:grpSp>
        <p:nvGrpSpPr>
          <p:cNvPr id="44" name="Группа 43"/>
          <p:cNvGrpSpPr>
            <a:grpSpLocks noChangeAspect="1"/>
          </p:cNvGrpSpPr>
          <p:nvPr userDrawn="1"/>
        </p:nvGrpSpPr>
        <p:grpSpPr>
          <a:xfrm>
            <a:off x="12365458" y="2"/>
            <a:ext cx="1080000" cy="6858030"/>
            <a:chOff x="12365458" y="0"/>
            <a:chExt cx="1080000" cy="6858000"/>
          </a:xfrm>
        </p:grpSpPr>
        <p:sp>
          <p:nvSpPr>
            <p:cNvPr id="47" name="Freeform 5"/>
            <p:cNvSpPr>
              <a:spLocks/>
            </p:cNvSpPr>
            <p:nvPr/>
          </p:nvSpPr>
          <p:spPr bwMode="auto">
            <a:xfrm>
              <a:off x="12365458" y="0"/>
              <a:ext cx="1080000" cy="6858000"/>
            </a:xfrm>
            <a:prstGeom prst="roundRect">
              <a:avLst>
                <a:gd name="adj" fmla="val 12318"/>
              </a:avLst>
            </a:prstGeom>
            <a:solidFill>
              <a:schemeClr val="bg1"/>
            </a:solidFill>
            <a:ln w="7938" cap="flat">
              <a:solidFill>
                <a:srgbClr val="FEFEF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82" name="Группа 81"/>
            <p:cNvGrpSpPr/>
            <p:nvPr userDrawn="1"/>
          </p:nvGrpSpPr>
          <p:grpSpPr>
            <a:xfrm>
              <a:off x="12365458" y="5764224"/>
              <a:ext cx="1080000" cy="838989"/>
              <a:chOff x="12365458" y="5764224"/>
              <a:chExt cx="1080000" cy="838989"/>
            </a:xfrm>
          </p:grpSpPr>
          <p:pic>
            <p:nvPicPr>
              <p:cNvPr id="106" name="Picture 30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08164" y="6094649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7" name="Picture 31"/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37017" y="6101736"/>
                <a:ext cx="152400" cy="123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8" name="Picture 32"/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125833" y="6321161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09" name="TextBox 108"/>
              <p:cNvSpPr txBox="1"/>
              <p:nvPr/>
            </p:nvSpPr>
            <p:spPr>
              <a:xfrm>
                <a:off x="12365458" y="5764224"/>
                <a:ext cx="1080000" cy="838989"/>
              </a:xfrm>
              <a:prstGeom prst="rect">
                <a:avLst/>
              </a:prstGeom>
              <a:noFill/>
            </p:spPr>
            <p:txBody>
              <a:bodyPr wrap="square" lIns="36000" tIns="0" rIns="3600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Select a text or graphic element.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, respectively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or .</a:t>
                </a:r>
              </a:p>
              <a:p>
                <a:pPr algn="ctr">
                  <a:lnSpc>
                    <a:spcPct val="90000"/>
                  </a:lnSpc>
                  <a:spcBef>
                    <a:spcPts val="300"/>
                  </a:spcBef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After selecting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the pipette tool          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 on the desired color on the palette.</a:t>
                </a:r>
                <a:endParaRPr lang="ru-RU" sz="800" dirty="0">
                  <a:solidFill>
                    <a:srgbClr val="30343F"/>
                  </a:solidFill>
                  <a:latin typeface="Source Sans Pro" panose="020B0503030403020204" pitchFamily="34" charset="0"/>
                </a:endParaRPr>
              </a:p>
            </p:txBody>
          </p:sp>
        </p:grpSp>
        <p:sp>
          <p:nvSpPr>
            <p:cNvPr id="83" name="TextBox 82"/>
            <p:cNvSpPr txBox="1"/>
            <p:nvPr/>
          </p:nvSpPr>
          <p:spPr>
            <a:xfrm>
              <a:off x="12368248" y="18288"/>
              <a:ext cx="1074420" cy="4606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Color palette </a:t>
              </a:r>
              <a:b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</a:b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for EFSR presentations</a:t>
              </a:r>
              <a:endParaRPr lang="ru-RU" sz="1000" dirty="0">
                <a:solidFill>
                  <a:srgbClr val="343467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2365458" y="640080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The main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5" name="Oval 8"/>
            <p:cNvSpPr>
              <a:spLocks noChangeArrowheads="1"/>
            </p:cNvSpPr>
            <p:nvPr/>
          </p:nvSpPr>
          <p:spPr bwMode="auto">
            <a:xfrm>
              <a:off x="12518642" y="970675"/>
              <a:ext cx="350838" cy="346075"/>
            </a:xfrm>
            <a:prstGeom prst="ellipse">
              <a:avLst/>
            </a:prstGeom>
            <a:solidFill>
              <a:srgbClr val="00589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Oval 9"/>
            <p:cNvSpPr>
              <a:spLocks noChangeArrowheads="1"/>
            </p:cNvSpPr>
            <p:nvPr/>
          </p:nvSpPr>
          <p:spPr bwMode="auto">
            <a:xfrm>
              <a:off x="12515726" y="1381725"/>
              <a:ext cx="350838" cy="346075"/>
            </a:xfrm>
            <a:prstGeom prst="ellipse">
              <a:avLst/>
            </a:prstGeom>
            <a:solidFill>
              <a:srgbClr val="00B1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Oval 10"/>
            <p:cNvSpPr>
              <a:spLocks noChangeArrowheads="1"/>
            </p:cNvSpPr>
            <p:nvPr/>
          </p:nvSpPr>
          <p:spPr bwMode="auto">
            <a:xfrm>
              <a:off x="12515726" y="2602206"/>
              <a:ext cx="350838" cy="346075"/>
            </a:xfrm>
            <a:prstGeom prst="ellipse">
              <a:avLst/>
            </a:prstGeom>
            <a:solidFill>
              <a:srgbClr val="C2BFB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Oval 11"/>
            <p:cNvSpPr>
              <a:spLocks noChangeAspect="1" noChangeArrowheads="1"/>
            </p:cNvSpPr>
            <p:nvPr/>
          </p:nvSpPr>
          <p:spPr bwMode="auto">
            <a:xfrm>
              <a:off x="12515725" y="1780075"/>
              <a:ext cx="793329" cy="792000"/>
            </a:xfrm>
            <a:prstGeom prst="ellipse">
              <a:avLst/>
            </a:prstGeom>
            <a:solidFill>
              <a:srgbClr val="343467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lvl="0"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FFFFFF"/>
                  </a:solidFill>
                  <a:latin typeface="Source Sans Pro" panose="020B0503030403020204" pitchFamily="34" charset="0"/>
                </a:rPr>
                <a:t>Base color</a:t>
              </a:r>
              <a:endParaRPr lang="ru-RU" sz="1000" dirty="0">
                <a:solidFill>
                  <a:srgbClr val="FFFFF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9" name="Oval 13"/>
            <p:cNvSpPr>
              <a:spLocks noChangeArrowheads="1"/>
            </p:cNvSpPr>
            <p:nvPr/>
          </p:nvSpPr>
          <p:spPr bwMode="auto">
            <a:xfrm>
              <a:off x="12515726" y="2978412"/>
              <a:ext cx="350838" cy="346075"/>
            </a:xfrm>
            <a:prstGeom prst="ellipse">
              <a:avLst/>
            </a:prstGeom>
            <a:solidFill>
              <a:srgbClr val="30343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Oval 14"/>
            <p:cNvSpPr>
              <a:spLocks noChangeArrowheads="1"/>
            </p:cNvSpPr>
            <p:nvPr/>
          </p:nvSpPr>
          <p:spPr bwMode="auto">
            <a:xfrm>
              <a:off x="12515726" y="3744823"/>
              <a:ext cx="350838" cy="346075"/>
            </a:xfrm>
            <a:prstGeom prst="ellipse">
              <a:avLst/>
            </a:prstGeom>
            <a:solidFill>
              <a:srgbClr val="D034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Oval 15"/>
            <p:cNvSpPr>
              <a:spLocks noChangeArrowheads="1"/>
            </p:cNvSpPr>
            <p:nvPr/>
          </p:nvSpPr>
          <p:spPr bwMode="auto">
            <a:xfrm>
              <a:off x="12949114" y="975437"/>
              <a:ext cx="350838" cy="346075"/>
            </a:xfrm>
            <a:prstGeom prst="ellipse">
              <a:avLst/>
            </a:prstGeom>
            <a:solidFill>
              <a:srgbClr val="007CB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Oval 16"/>
            <p:cNvSpPr>
              <a:spLocks noChangeArrowheads="1"/>
            </p:cNvSpPr>
            <p:nvPr/>
          </p:nvSpPr>
          <p:spPr bwMode="auto">
            <a:xfrm>
              <a:off x="12949114" y="1381725"/>
              <a:ext cx="350838" cy="346075"/>
            </a:xfrm>
            <a:prstGeom prst="ellipse">
              <a:avLst/>
            </a:prstGeom>
            <a:solidFill>
              <a:srgbClr val="B4DCE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Oval 17"/>
            <p:cNvSpPr>
              <a:spLocks noChangeArrowheads="1"/>
            </p:cNvSpPr>
            <p:nvPr/>
          </p:nvSpPr>
          <p:spPr bwMode="auto">
            <a:xfrm>
              <a:off x="12949114" y="2602206"/>
              <a:ext cx="350838" cy="346075"/>
            </a:xfrm>
            <a:prstGeom prst="ellipse">
              <a:avLst/>
            </a:prstGeom>
            <a:solidFill>
              <a:srgbClr val="84898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Oval 20"/>
            <p:cNvSpPr>
              <a:spLocks noChangeArrowheads="1"/>
            </p:cNvSpPr>
            <p:nvPr/>
          </p:nvSpPr>
          <p:spPr bwMode="auto">
            <a:xfrm>
              <a:off x="12949114" y="2978412"/>
              <a:ext cx="350838" cy="346075"/>
            </a:xfrm>
            <a:prstGeom prst="ellipse">
              <a:avLst/>
            </a:prstGeom>
            <a:solidFill>
              <a:srgbClr val="3738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Oval 21"/>
            <p:cNvSpPr>
              <a:spLocks noChangeArrowheads="1"/>
            </p:cNvSpPr>
            <p:nvPr/>
          </p:nvSpPr>
          <p:spPr bwMode="auto">
            <a:xfrm>
              <a:off x="12949114" y="3744823"/>
              <a:ext cx="350838" cy="346075"/>
            </a:xfrm>
            <a:prstGeom prst="ellipse">
              <a:avLst/>
            </a:prstGeom>
            <a:solidFill>
              <a:srgbClr val="FDAC5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Oval 22"/>
            <p:cNvSpPr>
              <a:spLocks noChangeArrowheads="1"/>
            </p:cNvSpPr>
            <p:nvPr/>
          </p:nvSpPr>
          <p:spPr bwMode="auto">
            <a:xfrm>
              <a:off x="12515726" y="4162223"/>
              <a:ext cx="350838" cy="346075"/>
            </a:xfrm>
            <a:prstGeom prst="ellipse">
              <a:avLst/>
            </a:prstGeom>
            <a:solidFill>
              <a:srgbClr val="F9E54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Oval 23"/>
            <p:cNvSpPr>
              <a:spLocks noChangeArrowheads="1"/>
            </p:cNvSpPr>
            <p:nvPr/>
          </p:nvSpPr>
          <p:spPr bwMode="auto">
            <a:xfrm>
              <a:off x="12949114" y="4162223"/>
              <a:ext cx="350838" cy="346075"/>
            </a:xfrm>
            <a:prstGeom prst="ellipse">
              <a:avLst/>
            </a:prstGeom>
            <a:solidFill>
              <a:srgbClr val="C3D3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Oval 24"/>
            <p:cNvSpPr>
              <a:spLocks noChangeArrowheads="1"/>
            </p:cNvSpPr>
            <p:nvPr/>
          </p:nvSpPr>
          <p:spPr bwMode="auto">
            <a:xfrm>
              <a:off x="12515726" y="4551048"/>
              <a:ext cx="350838" cy="346075"/>
            </a:xfrm>
            <a:prstGeom prst="ellipse">
              <a:avLst/>
            </a:prstGeom>
            <a:solidFill>
              <a:srgbClr val="008C4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Oval 25"/>
            <p:cNvSpPr>
              <a:spLocks noChangeArrowheads="1"/>
            </p:cNvSpPr>
            <p:nvPr/>
          </p:nvSpPr>
          <p:spPr bwMode="auto">
            <a:xfrm>
              <a:off x="12949114" y="4551048"/>
              <a:ext cx="350838" cy="346075"/>
            </a:xfrm>
            <a:prstGeom prst="ellipse">
              <a:avLst/>
            </a:prstGeom>
            <a:solidFill>
              <a:srgbClr val="1D428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Line 33"/>
            <p:cNvSpPr>
              <a:spLocks noChangeShapeType="1"/>
            </p:cNvSpPr>
            <p:nvPr/>
          </p:nvSpPr>
          <p:spPr bwMode="auto">
            <a:xfrm>
              <a:off x="12501439" y="342805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Oval 22"/>
            <p:cNvSpPr>
              <a:spLocks noChangeArrowheads="1"/>
            </p:cNvSpPr>
            <p:nvPr/>
          </p:nvSpPr>
          <p:spPr bwMode="auto">
            <a:xfrm>
              <a:off x="12515726" y="4968448"/>
              <a:ext cx="350838" cy="346075"/>
            </a:xfrm>
            <a:prstGeom prst="ellipse">
              <a:avLst/>
            </a:prstGeom>
            <a:solidFill>
              <a:srgbClr val="883F8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Oval 23"/>
            <p:cNvSpPr>
              <a:spLocks noChangeArrowheads="1"/>
            </p:cNvSpPr>
            <p:nvPr/>
          </p:nvSpPr>
          <p:spPr bwMode="auto">
            <a:xfrm>
              <a:off x="12949114" y="4968448"/>
              <a:ext cx="350838" cy="346075"/>
            </a:xfrm>
            <a:prstGeom prst="ellipse">
              <a:avLst/>
            </a:prstGeom>
            <a:solidFill>
              <a:srgbClr val="919BC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Oval 24"/>
            <p:cNvSpPr>
              <a:spLocks noChangeArrowheads="1"/>
            </p:cNvSpPr>
            <p:nvPr/>
          </p:nvSpPr>
          <p:spPr bwMode="auto">
            <a:xfrm>
              <a:off x="12732420" y="5357273"/>
              <a:ext cx="350838" cy="346075"/>
            </a:xfrm>
            <a:prstGeom prst="ellipse">
              <a:avLst/>
            </a:prstGeom>
            <a:solidFill>
              <a:srgbClr val="856A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Line 33"/>
            <p:cNvSpPr>
              <a:spLocks noChangeShapeType="1"/>
            </p:cNvSpPr>
            <p:nvPr/>
          </p:nvSpPr>
          <p:spPr bwMode="auto">
            <a:xfrm>
              <a:off x="12501439" y="66541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TextBox 104"/>
            <p:cNvSpPr txBox="1"/>
            <p:nvPr/>
          </p:nvSpPr>
          <p:spPr>
            <a:xfrm>
              <a:off x="12365458" y="3421008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Additional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399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ull Content - Subtitle" preserve="1" userDrawn="1">
  <p:cSld name="Title and Full Content - Subtitle"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 userDrawn="1"/>
        </p:nvSpPr>
        <p:spPr>
          <a:xfrm>
            <a:off x="10880521" y="1089024"/>
            <a:ext cx="868567" cy="5768976"/>
          </a:xfrm>
          <a:prstGeom prst="rect">
            <a:avLst/>
          </a:pr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" name="Объект 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57" name="Google Shape;57;p8"/>
          <p:cNvSpPr txBox="1">
            <a:spLocks noGrp="1"/>
          </p:cNvSpPr>
          <p:nvPr>
            <p:ph type="title"/>
          </p:nvPr>
        </p:nvSpPr>
        <p:spPr>
          <a:xfrm>
            <a:off x="442913" y="430514"/>
            <a:ext cx="10311773" cy="8029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/>
          <a:lstStyle>
            <a:lvl1pPr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cap="none" baseline="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8" name="Google Shape;58;p8"/>
          <p:cNvSpPr txBox="1">
            <a:spLocks noGrp="1"/>
          </p:cNvSpPr>
          <p:nvPr>
            <p:ph type="sldNum" idx="12"/>
          </p:nvPr>
        </p:nvSpPr>
        <p:spPr>
          <a:xfrm>
            <a:off x="10898666" y="6492240"/>
            <a:ext cx="832276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ctr" rtl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0" name="Google Shape;60;p8"/>
          <p:cNvSpPr txBox="1">
            <a:spLocks noGrp="1"/>
          </p:cNvSpPr>
          <p:nvPr>
            <p:ph type="dt" idx="10"/>
          </p:nvPr>
        </p:nvSpPr>
        <p:spPr>
          <a:xfrm>
            <a:off x="10898666" y="6355080"/>
            <a:ext cx="832276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bg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ru-RU"/>
          </a:p>
        </p:txBody>
      </p:sp>
      <p:sp>
        <p:nvSpPr>
          <p:cNvPr id="10" name="Полилиния 9"/>
          <p:cNvSpPr/>
          <p:nvPr userDrawn="1"/>
        </p:nvSpPr>
        <p:spPr>
          <a:xfrm>
            <a:off x="10880521" y="0"/>
            <a:ext cx="868567" cy="483019"/>
          </a:xfrm>
          <a:custGeom>
            <a:avLst/>
            <a:gdLst>
              <a:gd name="connsiteX0" fmla="*/ 0 w 868567"/>
              <a:gd name="connsiteY0" fmla="*/ 0 h 483019"/>
              <a:gd name="connsiteX1" fmla="*/ 868567 w 868567"/>
              <a:gd name="connsiteY1" fmla="*/ 0 h 483019"/>
              <a:gd name="connsiteX2" fmla="*/ 868567 w 868567"/>
              <a:gd name="connsiteY2" fmla="*/ 359605 h 483019"/>
              <a:gd name="connsiteX3" fmla="*/ 773789 w 868567"/>
              <a:gd name="connsiteY3" fmla="*/ 397205 h 483019"/>
              <a:gd name="connsiteX4" fmla="*/ 64660 w 868567"/>
              <a:gd name="connsiteY4" fmla="*/ 475853 h 483019"/>
              <a:gd name="connsiteX5" fmla="*/ 0 w 868567"/>
              <a:gd name="connsiteY5" fmla="*/ 465759 h 483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68567" h="483019">
                <a:moveTo>
                  <a:pt x="0" y="0"/>
                </a:moveTo>
                <a:lnTo>
                  <a:pt x="868567" y="0"/>
                </a:lnTo>
                <a:lnTo>
                  <a:pt x="868567" y="359605"/>
                </a:lnTo>
                <a:lnTo>
                  <a:pt x="773789" y="397205"/>
                </a:lnTo>
                <a:cubicBezTo>
                  <a:pt x="537815" y="476508"/>
                  <a:pt x="249200" y="495491"/>
                  <a:pt x="64660" y="475853"/>
                </a:cubicBezTo>
                <a:lnTo>
                  <a:pt x="0" y="465759"/>
                </a:lnTo>
                <a:close/>
              </a:path>
            </a:pathLst>
          </a:cu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3185" y="314684"/>
            <a:ext cx="1112156" cy="822242"/>
          </a:xfrm>
          <a:prstGeom prst="rect">
            <a:avLst/>
          </a:prstGeom>
        </p:spPr>
      </p:pic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442913" y="1520825"/>
            <a:ext cx="10312400" cy="4651375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342900" y="6457950"/>
            <a:ext cx="904875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0156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 preserve="1" userDrawn="1">
  <p:cSld name="1_Agenda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3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Объект 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0" y="-2"/>
            <a:ext cx="12191999" cy="9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2" name="Прямая соединительная линия 21"/>
          <p:cNvCxnSpPr/>
          <p:nvPr userDrawn="1"/>
        </p:nvCxnSpPr>
        <p:spPr>
          <a:xfrm>
            <a:off x="442913" y="6308521"/>
            <a:ext cx="11306175" cy="0"/>
          </a:xfrm>
          <a:prstGeom prst="line">
            <a:avLst/>
          </a:prstGeom>
          <a:ln>
            <a:solidFill>
              <a:srgbClr val="3434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Рисунок 2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2941" y="74787"/>
            <a:ext cx="1112400" cy="822422"/>
          </a:xfrm>
          <a:prstGeom prst="rect">
            <a:avLst/>
          </a:prstGeom>
        </p:spPr>
      </p:pic>
      <p:sp>
        <p:nvSpPr>
          <p:cNvPr id="51" name="Google Shape;51;p7"/>
          <p:cNvSpPr txBox="1">
            <a:spLocks noGrp="1"/>
          </p:cNvSpPr>
          <p:nvPr userDrawn="1">
            <p:ph type="title"/>
          </p:nvPr>
        </p:nvSpPr>
        <p:spPr>
          <a:xfrm>
            <a:off x="442913" y="104304"/>
            <a:ext cx="9883935" cy="801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/>
          <a:lstStyle>
            <a:lvl1pPr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cap="none" baseline="0">
                <a:solidFill>
                  <a:schemeClr val="bg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52" name="Google Shape;52;p7"/>
          <p:cNvSpPr txBox="1">
            <a:spLocks noGrp="1"/>
          </p:cNvSpPr>
          <p:nvPr userDrawn="1">
            <p:ph type="sldNum" idx="12"/>
          </p:nvPr>
        </p:nvSpPr>
        <p:spPr>
          <a:xfrm>
            <a:off x="9984296" y="649224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53" name="Google Shape;53;p7"/>
          <p:cNvSpPr txBox="1">
            <a:spLocks noGrp="1"/>
          </p:cNvSpPr>
          <p:nvPr userDrawn="1">
            <p:ph type="dt" idx="10"/>
          </p:nvPr>
        </p:nvSpPr>
        <p:spPr>
          <a:xfrm>
            <a:off x="9984296" y="635508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7"/>
          <p:cNvSpPr txBox="1">
            <a:spLocks noGrp="1"/>
          </p:cNvSpPr>
          <p:nvPr userDrawn="1">
            <p:ph type="ftr" idx="11"/>
          </p:nvPr>
        </p:nvSpPr>
        <p:spPr>
          <a:xfrm>
            <a:off x="442912" y="6355080"/>
            <a:ext cx="5473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 smtClean="0"/>
              <a:t>Нижний колонтитул</a:t>
            </a:r>
            <a:endParaRPr dirty="0"/>
          </a:p>
        </p:txBody>
      </p:sp>
      <p:sp>
        <p:nvSpPr>
          <p:cNvPr id="4" name="Текст 3"/>
          <p:cNvSpPr>
            <a:spLocks noGrp="1"/>
          </p:cNvSpPr>
          <p:nvPr userDrawn="1">
            <p:ph type="body" sz="quarter" idx="13"/>
          </p:nvPr>
        </p:nvSpPr>
        <p:spPr>
          <a:xfrm>
            <a:off x="442913" y="1520825"/>
            <a:ext cx="11306175" cy="4651375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8405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 preserve="1" userDrawn="1">
  <p:cSld name="1_Agenda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/>
          <p:cNvSpPr/>
          <p:nvPr userDrawn="1"/>
        </p:nvSpPr>
        <p:spPr>
          <a:xfrm>
            <a:off x="0" y="-2"/>
            <a:ext cx="12191999" cy="9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2941" y="74787"/>
            <a:ext cx="1112400" cy="822422"/>
          </a:xfrm>
          <a:prstGeom prst="rect">
            <a:avLst/>
          </a:prstGeom>
        </p:spPr>
      </p:pic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60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Объект 1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cxnSp>
        <p:nvCxnSpPr>
          <p:cNvPr id="22" name="Прямая соединительная линия 21"/>
          <p:cNvCxnSpPr/>
          <p:nvPr userDrawn="1"/>
        </p:nvCxnSpPr>
        <p:spPr>
          <a:xfrm>
            <a:off x="442913" y="6308521"/>
            <a:ext cx="11306175" cy="0"/>
          </a:xfrm>
          <a:prstGeom prst="line">
            <a:avLst/>
          </a:prstGeom>
          <a:ln>
            <a:solidFill>
              <a:srgbClr val="3434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Google Shape;51;p7"/>
          <p:cNvSpPr txBox="1">
            <a:spLocks noGrp="1"/>
          </p:cNvSpPr>
          <p:nvPr>
            <p:ph type="title"/>
          </p:nvPr>
        </p:nvSpPr>
        <p:spPr>
          <a:xfrm>
            <a:off x="442913" y="104304"/>
            <a:ext cx="9883935" cy="80148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>
            <a:lvl1pPr>
              <a:lnSpc>
                <a:spcPct val="300000"/>
              </a:lnSpc>
              <a:defRPr baseline="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5000"/>
              </a:lnSpc>
              <a:buClr>
                <a:schemeClr val="dk1"/>
              </a:buClr>
              <a:buSzPts val="3200"/>
              <a:buFont typeface="Georgia"/>
              <a:buNone/>
            </a:pPr>
            <a:r>
              <a:rPr lang="ru-RU" dirty="0" smtClean="0"/>
              <a:t>Образец заголовка</a:t>
            </a:r>
            <a:endParaRPr dirty="0"/>
          </a:p>
        </p:txBody>
      </p:sp>
      <p:sp>
        <p:nvSpPr>
          <p:cNvPr id="52" name="Google Shape;52;p7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53" name="Google Shape;53;p7"/>
          <p:cNvSpPr txBox="1">
            <a:spLocks noGrp="1"/>
          </p:cNvSpPr>
          <p:nvPr>
            <p:ph type="dt" idx="10"/>
          </p:nvPr>
        </p:nvSpPr>
        <p:spPr>
          <a:xfrm>
            <a:off x="9984296" y="635508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7"/>
          <p:cNvSpPr txBox="1">
            <a:spLocks noGrp="1"/>
          </p:cNvSpPr>
          <p:nvPr>
            <p:ph type="ftr" idx="11"/>
          </p:nvPr>
        </p:nvSpPr>
        <p:spPr>
          <a:xfrm>
            <a:off x="442912" y="6355080"/>
            <a:ext cx="5473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 smtClean="0"/>
              <a:t>Нижний колонтитул</a:t>
            </a:r>
            <a:endParaRPr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442914" y="1520825"/>
            <a:ext cx="5473700" cy="4651375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>
          <a:xfrm>
            <a:off x="6275388" y="1520825"/>
            <a:ext cx="5473700" cy="4651375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4868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 preserve="1" userDrawn="1">
  <p:cSld name="1_Agenda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/>
          <p:cNvSpPr/>
          <p:nvPr userDrawn="1"/>
        </p:nvSpPr>
        <p:spPr>
          <a:xfrm>
            <a:off x="0" y="-2"/>
            <a:ext cx="12191999" cy="972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2941" y="74787"/>
            <a:ext cx="1112400" cy="822422"/>
          </a:xfrm>
          <a:prstGeom prst="rect">
            <a:avLst/>
          </a:prstGeom>
        </p:spPr>
      </p:pic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84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Объект 1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cxnSp>
        <p:nvCxnSpPr>
          <p:cNvPr id="22" name="Прямая соединительная линия 21"/>
          <p:cNvCxnSpPr/>
          <p:nvPr userDrawn="1"/>
        </p:nvCxnSpPr>
        <p:spPr>
          <a:xfrm>
            <a:off x="442913" y="6308521"/>
            <a:ext cx="11306175" cy="0"/>
          </a:xfrm>
          <a:prstGeom prst="line">
            <a:avLst/>
          </a:prstGeom>
          <a:ln>
            <a:solidFill>
              <a:srgbClr val="3434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Google Shape;51;p7"/>
          <p:cNvSpPr txBox="1">
            <a:spLocks noGrp="1"/>
          </p:cNvSpPr>
          <p:nvPr>
            <p:ph type="title"/>
          </p:nvPr>
        </p:nvSpPr>
        <p:spPr>
          <a:xfrm>
            <a:off x="442913" y="104304"/>
            <a:ext cx="9883935" cy="801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/>
          <a:lstStyle>
            <a:lvl1pPr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cap="none" baseline="0">
                <a:solidFill>
                  <a:schemeClr val="bg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52" name="Google Shape;52;p7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53" name="Google Shape;53;p7"/>
          <p:cNvSpPr txBox="1">
            <a:spLocks noGrp="1"/>
          </p:cNvSpPr>
          <p:nvPr>
            <p:ph type="dt" idx="10"/>
          </p:nvPr>
        </p:nvSpPr>
        <p:spPr>
          <a:xfrm>
            <a:off x="9984296" y="635508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7"/>
          <p:cNvSpPr txBox="1">
            <a:spLocks noGrp="1"/>
          </p:cNvSpPr>
          <p:nvPr>
            <p:ph type="ftr" idx="11"/>
          </p:nvPr>
        </p:nvSpPr>
        <p:spPr>
          <a:xfrm>
            <a:off x="442912" y="6355080"/>
            <a:ext cx="5473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 smtClean="0"/>
              <a:t>Нижний колонтитул</a:t>
            </a:r>
            <a:endParaRPr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442914" y="1520825"/>
            <a:ext cx="3529011" cy="4651375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>
          <a:xfrm>
            <a:off x="4327525" y="1520825"/>
            <a:ext cx="3533775" cy="4651375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/>
          </p:nvPr>
        </p:nvSpPr>
        <p:spPr>
          <a:xfrm>
            <a:off x="8218488" y="1520825"/>
            <a:ext cx="3530600" cy="4651375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6956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 preserve="1" userDrawn="1">
  <p:cSld name="1_Agenda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0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Объект 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51" name="Google Shape;51;p7"/>
          <p:cNvSpPr txBox="1">
            <a:spLocks noGrp="1"/>
          </p:cNvSpPr>
          <p:nvPr>
            <p:ph type="title"/>
          </p:nvPr>
        </p:nvSpPr>
        <p:spPr>
          <a:xfrm>
            <a:off x="442913" y="432000"/>
            <a:ext cx="9905047" cy="801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/>
          <a:lstStyle>
            <a:lvl1pPr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52" name="Google Shape;52;p7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53" name="Google Shape;53;p7"/>
          <p:cNvSpPr txBox="1">
            <a:spLocks noGrp="1"/>
          </p:cNvSpPr>
          <p:nvPr>
            <p:ph type="dt" idx="10"/>
          </p:nvPr>
        </p:nvSpPr>
        <p:spPr>
          <a:xfrm>
            <a:off x="9984296" y="635508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7"/>
          <p:cNvSpPr txBox="1">
            <a:spLocks noGrp="1"/>
          </p:cNvSpPr>
          <p:nvPr>
            <p:ph type="ftr" idx="11"/>
          </p:nvPr>
        </p:nvSpPr>
        <p:spPr>
          <a:xfrm>
            <a:off x="442912" y="6355080"/>
            <a:ext cx="5473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 smtClean="0"/>
              <a:t>Нижний колонтитул</a:t>
            </a:r>
            <a:endParaRPr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442914" y="1520825"/>
            <a:ext cx="5473700" cy="4651375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490" y="289560"/>
            <a:ext cx="1450851" cy="1072647"/>
          </a:xfrm>
          <a:prstGeom prst="rect">
            <a:avLst/>
          </a:prstGeom>
        </p:spPr>
      </p:pic>
      <p:sp>
        <p:nvSpPr>
          <p:cNvPr id="6" name="Текст 5"/>
          <p:cNvSpPr>
            <a:spLocks noGrp="1"/>
          </p:cNvSpPr>
          <p:nvPr>
            <p:ph type="body" sz="quarter" idx="14"/>
          </p:nvPr>
        </p:nvSpPr>
        <p:spPr>
          <a:xfrm>
            <a:off x="6275388" y="1520825"/>
            <a:ext cx="5473700" cy="4651375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86109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" preserve="1" userDrawn="1">
  <p:cSld name="Three Content"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3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Объект 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112" name="Google Shape;112;p16"/>
          <p:cNvSpPr txBox="1">
            <a:spLocks noGrp="1"/>
          </p:cNvSpPr>
          <p:nvPr>
            <p:ph type="body" idx="1"/>
          </p:nvPr>
        </p:nvSpPr>
        <p:spPr>
          <a:xfrm>
            <a:off x="442913" y="1520825"/>
            <a:ext cx="3528900" cy="4651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3" name="Google Shape;113;p16"/>
          <p:cNvSpPr txBox="1">
            <a:spLocks noGrp="1"/>
          </p:cNvSpPr>
          <p:nvPr>
            <p:ph type="body" idx="2"/>
          </p:nvPr>
        </p:nvSpPr>
        <p:spPr>
          <a:xfrm>
            <a:off x="4332288" y="1520825"/>
            <a:ext cx="3528900" cy="4651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4" name="Google Shape;114;p16"/>
          <p:cNvSpPr txBox="1">
            <a:spLocks noGrp="1"/>
          </p:cNvSpPr>
          <p:nvPr>
            <p:ph type="body" idx="3"/>
          </p:nvPr>
        </p:nvSpPr>
        <p:spPr>
          <a:xfrm>
            <a:off x="8220076" y="1520825"/>
            <a:ext cx="3528900" cy="4651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6" name="Google Shape;116;p16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17" name="Google Shape;117;p16"/>
          <p:cNvSpPr txBox="1">
            <a:spLocks noGrp="1"/>
          </p:cNvSpPr>
          <p:nvPr>
            <p:ph type="dt" idx="10"/>
          </p:nvPr>
        </p:nvSpPr>
        <p:spPr>
          <a:xfrm>
            <a:off x="9984296" y="635508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" name="Google Shape;118;p16"/>
          <p:cNvSpPr txBox="1">
            <a:spLocks noGrp="1"/>
          </p:cNvSpPr>
          <p:nvPr>
            <p:ph type="ftr" idx="11"/>
          </p:nvPr>
        </p:nvSpPr>
        <p:spPr>
          <a:xfrm>
            <a:off x="442912" y="6355080"/>
            <a:ext cx="5473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 smtClean="0"/>
              <a:t>Нижний колонтитул</a:t>
            </a:r>
            <a:endParaRPr/>
          </a:p>
        </p:txBody>
      </p: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490" y="289560"/>
            <a:ext cx="1450851" cy="1072647"/>
          </a:xfrm>
          <a:prstGeom prst="rect">
            <a:avLst/>
          </a:prstGeom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4049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Content" preserve="1" userDrawn="1">
  <p:cSld name="Four Content"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5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Объект 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129" name="Google Shape;129;p18"/>
          <p:cNvSpPr txBox="1">
            <a:spLocks noGrp="1"/>
          </p:cNvSpPr>
          <p:nvPr>
            <p:ph type="body" idx="1"/>
          </p:nvPr>
        </p:nvSpPr>
        <p:spPr>
          <a:xfrm>
            <a:off x="442913" y="1520825"/>
            <a:ext cx="2556000" cy="4651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0" name="Google Shape;130;p18"/>
          <p:cNvSpPr txBox="1">
            <a:spLocks noGrp="1"/>
          </p:cNvSpPr>
          <p:nvPr>
            <p:ph type="body" idx="2"/>
          </p:nvPr>
        </p:nvSpPr>
        <p:spPr>
          <a:xfrm>
            <a:off x="3360613" y="1520825"/>
            <a:ext cx="2556000" cy="4651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1" name="Google Shape;131;p18"/>
          <p:cNvSpPr txBox="1">
            <a:spLocks noGrp="1"/>
          </p:cNvSpPr>
          <p:nvPr>
            <p:ph type="body" idx="3"/>
          </p:nvPr>
        </p:nvSpPr>
        <p:spPr>
          <a:xfrm>
            <a:off x="6275388" y="1520825"/>
            <a:ext cx="2556000" cy="4651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2" name="Google Shape;132;p18"/>
          <p:cNvSpPr txBox="1">
            <a:spLocks noGrp="1"/>
          </p:cNvSpPr>
          <p:nvPr>
            <p:ph type="body" idx="4"/>
          </p:nvPr>
        </p:nvSpPr>
        <p:spPr>
          <a:xfrm>
            <a:off x="9190163" y="1520825"/>
            <a:ext cx="2556000" cy="4651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4" name="Google Shape;134;p18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35" name="Google Shape;135;p18"/>
          <p:cNvSpPr txBox="1">
            <a:spLocks noGrp="1"/>
          </p:cNvSpPr>
          <p:nvPr>
            <p:ph type="dt" idx="10"/>
          </p:nvPr>
        </p:nvSpPr>
        <p:spPr>
          <a:xfrm>
            <a:off x="9984296" y="635508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" name="Google Shape;136;p18"/>
          <p:cNvSpPr txBox="1">
            <a:spLocks noGrp="1"/>
          </p:cNvSpPr>
          <p:nvPr>
            <p:ph type="ftr" idx="11"/>
          </p:nvPr>
        </p:nvSpPr>
        <p:spPr>
          <a:xfrm>
            <a:off x="442912" y="6355080"/>
            <a:ext cx="5473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 smtClean="0"/>
              <a:t>Нижний колонтитул</a:t>
            </a:r>
            <a:endParaRPr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42914" y="428624"/>
            <a:ext cx="9853611" cy="80486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490" y="289560"/>
            <a:ext cx="1450851" cy="1072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647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ve Content" preserve="1" userDrawn="1">
  <p:cSld name="Five Content">
    <p:spTree>
      <p:nvGrpSpPr>
        <p:cNvPr id="1" name="Shape 1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8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Объект 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148" name="Google Shape;148;p20"/>
          <p:cNvSpPr txBox="1">
            <a:spLocks noGrp="1"/>
          </p:cNvSpPr>
          <p:nvPr>
            <p:ph type="body" idx="1"/>
          </p:nvPr>
        </p:nvSpPr>
        <p:spPr>
          <a:xfrm>
            <a:off x="442913" y="1520825"/>
            <a:ext cx="1972800" cy="4651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9" name="Google Shape;149;p20"/>
          <p:cNvSpPr txBox="1">
            <a:spLocks noGrp="1"/>
          </p:cNvSpPr>
          <p:nvPr>
            <p:ph type="body" idx="2"/>
          </p:nvPr>
        </p:nvSpPr>
        <p:spPr>
          <a:xfrm>
            <a:off x="2777045" y="1520825"/>
            <a:ext cx="1972800" cy="4651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0" name="Google Shape;150;p20"/>
          <p:cNvSpPr txBox="1">
            <a:spLocks noGrp="1"/>
          </p:cNvSpPr>
          <p:nvPr>
            <p:ph type="body" idx="3"/>
          </p:nvPr>
        </p:nvSpPr>
        <p:spPr>
          <a:xfrm>
            <a:off x="5111177" y="1520825"/>
            <a:ext cx="1972800" cy="4651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1" name="Google Shape;151;p20"/>
          <p:cNvSpPr txBox="1">
            <a:spLocks noGrp="1"/>
          </p:cNvSpPr>
          <p:nvPr>
            <p:ph type="body" idx="4"/>
          </p:nvPr>
        </p:nvSpPr>
        <p:spPr>
          <a:xfrm>
            <a:off x="7445309" y="1520825"/>
            <a:ext cx="1972800" cy="4651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2" name="Google Shape;152;p20"/>
          <p:cNvSpPr txBox="1">
            <a:spLocks noGrp="1"/>
          </p:cNvSpPr>
          <p:nvPr>
            <p:ph type="body" idx="5"/>
          </p:nvPr>
        </p:nvSpPr>
        <p:spPr>
          <a:xfrm>
            <a:off x="9779443" y="1520825"/>
            <a:ext cx="1972800" cy="4651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4" name="Google Shape;154;p20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55" name="Google Shape;155;p20"/>
          <p:cNvSpPr txBox="1">
            <a:spLocks noGrp="1"/>
          </p:cNvSpPr>
          <p:nvPr>
            <p:ph type="dt" idx="10"/>
          </p:nvPr>
        </p:nvSpPr>
        <p:spPr>
          <a:xfrm>
            <a:off x="9984296" y="635508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" name="Google Shape;156;p20"/>
          <p:cNvSpPr txBox="1">
            <a:spLocks noGrp="1"/>
          </p:cNvSpPr>
          <p:nvPr>
            <p:ph type="ftr" idx="11"/>
          </p:nvPr>
        </p:nvSpPr>
        <p:spPr>
          <a:xfrm>
            <a:off x="442912" y="6355080"/>
            <a:ext cx="5473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 smtClean="0"/>
              <a:t>Нижний колонтитул</a:t>
            </a:r>
            <a:endParaRPr/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490" y="289560"/>
            <a:ext cx="1450851" cy="1072647"/>
          </a:xfrm>
          <a:prstGeom prst="rect">
            <a:avLst/>
          </a:prstGeom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42913" y="428624"/>
            <a:ext cx="9805987" cy="80486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9776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Images" preserve="1" userDrawn="1">
  <p:cSld name="Three Images"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0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Объект 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169" name="Google Shape;169;p22"/>
          <p:cNvSpPr>
            <a:spLocks noGrp="1"/>
          </p:cNvSpPr>
          <p:nvPr>
            <p:ph type="pic" idx="2"/>
          </p:nvPr>
        </p:nvSpPr>
        <p:spPr>
          <a:xfrm>
            <a:off x="442912" y="2100263"/>
            <a:ext cx="3528900" cy="30174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spcFirstLastPara="1" wrap="square" lIns="0" tIns="0" rIns="0" bIns="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170" name="Google Shape;170;p22"/>
          <p:cNvSpPr txBox="1">
            <a:spLocks noGrp="1"/>
          </p:cNvSpPr>
          <p:nvPr>
            <p:ph type="body" idx="1"/>
          </p:nvPr>
        </p:nvSpPr>
        <p:spPr>
          <a:xfrm>
            <a:off x="442913" y="5280025"/>
            <a:ext cx="3528900" cy="89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None/>
              <a:defRPr sz="1800" b="1"/>
            </a:lvl1pPr>
            <a:lvl2pPr marL="914400" lvl="1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2pPr>
            <a:lvl3pPr marL="1371600" lvl="2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3pPr>
            <a:lvl4pPr marL="1828800" lvl="3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4pPr>
            <a:lvl5pPr marL="2286000" lvl="4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6pPr>
            <a:lvl7pPr marL="3200400" lvl="6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7pPr>
            <a:lvl8pPr marL="3657600" lvl="7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8pPr>
            <a:lvl9pPr marL="4114800" lvl="8" indent="-3302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1" name="Google Shape;171;p22"/>
          <p:cNvSpPr>
            <a:spLocks noGrp="1"/>
          </p:cNvSpPr>
          <p:nvPr>
            <p:ph type="pic" idx="3"/>
          </p:nvPr>
        </p:nvSpPr>
        <p:spPr>
          <a:xfrm>
            <a:off x="4331494" y="2100263"/>
            <a:ext cx="3528900" cy="30174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spcFirstLastPara="1" wrap="square" lIns="0" tIns="0" rIns="0" bIns="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172" name="Google Shape;172;p22"/>
          <p:cNvSpPr txBox="1">
            <a:spLocks noGrp="1"/>
          </p:cNvSpPr>
          <p:nvPr>
            <p:ph type="body" idx="4"/>
          </p:nvPr>
        </p:nvSpPr>
        <p:spPr>
          <a:xfrm>
            <a:off x="4331495" y="5280025"/>
            <a:ext cx="3528900" cy="89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None/>
              <a:defRPr sz="1800" b="1"/>
            </a:lvl1pPr>
            <a:lvl2pPr marL="914400" lvl="1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2pPr>
            <a:lvl3pPr marL="1371600" lvl="2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3pPr>
            <a:lvl4pPr marL="1828800" lvl="3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4pPr>
            <a:lvl5pPr marL="2286000" lvl="4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6pPr>
            <a:lvl7pPr marL="3200400" lvl="6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7pPr>
            <a:lvl8pPr marL="3657600" lvl="7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8pPr>
            <a:lvl9pPr marL="4114800" lvl="8" indent="-3302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3" name="Google Shape;173;p22"/>
          <p:cNvSpPr>
            <a:spLocks noGrp="1"/>
          </p:cNvSpPr>
          <p:nvPr>
            <p:ph type="pic" idx="5"/>
          </p:nvPr>
        </p:nvSpPr>
        <p:spPr>
          <a:xfrm>
            <a:off x="8220075" y="2100263"/>
            <a:ext cx="3528900" cy="30174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spcFirstLastPara="1" wrap="square" lIns="0" tIns="0" rIns="0" bIns="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174" name="Google Shape;174;p22"/>
          <p:cNvSpPr txBox="1">
            <a:spLocks noGrp="1"/>
          </p:cNvSpPr>
          <p:nvPr>
            <p:ph type="body" idx="6"/>
          </p:nvPr>
        </p:nvSpPr>
        <p:spPr>
          <a:xfrm>
            <a:off x="8220076" y="5280025"/>
            <a:ext cx="3528900" cy="89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None/>
              <a:defRPr sz="1800" b="1"/>
            </a:lvl1pPr>
            <a:lvl2pPr marL="914400" lvl="1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2pPr>
            <a:lvl3pPr marL="1371600" lvl="2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3pPr>
            <a:lvl4pPr marL="1828800" lvl="3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4pPr>
            <a:lvl5pPr marL="2286000" lvl="4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6pPr>
            <a:lvl7pPr marL="3200400" lvl="6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7pPr>
            <a:lvl8pPr marL="3657600" lvl="7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8pPr>
            <a:lvl9pPr marL="4114800" lvl="8" indent="-3302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6" name="Google Shape;176;p22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77" name="Google Shape;177;p22"/>
          <p:cNvSpPr txBox="1">
            <a:spLocks noGrp="1"/>
          </p:cNvSpPr>
          <p:nvPr>
            <p:ph type="dt" idx="10"/>
          </p:nvPr>
        </p:nvSpPr>
        <p:spPr>
          <a:xfrm>
            <a:off x="9984296" y="635508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8" name="Google Shape;178;p22"/>
          <p:cNvSpPr txBox="1">
            <a:spLocks noGrp="1"/>
          </p:cNvSpPr>
          <p:nvPr>
            <p:ph type="ftr" idx="11"/>
          </p:nvPr>
        </p:nvSpPr>
        <p:spPr>
          <a:xfrm>
            <a:off x="442912" y="6355080"/>
            <a:ext cx="5473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 smtClean="0"/>
              <a:t>Нижний колонтитул</a:t>
            </a:r>
            <a:endParaRPr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42913" y="428624"/>
            <a:ext cx="9767887" cy="80486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pic>
        <p:nvPicPr>
          <p:cNvPr id="18" name="Рисунок 1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490" y="289560"/>
            <a:ext cx="1450851" cy="1072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1410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Text Boxes for Icons" preserve="1" userDrawn="1">
  <p:cSld name="Four Text Boxes for Icons"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2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Объект 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192" name="Google Shape;192;p24"/>
          <p:cNvSpPr txBox="1">
            <a:spLocks noGrp="1"/>
          </p:cNvSpPr>
          <p:nvPr>
            <p:ph type="body" idx="1"/>
          </p:nvPr>
        </p:nvSpPr>
        <p:spPr>
          <a:xfrm>
            <a:off x="442913" y="3429000"/>
            <a:ext cx="2560320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None/>
              <a:defRPr sz="1200" b="1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2pPr>
            <a:lvl3pPr marL="1371600" lvl="2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4pPr>
            <a:lvl5pPr marL="2286000" lvl="4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6pPr>
            <a:lvl7pPr marL="3200400" lvl="6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7pPr>
            <a:lvl8pPr marL="3657600" lvl="7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8pPr>
            <a:lvl9pPr marL="4114800" lvl="8" indent="-3302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3" name="Google Shape;193;p24"/>
          <p:cNvSpPr txBox="1">
            <a:spLocks noGrp="1"/>
          </p:cNvSpPr>
          <p:nvPr>
            <p:ph type="body" idx="2"/>
          </p:nvPr>
        </p:nvSpPr>
        <p:spPr>
          <a:xfrm>
            <a:off x="3359638" y="3429000"/>
            <a:ext cx="2560320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None/>
              <a:defRPr sz="1200" b="1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2pPr>
            <a:lvl3pPr marL="1371600" lvl="2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4pPr>
            <a:lvl5pPr marL="2286000" lvl="4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6pPr>
            <a:lvl7pPr marL="3200400" lvl="6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7pPr>
            <a:lvl8pPr marL="3657600" lvl="7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8pPr>
            <a:lvl9pPr marL="4114800" lvl="8" indent="-3302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4" name="Google Shape;194;p24"/>
          <p:cNvSpPr txBox="1">
            <a:spLocks noGrp="1"/>
          </p:cNvSpPr>
          <p:nvPr>
            <p:ph type="body" idx="3"/>
          </p:nvPr>
        </p:nvSpPr>
        <p:spPr>
          <a:xfrm>
            <a:off x="6276363" y="3429000"/>
            <a:ext cx="2560320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None/>
              <a:defRPr sz="1200" b="1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2pPr>
            <a:lvl3pPr marL="1371600" lvl="2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4pPr>
            <a:lvl5pPr marL="2286000" lvl="4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6pPr>
            <a:lvl7pPr marL="3200400" lvl="6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7pPr>
            <a:lvl8pPr marL="3657600" lvl="7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8pPr>
            <a:lvl9pPr marL="4114800" lvl="8" indent="-3302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5" name="Google Shape;195;p24"/>
          <p:cNvSpPr txBox="1">
            <a:spLocks noGrp="1"/>
          </p:cNvSpPr>
          <p:nvPr>
            <p:ph type="body" idx="4"/>
          </p:nvPr>
        </p:nvSpPr>
        <p:spPr>
          <a:xfrm>
            <a:off x="9193088" y="3429000"/>
            <a:ext cx="2560320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200"/>
              <a:buNone/>
              <a:defRPr sz="1200" b="1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/>
            </a:lvl2pPr>
            <a:lvl3pPr marL="1371600" lvl="2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4pPr>
            <a:lvl5pPr marL="2286000" lvl="4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6pPr>
            <a:lvl7pPr marL="3200400" lvl="6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7pPr>
            <a:lvl8pPr marL="3657600" lvl="7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8pPr>
            <a:lvl9pPr marL="4114800" lvl="8" indent="-3302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7" name="Google Shape;197;p24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198" name="Google Shape;198;p24"/>
          <p:cNvSpPr txBox="1">
            <a:spLocks noGrp="1"/>
          </p:cNvSpPr>
          <p:nvPr>
            <p:ph type="dt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9" name="Google Shape;199;p24"/>
          <p:cNvSpPr txBox="1">
            <a:spLocks noGrp="1"/>
          </p:cNvSpPr>
          <p:nvPr>
            <p:ph type="ftr" idx="11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 smtClean="0"/>
              <a:t>Нижний колонтитул</a:t>
            </a:r>
            <a:endParaRPr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42913" y="428624"/>
            <a:ext cx="9729787" cy="80486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490" y="289560"/>
            <a:ext cx="1450851" cy="1072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498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1" preserve="1" userDrawn="1">
  <p:cSld name="2_Title Slide 1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0982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0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Рисунок 4"/>
          <p:cNvSpPr>
            <a:spLocks noGrp="1"/>
          </p:cNvSpPr>
          <p:nvPr>
            <p:ph type="pic" sz="quarter" idx="12"/>
          </p:nvPr>
        </p:nvSpPr>
        <p:spPr>
          <a:xfrm>
            <a:off x="0" y="1828800"/>
            <a:ext cx="12192000" cy="4343400"/>
          </a:xfrm>
          <a:solidFill>
            <a:schemeClr val="accent4"/>
          </a:solidFill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49" name="Прямоугольник 48"/>
          <p:cNvSpPr/>
          <p:nvPr userDrawn="1"/>
        </p:nvSpPr>
        <p:spPr>
          <a:xfrm>
            <a:off x="1253141" y="6172200"/>
            <a:ext cx="1645200" cy="685800"/>
          </a:xfrm>
          <a:prstGeom prst="rect">
            <a:avLst/>
          </a:pr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Объект 2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1307938" y="2838688"/>
            <a:ext cx="9579138" cy="861774"/>
          </a:xfrm>
        </p:spPr>
        <p:txBody>
          <a:bodyPr vert="horz" wrap="square">
            <a:spAutoFit/>
          </a:bodyPr>
          <a:lstStyle>
            <a:lvl1pPr>
              <a:defRPr sz="280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itle of the presentation in several lines</a:t>
            </a:r>
            <a:r>
              <a:rPr lang="ru-RU" dirty="0" smtClean="0"/>
              <a:t>,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itle of the presentation in several lines</a:t>
            </a:r>
            <a:endParaRPr lang="ru-RU" dirty="0"/>
          </a:p>
        </p:txBody>
      </p:sp>
      <p:sp>
        <p:nvSpPr>
          <p:cNvPr id="46" name="Прямоугольник 45"/>
          <p:cNvSpPr/>
          <p:nvPr userDrawn="1"/>
        </p:nvSpPr>
        <p:spPr>
          <a:xfrm>
            <a:off x="1253141" y="0"/>
            <a:ext cx="1645200" cy="18192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олилиния 49"/>
          <p:cNvSpPr/>
          <p:nvPr userDrawn="1"/>
        </p:nvSpPr>
        <p:spPr>
          <a:xfrm>
            <a:off x="1251581" y="0"/>
            <a:ext cx="1646760" cy="610980"/>
          </a:xfrm>
          <a:custGeom>
            <a:avLst/>
            <a:gdLst>
              <a:gd name="connsiteX0" fmla="*/ 0 w 1646760"/>
              <a:gd name="connsiteY0" fmla="*/ 0 h 610980"/>
              <a:gd name="connsiteX1" fmla="*/ 1646760 w 1646760"/>
              <a:gd name="connsiteY1" fmla="*/ 0 h 610980"/>
              <a:gd name="connsiteX2" fmla="*/ 1646760 w 1646760"/>
              <a:gd name="connsiteY2" fmla="*/ 376993 h 610980"/>
              <a:gd name="connsiteX3" fmla="*/ 1467066 w 1646760"/>
              <a:gd name="connsiteY3" fmla="*/ 448281 h 610980"/>
              <a:gd name="connsiteX4" fmla="*/ 122592 w 1646760"/>
              <a:gd name="connsiteY4" fmla="*/ 597394 h 610980"/>
              <a:gd name="connsiteX5" fmla="*/ 0 w 1646760"/>
              <a:gd name="connsiteY5" fmla="*/ 578256 h 610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46760" h="610980">
                <a:moveTo>
                  <a:pt x="0" y="0"/>
                </a:moveTo>
                <a:lnTo>
                  <a:pt x="1646760" y="0"/>
                </a:lnTo>
                <a:lnTo>
                  <a:pt x="1646760" y="376993"/>
                </a:lnTo>
                <a:lnTo>
                  <a:pt x="1467066" y="448281"/>
                </a:lnTo>
                <a:cubicBezTo>
                  <a:pt x="1019671" y="598635"/>
                  <a:pt x="472471" y="634626"/>
                  <a:pt x="122592" y="597394"/>
                </a:cubicBezTo>
                <a:lnTo>
                  <a:pt x="0" y="578256"/>
                </a:lnTo>
                <a:close/>
              </a:path>
            </a:pathLst>
          </a:cu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2" name="Прямоугольник 51"/>
          <p:cNvSpPr/>
          <p:nvPr userDrawn="1"/>
        </p:nvSpPr>
        <p:spPr>
          <a:xfrm>
            <a:off x="10237627" y="6302602"/>
            <a:ext cx="1511461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r"/>
            <a:r>
              <a:rPr lang="en-US" sz="1400" dirty="0" smtClean="0">
                <a:solidFill>
                  <a:schemeClr val="bg2"/>
                </a:solidFill>
                <a:latin typeface="+mn-lt"/>
              </a:rPr>
              <a:t>EFSD.ORG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idx="10"/>
          </p:nvPr>
        </p:nvSpPr>
        <p:spPr>
          <a:xfrm>
            <a:off x="1353659" y="6341745"/>
            <a:ext cx="1463201" cy="137160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>
              <a:defRPr lang="ru-RU" sz="1400" dirty="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algn="l"/>
            <a:endParaRPr lang="ru-RU"/>
          </a:p>
        </p:txBody>
      </p:sp>
      <p:sp>
        <p:nvSpPr>
          <p:cNvPr id="53" name="Текст 52"/>
          <p:cNvSpPr>
            <a:spLocks noGrp="1"/>
          </p:cNvSpPr>
          <p:nvPr>
            <p:ph type="body" sz="quarter" idx="11" hasCustomPrompt="1"/>
          </p:nvPr>
        </p:nvSpPr>
        <p:spPr>
          <a:xfrm>
            <a:off x="1295400" y="5005745"/>
            <a:ext cx="9620250" cy="98488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Aft>
                <a:spcPts val="0"/>
              </a:spcAft>
              <a:defRPr lang="ru-RU" sz="1600" cap="none" baseline="0" smtClean="0">
                <a:solidFill>
                  <a:schemeClr val="bg1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ru-RU" sz="1800" smtClean="0">
                <a:latin typeface="+mn-lt"/>
              </a:defRPr>
            </a:lvl2pPr>
            <a:lvl3pPr>
              <a:defRPr lang="ru-RU" sz="1800" smtClean="0">
                <a:latin typeface="+mn-lt"/>
              </a:defRPr>
            </a:lvl3pPr>
            <a:lvl4pPr>
              <a:defRPr lang="ru-RU" sz="1800" smtClean="0">
                <a:latin typeface="+mn-lt"/>
              </a:defRPr>
            </a:lvl4pPr>
            <a:lvl5pPr>
              <a:defRPr lang="ru-RU" sz="1800">
                <a:latin typeface="+mn-lt"/>
              </a:defRPr>
            </a:lvl5pPr>
          </a:lstStyle>
          <a:p>
            <a:pPr lvl="0">
              <a:spcAft>
                <a:spcPts val="0"/>
              </a:spcAft>
            </a:pPr>
            <a:r>
              <a:rPr lang="en-US" dirty="0" smtClean="0"/>
              <a:t>Name Surname </a:t>
            </a:r>
          </a:p>
          <a:p>
            <a:pPr lvl="0">
              <a:spcAft>
                <a:spcPts val="0"/>
              </a:spcAft>
            </a:pPr>
            <a:r>
              <a:rPr lang="en-US" dirty="0" smtClean="0"/>
              <a:t>Position</a:t>
            </a:r>
            <a:br>
              <a:rPr lang="en-US" dirty="0" smtClean="0"/>
            </a:br>
            <a:r>
              <a:rPr lang="en-US" dirty="0" smtClean="0"/>
              <a:t>Venue</a:t>
            </a:r>
            <a:br>
              <a:rPr lang="en-US" dirty="0" smtClean="0"/>
            </a:br>
            <a:r>
              <a:rPr lang="en-US" dirty="0" smtClean="0"/>
              <a:t>Event title</a:t>
            </a:r>
          </a:p>
        </p:txBody>
      </p:sp>
      <p:sp>
        <p:nvSpPr>
          <p:cNvPr id="48" name="Прямоугольник 47"/>
          <p:cNvSpPr/>
          <p:nvPr userDrawn="1"/>
        </p:nvSpPr>
        <p:spPr>
          <a:xfrm>
            <a:off x="1253141" y="1712595"/>
            <a:ext cx="1645200" cy="116205"/>
          </a:xfrm>
          <a:prstGeom prst="rect">
            <a:avLst/>
          </a:pr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4" name="Рисунок 8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860" y="315557"/>
            <a:ext cx="2008800" cy="1485151"/>
          </a:xfrm>
          <a:prstGeom prst="rect">
            <a:avLst/>
          </a:prstGeom>
        </p:spPr>
      </p:pic>
      <p:grpSp>
        <p:nvGrpSpPr>
          <p:cNvPr id="44" name="Группа 43"/>
          <p:cNvGrpSpPr>
            <a:grpSpLocks noChangeAspect="1"/>
          </p:cNvGrpSpPr>
          <p:nvPr userDrawn="1"/>
        </p:nvGrpSpPr>
        <p:grpSpPr>
          <a:xfrm>
            <a:off x="12365458" y="2"/>
            <a:ext cx="1080000" cy="6858030"/>
            <a:chOff x="12365458" y="0"/>
            <a:chExt cx="1080000" cy="6858000"/>
          </a:xfrm>
        </p:grpSpPr>
        <p:sp>
          <p:nvSpPr>
            <p:cNvPr id="47" name="Freeform 5"/>
            <p:cNvSpPr>
              <a:spLocks/>
            </p:cNvSpPr>
            <p:nvPr/>
          </p:nvSpPr>
          <p:spPr bwMode="auto">
            <a:xfrm>
              <a:off x="12365458" y="0"/>
              <a:ext cx="1080000" cy="6858000"/>
            </a:xfrm>
            <a:prstGeom prst="roundRect">
              <a:avLst>
                <a:gd name="adj" fmla="val 12318"/>
              </a:avLst>
            </a:prstGeom>
            <a:solidFill>
              <a:schemeClr val="bg1"/>
            </a:solidFill>
            <a:ln w="7938" cap="flat">
              <a:solidFill>
                <a:srgbClr val="FEFEF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83" name="Группа 82"/>
            <p:cNvGrpSpPr/>
            <p:nvPr userDrawn="1"/>
          </p:nvGrpSpPr>
          <p:grpSpPr>
            <a:xfrm>
              <a:off x="12365458" y="5764224"/>
              <a:ext cx="1080000" cy="838989"/>
              <a:chOff x="12365458" y="5764224"/>
              <a:chExt cx="1080000" cy="838989"/>
            </a:xfrm>
          </p:grpSpPr>
          <p:pic>
            <p:nvPicPr>
              <p:cNvPr id="108" name="Picture 30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08164" y="6094649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9" name="Picture 31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37017" y="6101736"/>
                <a:ext cx="152400" cy="123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0" name="Picture 32"/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125833" y="6321161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11" name="TextBox 110"/>
              <p:cNvSpPr txBox="1"/>
              <p:nvPr/>
            </p:nvSpPr>
            <p:spPr>
              <a:xfrm>
                <a:off x="12365458" y="5764224"/>
                <a:ext cx="1080000" cy="838989"/>
              </a:xfrm>
              <a:prstGeom prst="rect">
                <a:avLst/>
              </a:prstGeom>
              <a:noFill/>
            </p:spPr>
            <p:txBody>
              <a:bodyPr wrap="square" lIns="36000" tIns="0" rIns="3600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Select a text or graphic element.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, respectively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or .</a:t>
                </a:r>
              </a:p>
              <a:p>
                <a:pPr algn="ctr">
                  <a:lnSpc>
                    <a:spcPct val="90000"/>
                  </a:lnSpc>
                  <a:spcBef>
                    <a:spcPts val="300"/>
                  </a:spcBef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After selecting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the pipette tool          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 on the desired color on the palette.</a:t>
                </a:r>
                <a:endParaRPr lang="ru-RU" sz="800" dirty="0">
                  <a:solidFill>
                    <a:srgbClr val="30343F"/>
                  </a:solidFill>
                  <a:latin typeface="Source Sans Pro" panose="020B0503030403020204" pitchFamily="34" charset="0"/>
                </a:endParaRPr>
              </a:p>
            </p:txBody>
          </p:sp>
        </p:grpSp>
        <p:sp>
          <p:nvSpPr>
            <p:cNvPr id="85" name="TextBox 84"/>
            <p:cNvSpPr txBox="1"/>
            <p:nvPr/>
          </p:nvSpPr>
          <p:spPr>
            <a:xfrm>
              <a:off x="12368248" y="18288"/>
              <a:ext cx="1074420" cy="4606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Color palette </a:t>
              </a:r>
              <a:b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</a:b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for EFSR presentations</a:t>
              </a:r>
              <a:endParaRPr lang="ru-RU" sz="1000" dirty="0">
                <a:solidFill>
                  <a:srgbClr val="343467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12365458" y="640080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The main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7" name="Oval 8"/>
            <p:cNvSpPr>
              <a:spLocks noChangeArrowheads="1"/>
            </p:cNvSpPr>
            <p:nvPr/>
          </p:nvSpPr>
          <p:spPr bwMode="auto">
            <a:xfrm>
              <a:off x="12518642" y="970675"/>
              <a:ext cx="350838" cy="346075"/>
            </a:xfrm>
            <a:prstGeom prst="ellipse">
              <a:avLst/>
            </a:prstGeom>
            <a:solidFill>
              <a:srgbClr val="00589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Oval 9"/>
            <p:cNvSpPr>
              <a:spLocks noChangeArrowheads="1"/>
            </p:cNvSpPr>
            <p:nvPr/>
          </p:nvSpPr>
          <p:spPr bwMode="auto">
            <a:xfrm>
              <a:off x="12515726" y="1381725"/>
              <a:ext cx="350838" cy="346075"/>
            </a:xfrm>
            <a:prstGeom prst="ellipse">
              <a:avLst/>
            </a:prstGeom>
            <a:solidFill>
              <a:srgbClr val="00B1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Oval 10"/>
            <p:cNvSpPr>
              <a:spLocks noChangeArrowheads="1"/>
            </p:cNvSpPr>
            <p:nvPr/>
          </p:nvSpPr>
          <p:spPr bwMode="auto">
            <a:xfrm>
              <a:off x="12515726" y="2602206"/>
              <a:ext cx="350838" cy="346075"/>
            </a:xfrm>
            <a:prstGeom prst="ellipse">
              <a:avLst/>
            </a:prstGeom>
            <a:solidFill>
              <a:srgbClr val="C2BFB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Oval 11"/>
            <p:cNvSpPr>
              <a:spLocks noChangeAspect="1" noChangeArrowheads="1"/>
            </p:cNvSpPr>
            <p:nvPr/>
          </p:nvSpPr>
          <p:spPr bwMode="auto">
            <a:xfrm>
              <a:off x="12515725" y="1780075"/>
              <a:ext cx="793329" cy="792000"/>
            </a:xfrm>
            <a:prstGeom prst="ellipse">
              <a:avLst/>
            </a:prstGeom>
            <a:solidFill>
              <a:srgbClr val="343467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lvl="0"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FFFFFF"/>
                  </a:solidFill>
                  <a:latin typeface="Source Sans Pro" panose="020B0503030403020204" pitchFamily="34" charset="0"/>
                </a:rPr>
                <a:t>Base color</a:t>
              </a:r>
              <a:endParaRPr lang="ru-RU" sz="1000" dirty="0">
                <a:solidFill>
                  <a:srgbClr val="FFFFF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91" name="Oval 13"/>
            <p:cNvSpPr>
              <a:spLocks noChangeArrowheads="1"/>
            </p:cNvSpPr>
            <p:nvPr/>
          </p:nvSpPr>
          <p:spPr bwMode="auto">
            <a:xfrm>
              <a:off x="12515726" y="2978412"/>
              <a:ext cx="350838" cy="346075"/>
            </a:xfrm>
            <a:prstGeom prst="ellipse">
              <a:avLst/>
            </a:prstGeom>
            <a:solidFill>
              <a:srgbClr val="30343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Oval 14"/>
            <p:cNvSpPr>
              <a:spLocks noChangeArrowheads="1"/>
            </p:cNvSpPr>
            <p:nvPr/>
          </p:nvSpPr>
          <p:spPr bwMode="auto">
            <a:xfrm>
              <a:off x="12515726" y="3744823"/>
              <a:ext cx="350838" cy="346075"/>
            </a:xfrm>
            <a:prstGeom prst="ellipse">
              <a:avLst/>
            </a:prstGeom>
            <a:solidFill>
              <a:srgbClr val="D034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Oval 15"/>
            <p:cNvSpPr>
              <a:spLocks noChangeArrowheads="1"/>
            </p:cNvSpPr>
            <p:nvPr/>
          </p:nvSpPr>
          <p:spPr bwMode="auto">
            <a:xfrm>
              <a:off x="12949114" y="975437"/>
              <a:ext cx="350838" cy="346075"/>
            </a:xfrm>
            <a:prstGeom prst="ellipse">
              <a:avLst/>
            </a:prstGeom>
            <a:solidFill>
              <a:srgbClr val="007CB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Oval 16"/>
            <p:cNvSpPr>
              <a:spLocks noChangeArrowheads="1"/>
            </p:cNvSpPr>
            <p:nvPr/>
          </p:nvSpPr>
          <p:spPr bwMode="auto">
            <a:xfrm>
              <a:off x="12949114" y="1381725"/>
              <a:ext cx="350838" cy="346075"/>
            </a:xfrm>
            <a:prstGeom prst="ellipse">
              <a:avLst/>
            </a:prstGeom>
            <a:solidFill>
              <a:srgbClr val="B4DCE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Oval 17"/>
            <p:cNvSpPr>
              <a:spLocks noChangeArrowheads="1"/>
            </p:cNvSpPr>
            <p:nvPr/>
          </p:nvSpPr>
          <p:spPr bwMode="auto">
            <a:xfrm>
              <a:off x="12949114" y="2602206"/>
              <a:ext cx="350838" cy="346075"/>
            </a:xfrm>
            <a:prstGeom prst="ellipse">
              <a:avLst/>
            </a:prstGeom>
            <a:solidFill>
              <a:srgbClr val="84898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Oval 20"/>
            <p:cNvSpPr>
              <a:spLocks noChangeArrowheads="1"/>
            </p:cNvSpPr>
            <p:nvPr/>
          </p:nvSpPr>
          <p:spPr bwMode="auto">
            <a:xfrm>
              <a:off x="12949114" y="2978412"/>
              <a:ext cx="350838" cy="346075"/>
            </a:xfrm>
            <a:prstGeom prst="ellipse">
              <a:avLst/>
            </a:prstGeom>
            <a:solidFill>
              <a:srgbClr val="3738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Oval 21"/>
            <p:cNvSpPr>
              <a:spLocks noChangeArrowheads="1"/>
            </p:cNvSpPr>
            <p:nvPr/>
          </p:nvSpPr>
          <p:spPr bwMode="auto">
            <a:xfrm>
              <a:off x="12949114" y="3744823"/>
              <a:ext cx="350838" cy="346075"/>
            </a:xfrm>
            <a:prstGeom prst="ellipse">
              <a:avLst/>
            </a:prstGeom>
            <a:solidFill>
              <a:srgbClr val="FDAC5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Oval 22"/>
            <p:cNvSpPr>
              <a:spLocks noChangeArrowheads="1"/>
            </p:cNvSpPr>
            <p:nvPr/>
          </p:nvSpPr>
          <p:spPr bwMode="auto">
            <a:xfrm>
              <a:off x="12515726" y="4162223"/>
              <a:ext cx="350838" cy="346075"/>
            </a:xfrm>
            <a:prstGeom prst="ellipse">
              <a:avLst/>
            </a:prstGeom>
            <a:solidFill>
              <a:srgbClr val="F9E54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Oval 23"/>
            <p:cNvSpPr>
              <a:spLocks noChangeArrowheads="1"/>
            </p:cNvSpPr>
            <p:nvPr/>
          </p:nvSpPr>
          <p:spPr bwMode="auto">
            <a:xfrm>
              <a:off x="12949114" y="4162223"/>
              <a:ext cx="350838" cy="346075"/>
            </a:xfrm>
            <a:prstGeom prst="ellipse">
              <a:avLst/>
            </a:prstGeom>
            <a:solidFill>
              <a:srgbClr val="C3D3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Oval 24"/>
            <p:cNvSpPr>
              <a:spLocks noChangeArrowheads="1"/>
            </p:cNvSpPr>
            <p:nvPr/>
          </p:nvSpPr>
          <p:spPr bwMode="auto">
            <a:xfrm>
              <a:off x="12515726" y="4551048"/>
              <a:ext cx="350838" cy="346075"/>
            </a:xfrm>
            <a:prstGeom prst="ellipse">
              <a:avLst/>
            </a:prstGeom>
            <a:solidFill>
              <a:srgbClr val="008C4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Oval 25"/>
            <p:cNvSpPr>
              <a:spLocks noChangeArrowheads="1"/>
            </p:cNvSpPr>
            <p:nvPr/>
          </p:nvSpPr>
          <p:spPr bwMode="auto">
            <a:xfrm>
              <a:off x="12949114" y="4551048"/>
              <a:ext cx="350838" cy="346075"/>
            </a:xfrm>
            <a:prstGeom prst="ellipse">
              <a:avLst/>
            </a:prstGeom>
            <a:solidFill>
              <a:srgbClr val="1D428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Line 33"/>
            <p:cNvSpPr>
              <a:spLocks noChangeShapeType="1"/>
            </p:cNvSpPr>
            <p:nvPr/>
          </p:nvSpPr>
          <p:spPr bwMode="auto">
            <a:xfrm>
              <a:off x="12501439" y="342805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Oval 22"/>
            <p:cNvSpPr>
              <a:spLocks noChangeArrowheads="1"/>
            </p:cNvSpPr>
            <p:nvPr/>
          </p:nvSpPr>
          <p:spPr bwMode="auto">
            <a:xfrm>
              <a:off x="12515726" y="4968448"/>
              <a:ext cx="350838" cy="346075"/>
            </a:xfrm>
            <a:prstGeom prst="ellipse">
              <a:avLst/>
            </a:prstGeom>
            <a:solidFill>
              <a:srgbClr val="883F8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Oval 23"/>
            <p:cNvSpPr>
              <a:spLocks noChangeArrowheads="1"/>
            </p:cNvSpPr>
            <p:nvPr/>
          </p:nvSpPr>
          <p:spPr bwMode="auto">
            <a:xfrm>
              <a:off x="12949114" y="4968448"/>
              <a:ext cx="350838" cy="346075"/>
            </a:xfrm>
            <a:prstGeom prst="ellipse">
              <a:avLst/>
            </a:prstGeom>
            <a:solidFill>
              <a:srgbClr val="919BC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Oval 24"/>
            <p:cNvSpPr>
              <a:spLocks noChangeArrowheads="1"/>
            </p:cNvSpPr>
            <p:nvPr/>
          </p:nvSpPr>
          <p:spPr bwMode="auto">
            <a:xfrm>
              <a:off x="12732420" y="5357273"/>
              <a:ext cx="350838" cy="346075"/>
            </a:xfrm>
            <a:prstGeom prst="ellipse">
              <a:avLst/>
            </a:prstGeom>
            <a:solidFill>
              <a:srgbClr val="856A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Line 33"/>
            <p:cNvSpPr>
              <a:spLocks noChangeShapeType="1"/>
            </p:cNvSpPr>
            <p:nvPr/>
          </p:nvSpPr>
          <p:spPr bwMode="auto">
            <a:xfrm>
              <a:off x="12501439" y="66541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12365458" y="3421008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Additional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23804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Team Images" preserve="1" userDrawn="1">
  <p:cSld name="Four Team Images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Объект 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11" name="Google Shape;211;p26"/>
          <p:cNvSpPr>
            <a:spLocks noGrp="1"/>
          </p:cNvSpPr>
          <p:nvPr>
            <p:ph type="pic" idx="2"/>
          </p:nvPr>
        </p:nvSpPr>
        <p:spPr>
          <a:xfrm>
            <a:off x="442911" y="2103120"/>
            <a:ext cx="1325880" cy="132588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spcFirstLastPara="1" wrap="square" lIns="0" tIns="0" rIns="0" bIns="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12" name="Google Shape;212;p26"/>
          <p:cNvSpPr txBox="1">
            <a:spLocks noGrp="1"/>
          </p:cNvSpPr>
          <p:nvPr>
            <p:ph type="body" idx="1"/>
          </p:nvPr>
        </p:nvSpPr>
        <p:spPr>
          <a:xfrm>
            <a:off x="442912" y="3657600"/>
            <a:ext cx="2560320" cy="251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 b="1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2pPr>
            <a:lvl3pPr marL="1371600" lvl="2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3pPr>
            <a:lvl4pPr marL="1828800" lvl="3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4pPr>
            <a:lvl5pPr marL="2286000" lvl="4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5pPr>
            <a:lvl6pPr marL="2743200" lvl="5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6pPr>
            <a:lvl7pPr marL="3200400" lvl="6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7pPr>
            <a:lvl8pPr marL="3657600" lvl="7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8pPr>
            <a:lvl9pPr marL="4114800" lvl="8" indent="-3302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Char char="•"/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13" name="Google Shape;213;p26"/>
          <p:cNvSpPr>
            <a:spLocks noGrp="1"/>
          </p:cNvSpPr>
          <p:nvPr>
            <p:ph type="pic" idx="3"/>
          </p:nvPr>
        </p:nvSpPr>
        <p:spPr>
          <a:xfrm>
            <a:off x="3359638" y="2103120"/>
            <a:ext cx="1325880" cy="132588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spcFirstLastPara="1" wrap="square" lIns="0" tIns="0" rIns="0" bIns="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14" name="Google Shape;214;p26"/>
          <p:cNvSpPr txBox="1">
            <a:spLocks noGrp="1"/>
          </p:cNvSpPr>
          <p:nvPr>
            <p:ph type="body" idx="4"/>
          </p:nvPr>
        </p:nvSpPr>
        <p:spPr>
          <a:xfrm>
            <a:off x="3359638" y="3657600"/>
            <a:ext cx="2560320" cy="251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 b="1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2pPr>
            <a:lvl3pPr marL="1371600" lvl="2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3pPr>
            <a:lvl4pPr marL="1828800" lvl="3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4pPr>
            <a:lvl5pPr marL="2286000" lvl="4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5pPr>
            <a:lvl6pPr marL="2743200" lvl="5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6pPr>
            <a:lvl7pPr marL="3200400" lvl="6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7pPr>
            <a:lvl8pPr marL="3657600" lvl="7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8pPr>
            <a:lvl9pPr marL="4114800" lvl="8" indent="-3302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Char char="•"/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15" name="Google Shape;215;p26"/>
          <p:cNvSpPr>
            <a:spLocks noGrp="1"/>
          </p:cNvSpPr>
          <p:nvPr>
            <p:ph type="pic" idx="5"/>
          </p:nvPr>
        </p:nvSpPr>
        <p:spPr>
          <a:xfrm>
            <a:off x="6276363" y="2103120"/>
            <a:ext cx="1325880" cy="132588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spcFirstLastPara="1" wrap="square" lIns="0" tIns="0" rIns="0" bIns="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16" name="Google Shape;216;p26"/>
          <p:cNvSpPr txBox="1">
            <a:spLocks noGrp="1"/>
          </p:cNvSpPr>
          <p:nvPr>
            <p:ph type="body" idx="6"/>
          </p:nvPr>
        </p:nvSpPr>
        <p:spPr>
          <a:xfrm>
            <a:off x="6276362" y="3657600"/>
            <a:ext cx="2560320" cy="251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 b="1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2pPr>
            <a:lvl3pPr marL="1371600" lvl="2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3pPr>
            <a:lvl4pPr marL="1828800" lvl="3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4pPr>
            <a:lvl5pPr marL="2286000" lvl="4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5pPr>
            <a:lvl6pPr marL="2743200" lvl="5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6pPr>
            <a:lvl7pPr marL="3200400" lvl="6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7pPr>
            <a:lvl8pPr marL="3657600" lvl="7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8pPr>
            <a:lvl9pPr marL="4114800" lvl="8" indent="-3302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Char char="•"/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17" name="Google Shape;217;p26"/>
          <p:cNvSpPr>
            <a:spLocks noGrp="1"/>
          </p:cNvSpPr>
          <p:nvPr>
            <p:ph type="pic" idx="7"/>
          </p:nvPr>
        </p:nvSpPr>
        <p:spPr>
          <a:xfrm>
            <a:off x="9193088" y="2103120"/>
            <a:ext cx="1325880" cy="132588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spcFirstLastPara="1" wrap="square" lIns="0" tIns="0" rIns="0" bIns="0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18" name="Google Shape;218;p26"/>
          <p:cNvSpPr txBox="1">
            <a:spLocks noGrp="1"/>
          </p:cNvSpPr>
          <p:nvPr>
            <p:ph type="body" idx="8"/>
          </p:nvPr>
        </p:nvSpPr>
        <p:spPr>
          <a:xfrm>
            <a:off x="9193088" y="3657600"/>
            <a:ext cx="2560320" cy="251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 b="1"/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2pPr>
            <a:lvl3pPr marL="1371600" lvl="2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3pPr>
            <a:lvl4pPr marL="1828800" lvl="3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4pPr>
            <a:lvl5pPr marL="2286000" lvl="4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5pPr>
            <a:lvl6pPr marL="2743200" lvl="5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6pPr>
            <a:lvl7pPr marL="3200400" lvl="6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7pPr>
            <a:lvl8pPr marL="3657600" lvl="7" indent="-3302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8pPr>
            <a:lvl9pPr marL="4114800" lvl="8" indent="-3302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Char char="•"/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20" name="Google Shape;220;p26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221" name="Google Shape;221;p26"/>
          <p:cNvSpPr txBox="1">
            <a:spLocks noGrp="1"/>
          </p:cNvSpPr>
          <p:nvPr>
            <p:ph type="dt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2" name="Google Shape;222;p26"/>
          <p:cNvSpPr txBox="1">
            <a:spLocks noGrp="1"/>
          </p:cNvSpPr>
          <p:nvPr>
            <p:ph type="ftr" idx="11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 smtClean="0"/>
              <a:t>Нижний колонтитул</a:t>
            </a:r>
            <a:endParaRPr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42913" y="428624"/>
            <a:ext cx="9672637" cy="80486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490" y="289560"/>
            <a:ext cx="1450851" cy="1072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982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 Infographic" preserve="1" userDrawn="1">
  <p:cSld name="Three Content Infographic"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7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Объект 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79" name="Google Shape;279;p35"/>
          <p:cNvSpPr txBox="1">
            <a:spLocks noGrp="1"/>
          </p:cNvSpPr>
          <p:nvPr>
            <p:ph type="body" idx="1"/>
          </p:nvPr>
        </p:nvSpPr>
        <p:spPr>
          <a:xfrm>
            <a:off x="442913" y="3599542"/>
            <a:ext cx="3529012" cy="25780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1800"/>
              <a:buNone/>
              <a:defRPr>
                <a:solidFill>
                  <a:schemeClr val="accent3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>
                <a:solidFill>
                  <a:schemeClr val="dk1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>
                <a:solidFill>
                  <a:schemeClr val="dk1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80" name="Google Shape;280;p35"/>
          <p:cNvSpPr txBox="1">
            <a:spLocks noGrp="1"/>
          </p:cNvSpPr>
          <p:nvPr>
            <p:ph type="body" idx="2" hasCustomPrompt="1"/>
          </p:nvPr>
        </p:nvSpPr>
        <p:spPr>
          <a:xfrm>
            <a:off x="442913" y="2095500"/>
            <a:ext cx="3529012" cy="133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/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8500"/>
              <a:buNone/>
              <a:defRPr sz="8500" b="0">
                <a:solidFill>
                  <a:schemeClr val="accent3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ru-RU" dirty="0" smtClean="0"/>
              <a:t>Текст</a:t>
            </a:r>
            <a:endParaRPr dirty="0"/>
          </a:p>
        </p:txBody>
      </p:sp>
      <p:sp>
        <p:nvSpPr>
          <p:cNvPr id="281" name="Google Shape;281;p35"/>
          <p:cNvSpPr txBox="1">
            <a:spLocks noGrp="1"/>
          </p:cNvSpPr>
          <p:nvPr>
            <p:ph type="body" idx="3" hasCustomPrompt="1"/>
          </p:nvPr>
        </p:nvSpPr>
        <p:spPr>
          <a:xfrm>
            <a:off x="4327524" y="2095500"/>
            <a:ext cx="3533775" cy="133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/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500"/>
              <a:buNone/>
              <a:defRPr sz="8500" b="0">
                <a:solidFill>
                  <a:srgbClr val="007CB8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ru-RU" dirty="0" smtClean="0"/>
              <a:t>Текст</a:t>
            </a:r>
            <a:endParaRPr dirty="0"/>
          </a:p>
        </p:txBody>
      </p:sp>
      <p:sp>
        <p:nvSpPr>
          <p:cNvPr id="282" name="Google Shape;282;p35"/>
          <p:cNvSpPr txBox="1">
            <a:spLocks noGrp="1"/>
          </p:cNvSpPr>
          <p:nvPr>
            <p:ph type="body" idx="4" hasCustomPrompt="1"/>
          </p:nvPr>
        </p:nvSpPr>
        <p:spPr>
          <a:xfrm>
            <a:off x="8222571" y="2095500"/>
            <a:ext cx="3529012" cy="133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/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500"/>
              <a:buNone/>
              <a:defRPr sz="8500" b="0">
                <a:solidFill>
                  <a:schemeClr val="accen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r>
              <a:rPr lang="ru-RU" dirty="0" smtClean="0"/>
              <a:t>Текст</a:t>
            </a:r>
            <a:endParaRPr dirty="0"/>
          </a:p>
        </p:txBody>
      </p:sp>
      <p:sp>
        <p:nvSpPr>
          <p:cNvPr id="284" name="Google Shape;284;p35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/>
              <a:t>‹#›</a:t>
            </a:fld>
            <a:endParaRPr/>
          </a:p>
        </p:txBody>
      </p:sp>
      <p:sp>
        <p:nvSpPr>
          <p:cNvPr id="285" name="Google Shape;285;p35"/>
          <p:cNvSpPr txBox="1">
            <a:spLocks noGrp="1"/>
          </p:cNvSpPr>
          <p:nvPr>
            <p:ph type="body" idx="5"/>
          </p:nvPr>
        </p:nvSpPr>
        <p:spPr>
          <a:xfrm>
            <a:off x="4327525" y="3599542"/>
            <a:ext cx="3533775" cy="25780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>
                <a:solidFill>
                  <a:srgbClr val="007CB8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>
                <a:solidFill>
                  <a:schemeClr val="dk1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>
                <a:solidFill>
                  <a:schemeClr val="dk1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86" name="Google Shape;286;p35"/>
          <p:cNvSpPr txBox="1">
            <a:spLocks noGrp="1"/>
          </p:cNvSpPr>
          <p:nvPr>
            <p:ph type="body" idx="6"/>
          </p:nvPr>
        </p:nvSpPr>
        <p:spPr>
          <a:xfrm>
            <a:off x="8222571" y="3599542"/>
            <a:ext cx="3529012" cy="25780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>
                <a:solidFill>
                  <a:schemeClr val="accen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>
                <a:solidFill>
                  <a:schemeClr val="dk1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>
                <a:solidFill>
                  <a:schemeClr val="dk1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>
                <a:solidFill>
                  <a:schemeClr val="dk1"/>
                </a:solidFill>
              </a:defRPr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87" name="Google Shape;287;p35"/>
          <p:cNvSpPr txBox="1">
            <a:spLocks noGrp="1"/>
          </p:cNvSpPr>
          <p:nvPr>
            <p:ph type="dt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8" name="Google Shape;288;p35"/>
          <p:cNvSpPr txBox="1">
            <a:spLocks noGrp="1"/>
          </p:cNvSpPr>
          <p:nvPr>
            <p:ph type="ftr" idx="11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 smtClean="0"/>
              <a:t>Нижний колонтитул</a:t>
            </a:r>
            <a:endParaRPr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42914" y="428624"/>
            <a:ext cx="9777412" cy="80486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490" y="289560"/>
            <a:ext cx="1450851" cy="1072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7585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1" preserve="1" userDrawn="1">
  <p:cSld name="2_Title Slide 1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829760"/>
            <a:ext cx="12192000" cy="4358640"/>
          </a:xfrm>
          <a:prstGeom prst="rect">
            <a:avLst/>
          </a:prstGeom>
        </p:spPr>
      </p:pic>
      <p:sp>
        <p:nvSpPr>
          <p:cNvPr id="44" name="Прямоугольник 43"/>
          <p:cNvSpPr/>
          <p:nvPr userDrawn="1"/>
        </p:nvSpPr>
        <p:spPr>
          <a:xfrm>
            <a:off x="0" y="4970834"/>
            <a:ext cx="12191999" cy="1108953"/>
          </a:xfrm>
          <a:prstGeom prst="rect">
            <a:avLst/>
          </a:pr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8185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27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Прямоугольник 48"/>
          <p:cNvSpPr/>
          <p:nvPr userDrawn="1"/>
        </p:nvSpPr>
        <p:spPr>
          <a:xfrm>
            <a:off x="1253141" y="6172200"/>
            <a:ext cx="1645200" cy="685800"/>
          </a:xfrm>
          <a:prstGeom prst="rect">
            <a:avLst/>
          </a:pr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Объект 2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1307938" y="2838688"/>
            <a:ext cx="9474362" cy="861774"/>
          </a:xfrm>
        </p:spPr>
        <p:txBody>
          <a:bodyPr vert="horz">
            <a:spAutoFit/>
          </a:bodyPr>
          <a:lstStyle>
            <a:lvl1pPr>
              <a:defRPr sz="280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itle of the presentation in several lines</a:t>
            </a:r>
            <a:r>
              <a:rPr lang="ru-RU" dirty="0" smtClean="0"/>
              <a:t>,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itle of the presentation in several lines</a:t>
            </a:r>
            <a:endParaRPr lang="ru-RU" dirty="0"/>
          </a:p>
        </p:txBody>
      </p:sp>
      <p:sp>
        <p:nvSpPr>
          <p:cNvPr id="46" name="Прямоугольник 45"/>
          <p:cNvSpPr/>
          <p:nvPr userDrawn="1"/>
        </p:nvSpPr>
        <p:spPr>
          <a:xfrm>
            <a:off x="1253141" y="0"/>
            <a:ext cx="1645200" cy="18192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олилиния 49"/>
          <p:cNvSpPr/>
          <p:nvPr userDrawn="1"/>
        </p:nvSpPr>
        <p:spPr>
          <a:xfrm>
            <a:off x="1251581" y="0"/>
            <a:ext cx="1646760" cy="610980"/>
          </a:xfrm>
          <a:custGeom>
            <a:avLst/>
            <a:gdLst>
              <a:gd name="connsiteX0" fmla="*/ 0 w 1646760"/>
              <a:gd name="connsiteY0" fmla="*/ 0 h 610980"/>
              <a:gd name="connsiteX1" fmla="*/ 1646760 w 1646760"/>
              <a:gd name="connsiteY1" fmla="*/ 0 h 610980"/>
              <a:gd name="connsiteX2" fmla="*/ 1646760 w 1646760"/>
              <a:gd name="connsiteY2" fmla="*/ 376993 h 610980"/>
              <a:gd name="connsiteX3" fmla="*/ 1467066 w 1646760"/>
              <a:gd name="connsiteY3" fmla="*/ 448281 h 610980"/>
              <a:gd name="connsiteX4" fmla="*/ 122592 w 1646760"/>
              <a:gd name="connsiteY4" fmla="*/ 597394 h 610980"/>
              <a:gd name="connsiteX5" fmla="*/ 0 w 1646760"/>
              <a:gd name="connsiteY5" fmla="*/ 578256 h 610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46760" h="610980">
                <a:moveTo>
                  <a:pt x="0" y="0"/>
                </a:moveTo>
                <a:lnTo>
                  <a:pt x="1646760" y="0"/>
                </a:lnTo>
                <a:lnTo>
                  <a:pt x="1646760" y="376993"/>
                </a:lnTo>
                <a:lnTo>
                  <a:pt x="1467066" y="448281"/>
                </a:lnTo>
                <a:cubicBezTo>
                  <a:pt x="1019671" y="598635"/>
                  <a:pt x="472471" y="634626"/>
                  <a:pt x="122592" y="597394"/>
                </a:cubicBezTo>
                <a:lnTo>
                  <a:pt x="0" y="578256"/>
                </a:lnTo>
                <a:close/>
              </a:path>
            </a:pathLst>
          </a:cu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2" name="Прямоугольник 51"/>
          <p:cNvSpPr/>
          <p:nvPr userDrawn="1"/>
        </p:nvSpPr>
        <p:spPr>
          <a:xfrm>
            <a:off x="10237627" y="6302602"/>
            <a:ext cx="1511461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r"/>
            <a:r>
              <a:rPr lang="en-US" sz="1400" dirty="0" smtClean="0">
                <a:solidFill>
                  <a:schemeClr val="bg2"/>
                </a:solidFill>
              </a:rPr>
              <a:t>EFSD.ORG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idx="10"/>
          </p:nvPr>
        </p:nvSpPr>
        <p:spPr>
          <a:xfrm>
            <a:off x="1353659" y="6341745"/>
            <a:ext cx="1463201" cy="137160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>
              <a:defRPr lang="ru-RU" sz="1400" dirty="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algn="l"/>
            <a:endParaRPr lang="ru-RU"/>
          </a:p>
        </p:txBody>
      </p:sp>
      <p:sp>
        <p:nvSpPr>
          <p:cNvPr id="55" name="Текст 52"/>
          <p:cNvSpPr>
            <a:spLocks noGrp="1"/>
          </p:cNvSpPr>
          <p:nvPr>
            <p:ph type="body" sz="quarter" idx="11" hasCustomPrompt="1"/>
          </p:nvPr>
        </p:nvSpPr>
        <p:spPr>
          <a:xfrm>
            <a:off x="1295399" y="5005745"/>
            <a:ext cx="9496425" cy="984885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Aft>
                <a:spcPts val="0"/>
              </a:spcAft>
              <a:defRPr lang="ru-RU" sz="1600" cap="none" baseline="0" smtClean="0">
                <a:solidFill>
                  <a:schemeClr val="bg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ru-RU" sz="1800" smtClean="0">
                <a:latin typeface="+mn-lt"/>
              </a:defRPr>
            </a:lvl2pPr>
            <a:lvl3pPr>
              <a:defRPr lang="ru-RU" sz="1800" smtClean="0">
                <a:latin typeface="+mn-lt"/>
              </a:defRPr>
            </a:lvl3pPr>
            <a:lvl4pPr>
              <a:defRPr lang="ru-RU" sz="1800" smtClean="0">
                <a:latin typeface="+mn-lt"/>
              </a:defRPr>
            </a:lvl4pPr>
            <a:lvl5pPr>
              <a:defRPr lang="ru-RU" sz="1800">
                <a:latin typeface="+mn-lt"/>
              </a:defRPr>
            </a:lvl5pPr>
          </a:lstStyle>
          <a:p>
            <a:pPr lvl="0">
              <a:spcAft>
                <a:spcPts val="0"/>
              </a:spcAft>
            </a:pPr>
            <a:r>
              <a:rPr lang="en-US" dirty="0" smtClean="0"/>
              <a:t>Name Surname </a:t>
            </a:r>
          </a:p>
          <a:p>
            <a:pPr lvl="0">
              <a:spcAft>
                <a:spcPts val="0"/>
              </a:spcAft>
            </a:pPr>
            <a:r>
              <a:rPr lang="en-US" dirty="0" smtClean="0"/>
              <a:t>Position</a:t>
            </a:r>
            <a:br>
              <a:rPr lang="en-US" dirty="0" smtClean="0"/>
            </a:br>
            <a:r>
              <a:rPr lang="en-US" dirty="0" smtClean="0"/>
              <a:t>Venue</a:t>
            </a:r>
            <a:br>
              <a:rPr lang="en-US" dirty="0" smtClean="0"/>
            </a:br>
            <a:r>
              <a:rPr lang="en-US" dirty="0" smtClean="0"/>
              <a:t>Event title</a:t>
            </a:r>
          </a:p>
        </p:txBody>
      </p:sp>
      <p:sp>
        <p:nvSpPr>
          <p:cNvPr id="51" name="Прямоугольник 50"/>
          <p:cNvSpPr/>
          <p:nvPr userDrawn="1"/>
        </p:nvSpPr>
        <p:spPr>
          <a:xfrm>
            <a:off x="1253141" y="1712595"/>
            <a:ext cx="1645200" cy="116205"/>
          </a:xfrm>
          <a:prstGeom prst="rect">
            <a:avLst/>
          </a:pr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2" name="Рисунок 8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860" y="315557"/>
            <a:ext cx="2008800" cy="1485151"/>
          </a:xfrm>
          <a:prstGeom prst="rect">
            <a:avLst/>
          </a:prstGeom>
        </p:spPr>
      </p:pic>
      <p:grpSp>
        <p:nvGrpSpPr>
          <p:cNvPr id="47" name="Группа 46"/>
          <p:cNvGrpSpPr>
            <a:grpSpLocks noChangeAspect="1"/>
          </p:cNvGrpSpPr>
          <p:nvPr userDrawn="1"/>
        </p:nvGrpSpPr>
        <p:grpSpPr>
          <a:xfrm>
            <a:off x="12365458" y="2"/>
            <a:ext cx="1080000" cy="6858030"/>
            <a:chOff x="12365458" y="0"/>
            <a:chExt cx="1080000" cy="6858000"/>
          </a:xfrm>
        </p:grpSpPr>
        <p:sp>
          <p:nvSpPr>
            <p:cNvPr id="83" name="Freeform 5"/>
            <p:cNvSpPr>
              <a:spLocks/>
            </p:cNvSpPr>
            <p:nvPr/>
          </p:nvSpPr>
          <p:spPr bwMode="auto">
            <a:xfrm>
              <a:off x="12365458" y="0"/>
              <a:ext cx="1080000" cy="6858000"/>
            </a:xfrm>
            <a:prstGeom prst="roundRect">
              <a:avLst>
                <a:gd name="adj" fmla="val 12318"/>
              </a:avLst>
            </a:prstGeom>
            <a:solidFill>
              <a:schemeClr val="bg1"/>
            </a:solidFill>
            <a:ln w="7938" cap="flat">
              <a:solidFill>
                <a:srgbClr val="FEFEF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84" name="Группа 83"/>
            <p:cNvGrpSpPr/>
            <p:nvPr userDrawn="1"/>
          </p:nvGrpSpPr>
          <p:grpSpPr>
            <a:xfrm>
              <a:off x="12365458" y="5764224"/>
              <a:ext cx="1080000" cy="838989"/>
              <a:chOff x="12365458" y="5764224"/>
              <a:chExt cx="1080000" cy="838989"/>
            </a:xfrm>
          </p:grpSpPr>
          <p:pic>
            <p:nvPicPr>
              <p:cNvPr id="108" name="Picture 30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08164" y="6094649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9" name="Picture 31"/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37017" y="6101736"/>
                <a:ext cx="152400" cy="123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0" name="Picture 32"/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125833" y="6321161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11" name="TextBox 110"/>
              <p:cNvSpPr txBox="1"/>
              <p:nvPr/>
            </p:nvSpPr>
            <p:spPr>
              <a:xfrm>
                <a:off x="12365458" y="5764224"/>
                <a:ext cx="1080000" cy="838989"/>
              </a:xfrm>
              <a:prstGeom prst="rect">
                <a:avLst/>
              </a:prstGeom>
              <a:noFill/>
            </p:spPr>
            <p:txBody>
              <a:bodyPr wrap="square" lIns="36000" tIns="0" rIns="3600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Select a text or graphic element.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, respectively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or .</a:t>
                </a:r>
              </a:p>
              <a:p>
                <a:pPr algn="ctr">
                  <a:lnSpc>
                    <a:spcPct val="90000"/>
                  </a:lnSpc>
                  <a:spcBef>
                    <a:spcPts val="300"/>
                  </a:spcBef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After selecting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the pipette tool          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 on the desired color on the palette.</a:t>
                </a:r>
                <a:endParaRPr lang="ru-RU" sz="800" dirty="0">
                  <a:solidFill>
                    <a:srgbClr val="30343F"/>
                  </a:solidFill>
                  <a:latin typeface="Source Sans Pro" panose="020B0503030403020204" pitchFamily="34" charset="0"/>
                </a:endParaRPr>
              </a:p>
            </p:txBody>
          </p:sp>
        </p:grpSp>
        <p:sp>
          <p:nvSpPr>
            <p:cNvPr id="85" name="TextBox 84"/>
            <p:cNvSpPr txBox="1"/>
            <p:nvPr/>
          </p:nvSpPr>
          <p:spPr>
            <a:xfrm>
              <a:off x="12368248" y="18288"/>
              <a:ext cx="1074420" cy="4606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Color palette </a:t>
              </a:r>
              <a:b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</a:b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for EFSR presentations</a:t>
              </a:r>
              <a:endParaRPr lang="ru-RU" sz="1000" dirty="0">
                <a:solidFill>
                  <a:srgbClr val="343467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12365458" y="640080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The main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7" name="Oval 8"/>
            <p:cNvSpPr>
              <a:spLocks noChangeArrowheads="1"/>
            </p:cNvSpPr>
            <p:nvPr/>
          </p:nvSpPr>
          <p:spPr bwMode="auto">
            <a:xfrm>
              <a:off x="12518642" y="970675"/>
              <a:ext cx="350838" cy="346075"/>
            </a:xfrm>
            <a:prstGeom prst="ellipse">
              <a:avLst/>
            </a:prstGeom>
            <a:solidFill>
              <a:srgbClr val="00589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Oval 9"/>
            <p:cNvSpPr>
              <a:spLocks noChangeArrowheads="1"/>
            </p:cNvSpPr>
            <p:nvPr/>
          </p:nvSpPr>
          <p:spPr bwMode="auto">
            <a:xfrm>
              <a:off x="12515726" y="1381725"/>
              <a:ext cx="350838" cy="346075"/>
            </a:xfrm>
            <a:prstGeom prst="ellipse">
              <a:avLst/>
            </a:prstGeom>
            <a:solidFill>
              <a:srgbClr val="00B1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Oval 10"/>
            <p:cNvSpPr>
              <a:spLocks noChangeArrowheads="1"/>
            </p:cNvSpPr>
            <p:nvPr/>
          </p:nvSpPr>
          <p:spPr bwMode="auto">
            <a:xfrm>
              <a:off x="12515726" y="2602206"/>
              <a:ext cx="350838" cy="346075"/>
            </a:xfrm>
            <a:prstGeom prst="ellipse">
              <a:avLst/>
            </a:prstGeom>
            <a:solidFill>
              <a:srgbClr val="C2BFB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Oval 11"/>
            <p:cNvSpPr>
              <a:spLocks noChangeAspect="1" noChangeArrowheads="1"/>
            </p:cNvSpPr>
            <p:nvPr/>
          </p:nvSpPr>
          <p:spPr bwMode="auto">
            <a:xfrm>
              <a:off x="12515725" y="1780075"/>
              <a:ext cx="793329" cy="792000"/>
            </a:xfrm>
            <a:prstGeom prst="ellipse">
              <a:avLst/>
            </a:prstGeom>
            <a:solidFill>
              <a:srgbClr val="343467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lvl="0"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FFFFFF"/>
                  </a:solidFill>
                  <a:latin typeface="Source Sans Pro" panose="020B0503030403020204" pitchFamily="34" charset="0"/>
                </a:rPr>
                <a:t>Base color</a:t>
              </a:r>
              <a:endParaRPr lang="ru-RU" sz="1000" dirty="0">
                <a:solidFill>
                  <a:srgbClr val="FFFFF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91" name="Oval 13"/>
            <p:cNvSpPr>
              <a:spLocks noChangeArrowheads="1"/>
            </p:cNvSpPr>
            <p:nvPr/>
          </p:nvSpPr>
          <p:spPr bwMode="auto">
            <a:xfrm>
              <a:off x="12515726" y="2978412"/>
              <a:ext cx="350838" cy="346075"/>
            </a:xfrm>
            <a:prstGeom prst="ellipse">
              <a:avLst/>
            </a:prstGeom>
            <a:solidFill>
              <a:srgbClr val="30343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Oval 14"/>
            <p:cNvSpPr>
              <a:spLocks noChangeArrowheads="1"/>
            </p:cNvSpPr>
            <p:nvPr/>
          </p:nvSpPr>
          <p:spPr bwMode="auto">
            <a:xfrm>
              <a:off x="12515726" y="3744823"/>
              <a:ext cx="350838" cy="346075"/>
            </a:xfrm>
            <a:prstGeom prst="ellipse">
              <a:avLst/>
            </a:prstGeom>
            <a:solidFill>
              <a:srgbClr val="D034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Oval 15"/>
            <p:cNvSpPr>
              <a:spLocks noChangeArrowheads="1"/>
            </p:cNvSpPr>
            <p:nvPr/>
          </p:nvSpPr>
          <p:spPr bwMode="auto">
            <a:xfrm>
              <a:off x="12949114" y="975437"/>
              <a:ext cx="350838" cy="346075"/>
            </a:xfrm>
            <a:prstGeom prst="ellipse">
              <a:avLst/>
            </a:prstGeom>
            <a:solidFill>
              <a:srgbClr val="007CB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Oval 16"/>
            <p:cNvSpPr>
              <a:spLocks noChangeArrowheads="1"/>
            </p:cNvSpPr>
            <p:nvPr/>
          </p:nvSpPr>
          <p:spPr bwMode="auto">
            <a:xfrm>
              <a:off x="12949114" y="1381725"/>
              <a:ext cx="350838" cy="346075"/>
            </a:xfrm>
            <a:prstGeom prst="ellipse">
              <a:avLst/>
            </a:prstGeom>
            <a:solidFill>
              <a:srgbClr val="B4DCE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Oval 17"/>
            <p:cNvSpPr>
              <a:spLocks noChangeArrowheads="1"/>
            </p:cNvSpPr>
            <p:nvPr/>
          </p:nvSpPr>
          <p:spPr bwMode="auto">
            <a:xfrm>
              <a:off x="12949114" y="2602206"/>
              <a:ext cx="350838" cy="346075"/>
            </a:xfrm>
            <a:prstGeom prst="ellipse">
              <a:avLst/>
            </a:prstGeom>
            <a:solidFill>
              <a:srgbClr val="84898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Oval 20"/>
            <p:cNvSpPr>
              <a:spLocks noChangeArrowheads="1"/>
            </p:cNvSpPr>
            <p:nvPr/>
          </p:nvSpPr>
          <p:spPr bwMode="auto">
            <a:xfrm>
              <a:off x="12949114" y="2978412"/>
              <a:ext cx="350838" cy="346075"/>
            </a:xfrm>
            <a:prstGeom prst="ellipse">
              <a:avLst/>
            </a:prstGeom>
            <a:solidFill>
              <a:srgbClr val="3738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Oval 21"/>
            <p:cNvSpPr>
              <a:spLocks noChangeArrowheads="1"/>
            </p:cNvSpPr>
            <p:nvPr/>
          </p:nvSpPr>
          <p:spPr bwMode="auto">
            <a:xfrm>
              <a:off x="12949114" y="3744823"/>
              <a:ext cx="350838" cy="346075"/>
            </a:xfrm>
            <a:prstGeom prst="ellipse">
              <a:avLst/>
            </a:prstGeom>
            <a:solidFill>
              <a:srgbClr val="FDAC5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Oval 22"/>
            <p:cNvSpPr>
              <a:spLocks noChangeArrowheads="1"/>
            </p:cNvSpPr>
            <p:nvPr/>
          </p:nvSpPr>
          <p:spPr bwMode="auto">
            <a:xfrm>
              <a:off x="12515726" y="4162223"/>
              <a:ext cx="350838" cy="346075"/>
            </a:xfrm>
            <a:prstGeom prst="ellipse">
              <a:avLst/>
            </a:prstGeom>
            <a:solidFill>
              <a:srgbClr val="F9E54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Oval 23"/>
            <p:cNvSpPr>
              <a:spLocks noChangeArrowheads="1"/>
            </p:cNvSpPr>
            <p:nvPr/>
          </p:nvSpPr>
          <p:spPr bwMode="auto">
            <a:xfrm>
              <a:off x="12949114" y="4162223"/>
              <a:ext cx="350838" cy="346075"/>
            </a:xfrm>
            <a:prstGeom prst="ellipse">
              <a:avLst/>
            </a:prstGeom>
            <a:solidFill>
              <a:srgbClr val="C3D3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Oval 24"/>
            <p:cNvSpPr>
              <a:spLocks noChangeArrowheads="1"/>
            </p:cNvSpPr>
            <p:nvPr/>
          </p:nvSpPr>
          <p:spPr bwMode="auto">
            <a:xfrm>
              <a:off x="12515726" y="4551048"/>
              <a:ext cx="350838" cy="346075"/>
            </a:xfrm>
            <a:prstGeom prst="ellipse">
              <a:avLst/>
            </a:prstGeom>
            <a:solidFill>
              <a:srgbClr val="008C4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Oval 25"/>
            <p:cNvSpPr>
              <a:spLocks noChangeArrowheads="1"/>
            </p:cNvSpPr>
            <p:nvPr/>
          </p:nvSpPr>
          <p:spPr bwMode="auto">
            <a:xfrm>
              <a:off x="12949114" y="4551048"/>
              <a:ext cx="350838" cy="346075"/>
            </a:xfrm>
            <a:prstGeom prst="ellipse">
              <a:avLst/>
            </a:prstGeom>
            <a:solidFill>
              <a:srgbClr val="1D428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Line 33"/>
            <p:cNvSpPr>
              <a:spLocks noChangeShapeType="1"/>
            </p:cNvSpPr>
            <p:nvPr/>
          </p:nvSpPr>
          <p:spPr bwMode="auto">
            <a:xfrm>
              <a:off x="12501439" y="342805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Oval 22"/>
            <p:cNvSpPr>
              <a:spLocks noChangeArrowheads="1"/>
            </p:cNvSpPr>
            <p:nvPr/>
          </p:nvSpPr>
          <p:spPr bwMode="auto">
            <a:xfrm>
              <a:off x="12515726" y="4968448"/>
              <a:ext cx="350838" cy="346075"/>
            </a:xfrm>
            <a:prstGeom prst="ellipse">
              <a:avLst/>
            </a:prstGeom>
            <a:solidFill>
              <a:srgbClr val="883F8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Oval 23"/>
            <p:cNvSpPr>
              <a:spLocks noChangeArrowheads="1"/>
            </p:cNvSpPr>
            <p:nvPr/>
          </p:nvSpPr>
          <p:spPr bwMode="auto">
            <a:xfrm>
              <a:off x="12949114" y="4968448"/>
              <a:ext cx="350838" cy="346075"/>
            </a:xfrm>
            <a:prstGeom prst="ellipse">
              <a:avLst/>
            </a:prstGeom>
            <a:solidFill>
              <a:srgbClr val="919BC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Oval 24"/>
            <p:cNvSpPr>
              <a:spLocks noChangeArrowheads="1"/>
            </p:cNvSpPr>
            <p:nvPr/>
          </p:nvSpPr>
          <p:spPr bwMode="auto">
            <a:xfrm>
              <a:off x="12732420" y="5357273"/>
              <a:ext cx="350838" cy="346075"/>
            </a:xfrm>
            <a:prstGeom prst="ellipse">
              <a:avLst/>
            </a:prstGeom>
            <a:solidFill>
              <a:srgbClr val="856A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Line 33"/>
            <p:cNvSpPr>
              <a:spLocks noChangeShapeType="1"/>
            </p:cNvSpPr>
            <p:nvPr/>
          </p:nvSpPr>
          <p:spPr bwMode="auto">
            <a:xfrm>
              <a:off x="12501439" y="66541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12365458" y="3421008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Additional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5333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1" preserve="1" userDrawn="1">
  <p:cSld name="2_Title Slide 1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Рисунок 4"/>
          <p:cNvSpPr>
            <a:spLocks noGrp="1"/>
          </p:cNvSpPr>
          <p:nvPr>
            <p:ph type="pic" sz="quarter" idx="12"/>
          </p:nvPr>
        </p:nvSpPr>
        <p:spPr>
          <a:xfrm>
            <a:off x="0" y="1828800"/>
            <a:ext cx="12192000" cy="4343400"/>
          </a:xfrm>
          <a:solidFill>
            <a:schemeClr val="accent4"/>
          </a:solidFill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3559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5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Прямоугольник 48"/>
          <p:cNvSpPr/>
          <p:nvPr userDrawn="1"/>
        </p:nvSpPr>
        <p:spPr>
          <a:xfrm>
            <a:off x="1253141" y="6172200"/>
            <a:ext cx="1645200" cy="685800"/>
          </a:xfrm>
          <a:prstGeom prst="rect">
            <a:avLst/>
          </a:pr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Объект 2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1307938" y="2838688"/>
            <a:ext cx="9579138" cy="861774"/>
          </a:xfrm>
        </p:spPr>
        <p:txBody>
          <a:bodyPr vert="horz" wrap="square">
            <a:spAutoFit/>
          </a:bodyPr>
          <a:lstStyle>
            <a:lvl1pPr>
              <a:defRPr sz="280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itle of the presentation in several lines</a:t>
            </a:r>
            <a:r>
              <a:rPr lang="ru-RU" dirty="0" smtClean="0"/>
              <a:t>,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itle of the presentation in several lines</a:t>
            </a:r>
            <a:endParaRPr lang="ru-RU" dirty="0"/>
          </a:p>
        </p:txBody>
      </p:sp>
      <p:sp>
        <p:nvSpPr>
          <p:cNvPr id="46" name="Прямоугольник 45"/>
          <p:cNvSpPr/>
          <p:nvPr userDrawn="1"/>
        </p:nvSpPr>
        <p:spPr>
          <a:xfrm>
            <a:off x="1253141" y="0"/>
            <a:ext cx="1645200" cy="18192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олилиния 49"/>
          <p:cNvSpPr/>
          <p:nvPr userDrawn="1"/>
        </p:nvSpPr>
        <p:spPr>
          <a:xfrm>
            <a:off x="1251581" y="0"/>
            <a:ext cx="1646760" cy="610980"/>
          </a:xfrm>
          <a:custGeom>
            <a:avLst/>
            <a:gdLst>
              <a:gd name="connsiteX0" fmla="*/ 0 w 1646760"/>
              <a:gd name="connsiteY0" fmla="*/ 0 h 610980"/>
              <a:gd name="connsiteX1" fmla="*/ 1646760 w 1646760"/>
              <a:gd name="connsiteY1" fmla="*/ 0 h 610980"/>
              <a:gd name="connsiteX2" fmla="*/ 1646760 w 1646760"/>
              <a:gd name="connsiteY2" fmla="*/ 376993 h 610980"/>
              <a:gd name="connsiteX3" fmla="*/ 1467066 w 1646760"/>
              <a:gd name="connsiteY3" fmla="*/ 448281 h 610980"/>
              <a:gd name="connsiteX4" fmla="*/ 122592 w 1646760"/>
              <a:gd name="connsiteY4" fmla="*/ 597394 h 610980"/>
              <a:gd name="connsiteX5" fmla="*/ 0 w 1646760"/>
              <a:gd name="connsiteY5" fmla="*/ 578256 h 610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46760" h="610980">
                <a:moveTo>
                  <a:pt x="0" y="0"/>
                </a:moveTo>
                <a:lnTo>
                  <a:pt x="1646760" y="0"/>
                </a:lnTo>
                <a:lnTo>
                  <a:pt x="1646760" y="376993"/>
                </a:lnTo>
                <a:lnTo>
                  <a:pt x="1467066" y="448281"/>
                </a:lnTo>
                <a:cubicBezTo>
                  <a:pt x="1019671" y="598635"/>
                  <a:pt x="472471" y="634626"/>
                  <a:pt x="122592" y="597394"/>
                </a:cubicBezTo>
                <a:lnTo>
                  <a:pt x="0" y="578256"/>
                </a:lnTo>
                <a:close/>
              </a:path>
            </a:pathLst>
          </a:cu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2" name="Прямоугольник 51"/>
          <p:cNvSpPr/>
          <p:nvPr userDrawn="1"/>
        </p:nvSpPr>
        <p:spPr>
          <a:xfrm>
            <a:off x="10237627" y="6302602"/>
            <a:ext cx="1511461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r"/>
            <a:r>
              <a:rPr lang="en-US" sz="1400" dirty="0" smtClean="0">
                <a:solidFill>
                  <a:schemeClr val="bg2"/>
                </a:solidFill>
                <a:latin typeface="+mn-lt"/>
              </a:rPr>
              <a:t>EFSD.ORG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idx="10"/>
          </p:nvPr>
        </p:nvSpPr>
        <p:spPr>
          <a:xfrm>
            <a:off x="1353659" y="6341745"/>
            <a:ext cx="1463201" cy="137160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>
              <a:defRPr lang="ru-RU" sz="1400" dirty="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algn="l"/>
            <a:endParaRPr lang="ru-RU"/>
          </a:p>
        </p:txBody>
      </p:sp>
      <p:sp>
        <p:nvSpPr>
          <p:cNvPr id="53" name="Текст 52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970834"/>
            <a:ext cx="12193200" cy="1108800"/>
          </a:xfrm>
          <a:solidFill>
            <a:schemeClr val="bg1">
              <a:alpha val="60000"/>
            </a:schemeClr>
          </a:solidFill>
        </p:spPr>
        <p:txBody>
          <a:bodyPr vert="horz" wrap="square" lIns="1296000" tIns="0" rIns="0" bIns="90000" rtlCol="0" anchor="b">
            <a:noAutofit/>
          </a:bodyPr>
          <a:lstStyle>
            <a:lvl1pPr>
              <a:spcAft>
                <a:spcPts val="0"/>
              </a:spcAft>
              <a:defRPr lang="ru-RU" sz="1600" cap="none" baseline="0" smtClean="0">
                <a:solidFill>
                  <a:schemeClr val="bg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ru-RU" sz="1800" smtClean="0">
                <a:latin typeface="+mn-lt"/>
              </a:defRPr>
            </a:lvl2pPr>
            <a:lvl3pPr>
              <a:defRPr lang="ru-RU" sz="1800" smtClean="0">
                <a:latin typeface="+mn-lt"/>
              </a:defRPr>
            </a:lvl3pPr>
            <a:lvl4pPr>
              <a:defRPr lang="ru-RU" sz="1800" smtClean="0">
                <a:latin typeface="+mn-lt"/>
              </a:defRPr>
            </a:lvl4pPr>
            <a:lvl5pPr>
              <a:defRPr lang="ru-RU" sz="1800">
                <a:latin typeface="+mn-lt"/>
              </a:defRPr>
            </a:lvl5pPr>
          </a:lstStyle>
          <a:p>
            <a:pPr lvl="0">
              <a:spcAft>
                <a:spcPts val="0"/>
              </a:spcAft>
            </a:pPr>
            <a:r>
              <a:rPr lang="en-US" dirty="0" smtClean="0"/>
              <a:t>Name Surname </a:t>
            </a:r>
          </a:p>
          <a:p>
            <a:pPr lvl="0">
              <a:spcAft>
                <a:spcPts val="0"/>
              </a:spcAft>
            </a:pPr>
            <a:r>
              <a:rPr lang="en-US" dirty="0" smtClean="0"/>
              <a:t>Position</a:t>
            </a:r>
            <a:br>
              <a:rPr lang="en-US" dirty="0" smtClean="0"/>
            </a:br>
            <a:r>
              <a:rPr lang="en-US" dirty="0" smtClean="0"/>
              <a:t>Venue</a:t>
            </a:r>
            <a:br>
              <a:rPr lang="en-US" dirty="0" smtClean="0"/>
            </a:br>
            <a:r>
              <a:rPr lang="en-US" dirty="0" smtClean="0"/>
              <a:t>Event title</a:t>
            </a:r>
          </a:p>
        </p:txBody>
      </p:sp>
      <p:sp>
        <p:nvSpPr>
          <p:cNvPr id="48" name="Прямоугольник 47"/>
          <p:cNvSpPr/>
          <p:nvPr userDrawn="1"/>
        </p:nvSpPr>
        <p:spPr>
          <a:xfrm>
            <a:off x="1253141" y="1712595"/>
            <a:ext cx="1645200" cy="116205"/>
          </a:xfrm>
          <a:prstGeom prst="rect">
            <a:avLst/>
          </a:pr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4" name="Рисунок 4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860" y="315557"/>
            <a:ext cx="2008800" cy="1485151"/>
          </a:xfrm>
          <a:prstGeom prst="rect">
            <a:avLst/>
          </a:prstGeom>
        </p:spPr>
      </p:pic>
      <p:grpSp>
        <p:nvGrpSpPr>
          <p:cNvPr id="47" name="Группа 46"/>
          <p:cNvGrpSpPr>
            <a:grpSpLocks noChangeAspect="1"/>
          </p:cNvGrpSpPr>
          <p:nvPr userDrawn="1"/>
        </p:nvGrpSpPr>
        <p:grpSpPr>
          <a:xfrm>
            <a:off x="12365458" y="2"/>
            <a:ext cx="1080000" cy="6858030"/>
            <a:chOff x="12365458" y="0"/>
            <a:chExt cx="1080000" cy="6858000"/>
          </a:xfrm>
        </p:grpSpPr>
        <p:sp>
          <p:nvSpPr>
            <p:cNvPr id="83" name="Freeform 5"/>
            <p:cNvSpPr>
              <a:spLocks/>
            </p:cNvSpPr>
            <p:nvPr/>
          </p:nvSpPr>
          <p:spPr bwMode="auto">
            <a:xfrm>
              <a:off x="12365458" y="0"/>
              <a:ext cx="1080000" cy="6858000"/>
            </a:xfrm>
            <a:prstGeom prst="roundRect">
              <a:avLst>
                <a:gd name="adj" fmla="val 12318"/>
              </a:avLst>
            </a:prstGeom>
            <a:solidFill>
              <a:schemeClr val="bg1"/>
            </a:solidFill>
            <a:ln w="7938" cap="flat">
              <a:solidFill>
                <a:srgbClr val="FEFEF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84" name="Группа 83"/>
            <p:cNvGrpSpPr/>
            <p:nvPr userDrawn="1"/>
          </p:nvGrpSpPr>
          <p:grpSpPr>
            <a:xfrm>
              <a:off x="12365458" y="5764224"/>
              <a:ext cx="1080000" cy="838989"/>
              <a:chOff x="12365458" y="5764224"/>
              <a:chExt cx="1080000" cy="838989"/>
            </a:xfrm>
          </p:grpSpPr>
          <p:pic>
            <p:nvPicPr>
              <p:cNvPr id="108" name="Picture 30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08164" y="6094649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9" name="Picture 31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37017" y="6101736"/>
                <a:ext cx="152400" cy="123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0" name="Picture 32"/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125833" y="6321161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11" name="TextBox 110"/>
              <p:cNvSpPr txBox="1"/>
              <p:nvPr/>
            </p:nvSpPr>
            <p:spPr>
              <a:xfrm>
                <a:off x="12365458" y="5764224"/>
                <a:ext cx="1080000" cy="838989"/>
              </a:xfrm>
              <a:prstGeom prst="rect">
                <a:avLst/>
              </a:prstGeom>
              <a:noFill/>
            </p:spPr>
            <p:txBody>
              <a:bodyPr wrap="square" lIns="36000" tIns="0" rIns="3600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Select a text or graphic element.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, respectively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or .</a:t>
                </a:r>
              </a:p>
              <a:p>
                <a:pPr algn="ctr">
                  <a:lnSpc>
                    <a:spcPct val="90000"/>
                  </a:lnSpc>
                  <a:spcBef>
                    <a:spcPts val="300"/>
                  </a:spcBef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After selecting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the pipette tool          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 on the desired color on the palette.</a:t>
                </a:r>
                <a:endParaRPr lang="ru-RU" sz="800" dirty="0">
                  <a:solidFill>
                    <a:srgbClr val="30343F"/>
                  </a:solidFill>
                  <a:latin typeface="Source Sans Pro" panose="020B0503030403020204" pitchFamily="34" charset="0"/>
                </a:endParaRPr>
              </a:p>
            </p:txBody>
          </p:sp>
        </p:grpSp>
        <p:sp>
          <p:nvSpPr>
            <p:cNvPr id="85" name="TextBox 84"/>
            <p:cNvSpPr txBox="1"/>
            <p:nvPr/>
          </p:nvSpPr>
          <p:spPr>
            <a:xfrm>
              <a:off x="12368248" y="18288"/>
              <a:ext cx="1074420" cy="4606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Color palette </a:t>
              </a:r>
              <a:b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</a:b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for EFSR presentations</a:t>
              </a:r>
              <a:endParaRPr lang="ru-RU" sz="1000" dirty="0">
                <a:solidFill>
                  <a:srgbClr val="343467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12365458" y="640080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The main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7" name="Oval 8"/>
            <p:cNvSpPr>
              <a:spLocks noChangeArrowheads="1"/>
            </p:cNvSpPr>
            <p:nvPr/>
          </p:nvSpPr>
          <p:spPr bwMode="auto">
            <a:xfrm>
              <a:off x="12518642" y="970675"/>
              <a:ext cx="350838" cy="346075"/>
            </a:xfrm>
            <a:prstGeom prst="ellipse">
              <a:avLst/>
            </a:prstGeom>
            <a:solidFill>
              <a:srgbClr val="00589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Oval 9"/>
            <p:cNvSpPr>
              <a:spLocks noChangeArrowheads="1"/>
            </p:cNvSpPr>
            <p:nvPr/>
          </p:nvSpPr>
          <p:spPr bwMode="auto">
            <a:xfrm>
              <a:off x="12515726" y="1381725"/>
              <a:ext cx="350838" cy="346075"/>
            </a:xfrm>
            <a:prstGeom prst="ellipse">
              <a:avLst/>
            </a:prstGeom>
            <a:solidFill>
              <a:srgbClr val="00B1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Oval 10"/>
            <p:cNvSpPr>
              <a:spLocks noChangeArrowheads="1"/>
            </p:cNvSpPr>
            <p:nvPr/>
          </p:nvSpPr>
          <p:spPr bwMode="auto">
            <a:xfrm>
              <a:off x="12515726" y="2602206"/>
              <a:ext cx="350838" cy="346075"/>
            </a:xfrm>
            <a:prstGeom prst="ellipse">
              <a:avLst/>
            </a:prstGeom>
            <a:solidFill>
              <a:srgbClr val="C2BFB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Oval 11"/>
            <p:cNvSpPr>
              <a:spLocks noChangeAspect="1" noChangeArrowheads="1"/>
            </p:cNvSpPr>
            <p:nvPr/>
          </p:nvSpPr>
          <p:spPr bwMode="auto">
            <a:xfrm>
              <a:off x="12515725" y="1780075"/>
              <a:ext cx="793329" cy="792000"/>
            </a:xfrm>
            <a:prstGeom prst="ellipse">
              <a:avLst/>
            </a:prstGeom>
            <a:solidFill>
              <a:srgbClr val="343467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lvl="0"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FFFFFF"/>
                  </a:solidFill>
                  <a:latin typeface="Source Sans Pro" panose="020B0503030403020204" pitchFamily="34" charset="0"/>
                </a:rPr>
                <a:t>Base color</a:t>
              </a:r>
              <a:endParaRPr lang="ru-RU" sz="1000" dirty="0">
                <a:solidFill>
                  <a:srgbClr val="FFFFF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91" name="Oval 13"/>
            <p:cNvSpPr>
              <a:spLocks noChangeArrowheads="1"/>
            </p:cNvSpPr>
            <p:nvPr/>
          </p:nvSpPr>
          <p:spPr bwMode="auto">
            <a:xfrm>
              <a:off x="12515726" y="2978412"/>
              <a:ext cx="350838" cy="346075"/>
            </a:xfrm>
            <a:prstGeom prst="ellipse">
              <a:avLst/>
            </a:prstGeom>
            <a:solidFill>
              <a:srgbClr val="30343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Oval 14"/>
            <p:cNvSpPr>
              <a:spLocks noChangeArrowheads="1"/>
            </p:cNvSpPr>
            <p:nvPr/>
          </p:nvSpPr>
          <p:spPr bwMode="auto">
            <a:xfrm>
              <a:off x="12515726" y="3744823"/>
              <a:ext cx="350838" cy="346075"/>
            </a:xfrm>
            <a:prstGeom prst="ellipse">
              <a:avLst/>
            </a:prstGeom>
            <a:solidFill>
              <a:srgbClr val="D034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Oval 15"/>
            <p:cNvSpPr>
              <a:spLocks noChangeArrowheads="1"/>
            </p:cNvSpPr>
            <p:nvPr/>
          </p:nvSpPr>
          <p:spPr bwMode="auto">
            <a:xfrm>
              <a:off x="12949114" y="975437"/>
              <a:ext cx="350838" cy="346075"/>
            </a:xfrm>
            <a:prstGeom prst="ellipse">
              <a:avLst/>
            </a:prstGeom>
            <a:solidFill>
              <a:srgbClr val="007CB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Oval 16"/>
            <p:cNvSpPr>
              <a:spLocks noChangeArrowheads="1"/>
            </p:cNvSpPr>
            <p:nvPr/>
          </p:nvSpPr>
          <p:spPr bwMode="auto">
            <a:xfrm>
              <a:off x="12949114" y="1381725"/>
              <a:ext cx="350838" cy="346075"/>
            </a:xfrm>
            <a:prstGeom prst="ellipse">
              <a:avLst/>
            </a:prstGeom>
            <a:solidFill>
              <a:srgbClr val="B4DCE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Oval 17"/>
            <p:cNvSpPr>
              <a:spLocks noChangeArrowheads="1"/>
            </p:cNvSpPr>
            <p:nvPr/>
          </p:nvSpPr>
          <p:spPr bwMode="auto">
            <a:xfrm>
              <a:off x="12949114" y="2602206"/>
              <a:ext cx="350838" cy="346075"/>
            </a:xfrm>
            <a:prstGeom prst="ellipse">
              <a:avLst/>
            </a:prstGeom>
            <a:solidFill>
              <a:srgbClr val="84898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Oval 20"/>
            <p:cNvSpPr>
              <a:spLocks noChangeArrowheads="1"/>
            </p:cNvSpPr>
            <p:nvPr/>
          </p:nvSpPr>
          <p:spPr bwMode="auto">
            <a:xfrm>
              <a:off x="12949114" y="2978412"/>
              <a:ext cx="350838" cy="346075"/>
            </a:xfrm>
            <a:prstGeom prst="ellipse">
              <a:avLst/>
            </a:prstGeom>
            <a:solidFill>
              <a:srgbClr val="3738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Oval 21"/>
            <p:cNvSpPr>
              <a:spLocks noChangeArrowheads="1"/>
            </p:cNvSpPr>
            <p:nvPr/>
          </p:nvSpPr>
          <p:spPr bwMode="auto">
            <a:xfrm>
              <a:off x="12949114" y="3744823"/>
              <a:ext cx="350838" cy="346075"/>
            </a:xfrm>
            <a:prstGeom prst="ellipse">
              <a:avLst/>
            </a:prstGeom>
            <a:solidFill>
              <a:srgbClr val="FDAC5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Oval 22"/>
            <p:cNvSpPr>
              <a:spLocks noChangeArrowheads="1"/>
            </p:cNvSpPr>
            <p:nvPr/>
          </p:nvSpPr>
          <p:spPr bwMode="auto">
            <a:xfrm>
              <a:off x="12515726" y="4162223"/>
              <a:ext cx="350838" cy="346075"/>
            </a:xfrm>
            <a:prstGeom prst="ellipse">
              <a:avLst/>
            </a:prstGeom>
            <a:solidFill>
              <a:srgbClr val="F9E54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Oval 23"/>
            <p:cNvSpPr>
              <a:spLocks noChangeArrowheads="1"/>
            </p:cNvSpPr>
            <p:nvPr/>
          </p:nvSpPr>
          <p:spPr bwMode="auto">
            <a:xfrm>
              <a:off x="12949114" y="4162223"/>
              <a:ext cx="350838" cy="346075"/>
            </a:xfrm>
            <a:prstGeom prst="ellipse">
              <a:avLst/>
            </a:prstGeom>
            <a:solidFill>
              <a:srgbClr val="C3D3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Oval 24"/>
            <p:cNvSpPr>
              <a:spLocks noChangeArrowheads="1"/>
            </p:cNvSpPr>
            <p:nvPr/>
          </p:nvSpPr>
          <p:spPr bwMode="auto">
            <a:xfrm>
              <a:off x="12515726" y="4551048"/>
              <a:ext cx="350838" cy="346075"/>
            </a:xfrm>
            <a:prstGeom prst="ellipse">
              <a:avLst/>
            </a:prstGeom>
            <a:solidFill>
              <a:srgbClr val="008C4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Oval 25"/>
            <p:cNvSpPr>
              <a:spLocks noChangeArrowheads="1"/>
            </p:cNvSpPr>
            <p:nvPr/>
          </p:nvSpPr>
          <p:spPr bwMode="auto">
            <a:xfrm>
              <a:off x="12949114" y="4551048"/>
              <a:ext cx="350838" cy="346075"/>
            </a:xfrm>
            <a:prstGeom prst="ellipse">
              <a:avLst/>
            </a:prstGeom>
            <a:solidFill>
              <a:srgbClr val="1D428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Line 33"/>
            <p:cNvSpPr>
              <a:spLocks noChangeShapeType="1"/>
            </p:cNvSpPr>
            <p:nvPr/>
          </p:nvSpPr>
          <p:spPr bwMode="auto">
            <a:xfrm>
              <a:off x="12501439" y="342805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3" name="Oval 22"/>
            <p:cNvSpPr>
              <a:spLocks noChangeArrowheads="1"/>
            </p:cNvSpPr>
            <p:nvPr/>
          </p:nvSpPr>
          <p:spPr bwMode="auto">
            <a:xfrm>
              <a:off x="12515726" y="4968448"/>
              <a:ext cx="350838" cy="346075"/>
            </a:xfrm>
            <a:prstGeom prst="ellipse">
              <a:avLst/>
            </a:prstGeom>
            <a:solidFill>
              <a:srgbClr val="883F8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Oval 23"/>
            <p:cNvSpPr>
              <a:spLocks noChangeArrowheads="1"/>
            </p:cNvSpPr>
            <p:nvPr/>
          </p:nvSpPr>
          <p:spPr bwMode="auto">
            <a:xfrm>
              <a:off x="12949114" y="4968448"/>
              <a:ext cx="350838" cy="346075"/>
            </a:xfrm>
            <a:prstGeom prst="ellipse">
              <a:avLst/>
            </a:prstGeom>
            <a:solidFill>
              <a:srgbClr val="919BC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Oval 24"/>
            <p:cNvSpPr>
              <a:spLocks noChangeArrowheads="1"/>
            </p:cNvSpPr>
            <p:nvPr/>
          </p:nvSpPr>
          <p:spPr bwMode="auto">
            <a:xfrm>
              <a:off x="12732420" y="5357273"/>
              <a:ext cx="350838" cy="346075"/>
            </a:xfrm>
            <a:prstGeom prst="ellipse">
              <a:avLst/>
            </a:prstGeom>
            <a:solidFill>
              <a:srgbClr val="856A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Line 33"/>
            <p:cNvSpPr>
              <a:spLocks noChangeShapeType="1"/>
            </p:cNvSpPr>
            <p:nvPr/>
          </p:nvSpPr>
          <p:spPr bwMode="auto">
            <a:xfrm>
              <a:off x="12501439" y="66541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12365458" y="3421008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Additional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512911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1" preserve="1" userDrawn="1">
  <p:cSld name="2_Title Slide 1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1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2590800"/>
            <a:ext cx="12192000" cy="4267200"/>
          </a:xfrm>
          <a:prstGeom prst="rect">
            <a:avLst/>
          </a:prstGeom>
        </p:spPr>
      </p:pic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6876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75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Объект 2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9" name="Прямоугольник 98"/>
          <p:cNvSpPr/>
          <p:nvPr userDrawn="1"/>
        </p:nvSpPr>
        <p:spPr>
          <a:xfrm>
            <a:off x="1253141" y="5590572"/>
            <a:ext cx="1645200" cy="1267428"/>
          </a:xfrm>
          <a:prstGeom prst="rect">
            <a:avLst/>
          </a:pr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9" name="Полилиния 88"/>
          <p:cNvSpPr/>
          <p:nvPr userDrawn="1"/>
        </p:nvSpPr>
        <p:spPr>
          <a:xfrm>
            <a:off x="0" y="390525"/>
            <a:ext cx="12192000" cy="4081010"/>
          </a:xfrm>
          <a:custGeom>
            <a:avLst/>
            <a:gdLst>
              <a:gd name="connsiteX0" fmla="*/ 0 w 12192000"/>
              <a:gd name="connsiteY0" fmla="*/ 0 h 4081010"/>
              <a:gd name="connsiteX1" fmla="*/ 12192000 w 12192000"/>
              <a:gd name="connsiteY1" fmla="*/ 0 h 4081010"/>
              <a:gd name="connsiteX2" fmla="*/ 12192000 w 12192000"/>
              <a:gd name="connsiteY2" fmla="*/ 2348656 h 4081010"/>
              <a:gd name="connsiteX3" fmla="*/ 10861612 w 12192000"/>
              <a:gd name="connsiteY3" fmla="*/ 2876446 h 4081010"/>
              <a:gd name="connsiteX4" fmla="*/ 907626 w 12192000"/>
              <a:gd name="connsiteY4" fmla="*/ 3980424 h 4081010"/>
              <a:gd name="connsiteX5" fmla="*/ 0 w 12192000"/>
              <a:gd name="connsiteY5" fmla="*/ 3838733 h 4081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4081010">
                <a:moveTo>
                  <a:pt x="0" y="0"/>
                </a:moveTo>
                <a:lnTo>
                  <a:pt x="12192000" y="0"/>
                </a:lnTo>
                <a:lnTo>
                  <a:pt x="12192000" y="2348656"/>
                </a:lnTo>
                <a:lnTo>
                  <a:pt x="10861612" y="2876446"/>
                </a:lnTo>
                <a:cubicBezTo>
                  <a:pt x="7549266" y="3989611"/>
                  <a:pt x="3498000" y="4256075"/>
                  <a:pt x="907626" y="3980424"/>
                </a:cubicBezTo>
                <a:cubicBezTo>
                  <a:pt x="544123" y="3940814"/>
                  <a:pt x="302542" y="3885961"/>
                  <a:pt x="0" y="383873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46" name="Прямоугольник 45"/>
          <p:cNvSpPr/>
          <p:nvPr userDrawn="1"/>
        </p:nvSpPr>
        <p:spPr>
          <a:xfrm>
            <a:off x="1253141" y="0"/>
            <a:ext cx="1645200" cy="18192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5" name="Прямоугольник 84"/>
          <p:cNvSpPr/>
          <p:nvPr userDrawn="1"/>
        </p:nvSpPr>
        <p:spPr>
          <a:xfrm>
            <a:off x="1253141" y="0"/>
            <a:ext cx="1645200" cy="18192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1307939" y="1971040"/>
            <a:ext cx="7102816" cy="1124585"/>
          </a:xfrm>
        </p:spPr>
        <p:txBody>
          <a:bodyPr vert="horz"/>
          <a:lstStyle>
            <a:lvl1pPr>
              <a:defRPr sz="3600" cap="none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Title of the presentation </a:t>
            </a:r>
            <a:br>
              <a:rPr lang="en-US" dirty="0" smtClean="0"/>
            </a:br>
            <a:r>
              <a:rPr lang="en-US" dirty="0" smtClean="0"/>
              <a:t>in two lines</a:t>
            </a:r>
            <a:endParaRPr lang="ru-RU" dirty="0"/>
          </a:p>
        </p:txBody>
      </p:sp>
      <p:sp>
        <p:nvSpPr>
          <p:cNvPr id="52" name="Прямоугольник 51"/>
          <p:cNvSpPr/>
          <p:nvPr userDrawn="1"/>
        </p:nvSpPr>
        <p:spPr>
          <a:xfrm>
            <a:off x="1353659" y="6263321"/>
            <a:ext cx="1511461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</a:rPr>
              <a:t>EFSD.ORG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idx="10"/>
          </p:nvPr>
        </p:nvSpPr>
        <p:spPr>
          <a:xfrm>
            <a:off x="1353659" y="5798820"/>
            <a:ext cx="1463201" cy="137160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>
              <a:defRPr lang="ru-RU" sz="1400" dirty="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algn="l"/>
            <a:endParaRPr lang="ru-RU" dirty="0"/>
          </a:p>
        </p:txBody>
      </p:sp>
      <p:sp>
        <p:nvSpPr>
          <p:cNvPr id="98" name="Текст 97"/>
          <p:cNvSpPr>
            <a:spLocks noGrp="1"/>
          </p:cNvSpPr>
          <p:nvPr>
            <p:ph type="body" sz="quarter" idx="11" hasCustomPrompt="1"/>
          </p:nvPr>
        </p:nvSpPr>
        <p:spPr>
          <a:xfrm>
            <a:off x="1307939" y="3356610"/>
            <a:ext cx="6939280" cy="7721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>
                <a:solidFill>
                  <a:schemeClr val="accent1"/>
                </a:solidFill>
                <a:latin typeface="+mn-lt"/>
              </a:defRPr>
            </a:lvl1pPr>
            <a:lvl2pPr>
              <a:defRPr sz="24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400">
                <a:latin typeface="+mn-lt"/>
              </a:defRPr>
            </a:lvl4pPr>
            <a:lvl5pPr>
              <a:defRPr sz="2400">
                <a:latin typeface="+mn-lt"/>
              </a:defRPr>
            </a:lvl5pPr>
          </a:lstStyle>
          <a:p>
            <a:r>
              <a:rPr lang="en-US" dirty="0" smtClean="0"/>
              <a:t>Subtitle, if necessary</a:t>
            </a:r>
            <a:endParaRPr lang="ru-RU" dirty="0"/>
          </a:p>
        </p:txBody>
      </p:sp>
      <p:pic>
        <p:nvPicPr>
          <p:cNvPr id="44" name="Рисунок 43"/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421" y="389708"/>
            <a:ext cx="1836000" cy="1357395"/>
          </a:xfrm>
          <a:prstGeom prst="rect">
            <a:avLst/>
          </a:prstGeom>
        </p:spPr>
      </p:pic>
      <p:grpSp>
        <p:nvGrpSpPr>
          <p:cNvPr id="45" name="Группа 44"/>
          <p:cNvGrpSpPr>
            <a:grpSpLocks noChangeAspect="1"/>
          </p:cNvGrpSpPr>
          <p:nvPr userDrawn="1"/>
        </p:nvGrpSpPr>
        <p:grpSpPr>
          <a:xfrm>
            <a:off x="12365458" y="2"/>
            <a:ext cx="1080000" cy="6858030"/>
            <a:chOff x="12365458" y="0"/>
            <a:chExt cx="1080000" cy="6858000"/>
          </a:xfrm>
        </p:grpSpPr>
        <p:sp>
          <p:nvSpPr>
            <p:cNvPr id="47" name="Freeform 5"/>
            <p:cNvSpPr>
              <a:spLocks/>
            </p:cNvSpPr>
            <p:nvPr/>
          </p:nvSpPr>
          <p:spPr bwMode="auto">
            <a:xfrm>
              <a:off x="12365458" y="0"/>
              <a:ext cx="1080000" cy="6858000"/>
            </a:xfrm>
            <a:prstGeom prst="roundRect">
              <a:avLst>
                <a:gd name="adj" fmla="val 12318"/>
              </a:avLst>
            </a:prstGeom>
            <a:solidFill>
              <a:schemeClr val="bg1"/>
            </a:solidFill>
            <a:ln w="7938" cap="flat">
              <a:solidFill>
                <a:srgbClr val="FEFEF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48" name="Группа 47"/>
            <p:cNvGrpSpPr/>
            <p:nvPr userDrawn="1"/>
          </p:nvGrpSpPr>
          <p:grpSpPr>
            <a:xfrm>
              <a:off x="12365458" y="5764224"/>
              <a:ext cx="1080000" cy="838989"/>
              <a:chOff x="12365458" y="5764224"/>
              <a:chExt cx="1080000" cy="838989"/>
            </a:xfrm>
          </p:grpSpPr>
          <p:pic>
            <p:nvPicPr>
              <p:cNvPr id="73" name="Picture 30"/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08164" y="6094649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4" name="Picture 31"/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37017" y="6101736"/>
                <a:ext cx="152400" cy="123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5" name="Picture 32"/>
              <p:cNvPicPr>
                <a:picLocks noChangeAspect="1"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125833" y="6321161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6" name="TextBox 75"/>
              <p:cNvSpPr txBox="1"/>
              <p:nvPr/>
            </p:nvSpPr>
            <p:spPr>
              <a:xfrm>
                <a:off x="12365458" y="5764224"/>
                <a:ext cx="1080000" cy="838989"/>
              </a:xfrm>
              <a:prstGeom prst="rect">
                <a:avLst/>
              </a:prstGeom>
              <a:noFill/>
            </p:spPr>
            <p:txBody>
              <a:bodyPr wrap="square" lIns="36000" tIns="0" rIns="3600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Select a text or graphic element.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, respectively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or .</a:t>
                </a:r>
              </a:p>
              <a:p>
                <a:pPr algn="ctr">
                  <a:lnSpc>
                    <a:spcPct val="90000"/>
                  </a:lnSpc>
                  <a:spcBef>
                    <a:spcPts val="300"/>
                  </a:spcBef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After selecting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the pipette tool          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 on the desired color on the palette.</a:t>
                </a:r>
                <a:endParaRPr lang="ru-RU" sz="800" dirty="0">
                  <a:solidFill>
                    <a:srgbClr val="30343F"/>
                  </a:solidFill>
                  <a:latin typeface="Source Sans Pro" panose="020B0503030403020204" pitchFamily="34" charset="0"/>
                </a:endParaRPr>
              </a:p>
            </p:txBody>
          </p:sp>
        </p:grpSp>
        <p:sp>
          <p:nvSpPr>
            <p:cNvPr id="49" name="TextBox 48"/>
            <p:cNvSpPr txBox="1"/>
            <p:nvPr/>
          </p:nvSpPr>
          <p:spPr>
            <a:xfrm>
              <a:off x="12368248" y="18288"/>
              <a:ext cx="1074420" cy="4606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Color palette </a:t>
              </a:r>
              <a:b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</a:b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for EFSR presentations</a:t>
              </a:r>
              <a:endParaRPr lang="ru-RU" sz="1000" dirty="0">
                <a:solidFill>
                  <a:srgbClr val="343467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12365458" y="640080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The main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51" name="Oval 8"/>
            <p:cNvSpPr>
              <a:spLocks noChangeArrowheads="1"/>
            </p:cNvSpPr>
            <p:nvPr/>
          </p:nvSpPr>
          <p:spPr bwMode="auto">
            <a:xfrm>
              <a:off x="12518642" y="970675"/>
              <a:ext cx="350838" cy="346075"/>
            </a:xfrm>
            <a:prstGeom prst="ellipse">
              <a:avLst/>
            </a:prstGeom>
            <a:solidFill>
              <a:srgbClr val="00589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Oval 9"/>
            <p:cNvSpPr>
              <a:spLocks noChangeArrowheads="1"/>
            </p:cNvSpPr>
            <p:nvPr/>
          </p:nvSpPr>
          <p:spPr bwMode="auto">
            <a:xfrm>
              <a:off x="12515726" y="1381725"/>
              <a:ext cx="350838" cy="346075"/>
            </a:xfrm>
            <a:prstGeom prst="ellipse">
              <a:avLst/>
            </a:prstGeom>
            <a:solidFill>
              <a:srgbClr val="00B1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Oval 10"/>
            <p:cNvSpPr>
              <a:spLocks noChangeArrowheads="1"/>
            </p:cNvSpPr>
            <p:nvPr/>
          </p:nvSpPr>
          <p:spPr bwMode="auto">
            <a:xfrm>
              <a:off x="12515726" y="2602206"/>
              <a:ext cx="350838" cy="346075"/>
            </a:xfrm>
            <a:prstGeom prst="ellipse">
              <a:avLst/>
            </a:prstGeom>
            <a:solidFill>
              <a:srgbClr val="C2BFB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Oval 11"/>
            <p:cNvSpPr>
              <a:spLocks noChangeAspect="1" noChangeArrowheads="1"/>
            </p:cNvSpPr>
            <p:nvPr/>
          </p:nvSpPr>
          <p:spPr bwMode="auto">
            <a:xfrm>
              <a:off x="12515725" y="1780075"/>
              <a:ext cx="793329" cy="792000"/>
            </a:xfrm>
            <a:prstGeom prst="ellipse">
              <a:avLst/>
            </a:prstGeom>
            <a:solidFill>
              <a:srgbClr val="343467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lvl="0"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FFFFFF"/>
                  </a:solidFill>
                  <a:latin typeface="Source Sans Pro" panose="020B0503030403020204" pitchFamily="34" charset="0"/>
                </a:rPr>
                <a:t>Base color</a:t>
              </a:r>
              <a:endParaRPr lang="ru-RU" sz="1000" dirty="0">
                <a:solidFill>
                  <a:srgbClr val="FFFFF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56" name="Oval 13"/>
            <p:cNvSpPr>
              <a:spLocks noChangeArrowheads="1"/>
            </p:cNvSpPr>
            <p:nvPr/>
          </p:nvSpPr>
          <p:spPr bwMode="auto">
            <a:xfrm>
              <a:off x="12515726" y="2978412"/>
              <a:ext cx="350838" cy="346075"/>
            </a:xfrm>
            <a:prstGeom prst="ellipse">
              <a:avLst/>
            </a:prstGeom>
            <a:solidFill>
              <a:srgbClr val="30343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Oval 14"/>
            <p:cNvSpPr>
              <a:spLocks noChangeArrowheads="1"/>
            </p:cNvSpPr>
            <p:nvPr/>
          </p:nvSpPr>
          <p:spPr bwMode="auto">
            <a:xfrm>
              <a:off x="12515726" y="3744823"/>
              <a:ext cx="350838" cy="346075"/>
            </a:xfrm>
            <a:prstGeom prst="ellipse">
              <a:avLst/>
            </a:prstGeom>
            <a:solidFill>
              <a:srgbClr val="D034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Oval 15"/>
            <p:cNvSpPr>
              <a:spLocks noChangeArrowheads="1"/>
            </p:cNvSpPr>
            <p:nvPr/>
          </p:nvSpPr>
          <p:spPr bwMode="auto">
            <a:xfrm>
              <a:off x="12949114" y="975437"/>
              <a:ext cx="350838" cy="346075"/>
            </a:xfrm>
            <a:prstGeom prst="ellipse">
              <a:avLst/>
            </a:prstGeom>
            <a:solidFill>
              <a:srgbClr val="007CB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Oval 16"/>
            <p:cNvSpPr>
              <a:spLocks noChangeArrowheads="1"/>
            </p:cNvSpPr>
            <p:nvPr/>
          </p:nvSpPr>
          <p:spPr bwMode="auto">
            <a:xfrm>
              <a:off x="12949114" y="1381725"/>
              <a:ext cx="350838" cy="346075"/>
            </a:xfrm>
            <a:prstGeom prst="ellipse">
              <a:avLst/>
            </a:prstGeom>
            <a:solidFill>
              <a:srgbClr val="B4DCE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Oval 17"/>
            <p:cNvSpPr>
              <a:spLocks noChangeArrowheads="1"/>
            </p:cNvSpPr>
            <p:nvPr/>
          </p:nvSpPr>
          <p:spPr bwMode="auto">
            <a:xfrm>
              <a:off x="12949114" y="2602206"/>
              <a:ext cx="350838" cy="346075"/>
            </a:xfrm>
            <a:prstGeom prst="ellipse">
              <a:avLst/>
            </a:prstGeom>
            <a:solidFill>
              <a:srgbClr val="84898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Oval 20"/>
            <p:cNvSpPr>
              <a:spLocks noChangeArrowheads="1"/>
            </p:cNvSpPr>
            <p:nvPr/>
          </p:nvSpPr>
          <p:spPr bwMode="auto">
            <a:xfrm>
              <a:off x="12949114" y="2978412"/>
              <a:ext cx="350838" cy="346075"/>
            </a:xfrm>
            <a:prstGeom prst="ellipse">
              <a:avLst/>
            </a:prstGeom>
            <a:solidFill>
              <a:srgbClr val="3738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Oval 21"/>
            <p:cNvSpPr>
              <a:spLocks noChangeArrowheads="1"/>
            </p:cNvSpPr>
            <p:nvPr/>
          </p:nvSpPr>
          <p:spPr bwMode="auto">
            <a:xfrm>
              <a:off x="12949114" y="3744823"/>
              <a:ext cx="350838" cy="346075"/>
            </a:xfrm>
            <a:prstGeom prst="ellipse">
              <a:avLst/>
            </a:prstGeom>
            <a:solidFill>
              <a:srgbClr val="FDAC5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Oval 22"/>
            <p:cNvSpPr>
              <a:spLocks noChangeArrowheads="1"/>
            </p:cNvSpPr>
            <p:nvPr/>
          </p:nvSpPr>
          <p:spPr bwMode="auto">
            <a:xfrm>
              <a:off x="12515726" y="4162223"/>
              <a:ext cx="350838" cy="346075"/>
            </a:xfrm>
            <a:prstGeom prst="ellipse">
              <a:avLst/>
            </a:prstGeom>
            <a:solidFill>
              <a:srgbClr val="F9E54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Oval 23"/>
            <p:cNvSpPr>
              <a:spLocks noChangeArrowheads="1"/>
            </p:cNvSpPr>
            <p:nvPr/>
          </p:nvSpPr>
          <p:spPr bwMode="auto">
            <a:xfrm>
              <a:off x="12949114" y="4162223"/>
              <a:ext cx="350838" cy="346075"/>
            </a:xfrm>
            <a:prstGeom prst="ellipse">
              <a:avLst/>
            </a:prstGeom>
            <a:solidFill>
              <a:srgbClr val="C3D3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Oval 24"/>
            <p:cNvSpPr>
              <a:spLocks noChangeArrowheads="1"/>
            </p:cNvSpPr>
            <p:nvPr/>
          </p:nvSpPr>
          <p:spPr bwMode="auto">
            <a:xfrm>
              <a:off x="12515726" y="4551048"/>
              <a:ext cx="350838" cy="346075"/>
            </a:xfrm>
            <a:prstGeom prst="ellipse">
              <a:avLst/>
            </a:prstGeom>
            <a:solidFill>
              <a:srgbClr val="008C4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Oval 25"/>
            <p:cNvSpPr>
              <a:spLocks noChangeArrowheads="1"/>
            </p:cNvSpPr>
            <p:nvPr/>
          </p:nvSpPr>
          <p:spPr bwMode="auto">
            <a:xfrm>
              <a:off x="12949114" y="4551048"/>
              <a:ext cx="350838" cy="346075"/>
            </a:xfrm>
            <a:prstGeom prst="ellipse">
              <a:avLst/>
            </a:prstGeom>
            <a:solidFill>
              <a:srgbClr val="1D428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Line 33"/>
            <p:cNvSpPr>
              <a:spLocks noChangeShapeType="1"/>
            </p:cNvSpPr>
            <p:nvPr/>
          </p:nvSpPr>
          <p:spPr bwMode="auto">
            <a:xfrm>
              <a:off x="12501439" y="342805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Oval 22"/>
            <p:cNvSpPr>
              <a:spLocks noChangeArrowheads="1"/>
            </p:cNvSpPr>
            <p:nvPr/>
          </p:nvSpPr>
          <p:spPr bwMode="auto">
            <a:xfrm>
              <a:off x="12515726" y="4968448"/>
              <a:ext cx="350838" cy="346075"/>
            </a:xfrm>
            <a:prstGeom prst="ellipse">
              <a:avLst/>
            </a:prstGeom>
            <a:solidFill>
              <a:srgbClr val="883F8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Oval 23"/>
            <p:cNvSpPr>
              <a:spLocks noChangeArrowheads="1"/>
            </p:cNvSpPr>
            <p:nvPr/>
          </p:nvSpPr>
          <p:spPr bwMode="auto">
            <a:xfrm>
              <a:off x="12949114" y="4968448"/>
              <a:ext cx="350838" cy="346075"/>
            </a:xfrm>
            <a:prstGeom prst="ellipse">
              <a:avLst/>
            </a:prstGeom>
            <a:solidFill>
              <a:srgbClr val="919BC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Oval 24"/>
            <p:cNvSpPr>
              <a:spLocks noChangeArrowheads="1"/>
            </p:cNvSpPr>
            <p:nvPr/>
          </p:nvSpPr>
          <p:spPr bwMode="auto">
            <a:xfrm>
              <a:off x="12732420" y="5357273"/>
              <a:ext cx="350838" cy="346075"/>
            </a:xfrm>
            <a:prstGeom prst="ellipse">
              <a:avLst/>
            </a:prstGeom>
            <a:solidFill>
              <a:srgbClr val="856A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Line 33"/>
            <p:cNvSpPr>
              <a:spLocks noChangeShapeType="1"/>
            </p:cNvSpPr>
            <p:nvPr/>
          </p:nvSpPr>
          <p:spPr bwMode="auto">
            <a:xfrm>
              <a:off x="12501439" y="66541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12365458" y="3421008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Additional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561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1" preserve="1" userDrawn="1">
  <p:cSld name="2_Title Slide 1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2667000"/>
            <a:ext cx="12192000" cy="4191000"/>
          </a:xfrm>
          <a:prstGeom prst="rect">
            <a:avLst/>
          </a:prstGeom>
        </p:spPr>
      </p:pic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6005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99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Объект 2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99" name="Прямоугольник 98"/>
          <p:cNvSpPr/>
          <p:nvPr userDrawn="1"/>
        </p:nvSpPr>
        <p:spPr>
          <a:xfrm>
            <a:off x="1253141" y="5590572"/>
            <a:ext cx="1645200" cy="1267428"/>
          </a:xfrm>
          <a:prstGeom prst="rect">
            <a:avLst/>
          </a:prstGeo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9" name="Полилиния 88"/>
          <p:cNvSpPr/>
          <p:nvPr userDrawn="1"/>
        </p:nvSpPr>
        <p:spPr>
          <a:xfrm>
            <a:off x="0" y="390525"/>
            <a:ext cx="12192000" cy="4081010"/>
          </a:xfrm>
          <a:custGeom>
            <a:avLst/>
            <a:gdLst>
              <a:gd name="connsiteX0" fmla="*/ 0 w 12192000"/>
              <a:gd name="connsiteY0" fmla="*/ 0 h 4081010"/>
              <a:gd name="connsiteX1" fmla="*/ 12192000 w 12192000"/>
              <a:gd name="connsiteY1" fmla="*/ 0 h 4081010"/>
              <a:gd name="connsiteX2" fmla="*/ 12192000 w 12192000"/>
              <a:gd name="connsiteY2" fmla="*/ 2348656 h 4081010"/>
              <a:gd name="connsiteX3" fmla="*/ 10861612 w 12192000"/>
              <a:gd name="connsiteY3" fmla="*/ 2876446 h 4081010"/>
              <a:gd name="connsiteX4" fmla="*/ 907626 w 12192000"/>
              <a:gd name="connsiteY4" fmla="*/ 3980424 h 4081010"/>
              <a:gd name="connsiteX5" fmla="*/ 0 w 12192000"/>
              <a:gd name="connsiteY5" fmla="*/ 3838733 h 4081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4081010">
                <a:moveTo>
                  <a:pt x="0" y="0"/>
                </a:moveTo>
                <a:lnTo>
                  <a:pt x="12192000" y="0"/>
                </a:lnTo>
                <a:lnTo>
                  <a:pt x="12192000" y="2348656"/>
                </a:lnTo>
                <a:lnTo>
                  <a:pt x="10861612" y="2876446"/>
                </a:lnTo>
                <a:cubicBezTo>
                  <a:pt x="7549266" y="3989611"/>
                  <a:pt x="3498000" y="4256075"/>
                  <a:pt x="907626" y="3980424"/>
                </a:cubicBezTo>
                <a:cubicBezTo>
                  <a:pt x="544123" y="3940814"/>
                  <a:pt x="302542" y="3885961"/>
                  <a:pt x="0" y="383873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46" name="Прямоугольник 45"/>
          <p:cNvSpPr/>
          <p:nvPr userDrawn="1"/>
        </p:nvSpPr>
        <p:spPr>
          <a:xfrm>
            <a:off x="1253141" y="0"/>
            <a:ext cx="1645200" cy="18192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5" name="Прямоугольник 84"/>
          <p:cNvSpPr/>
          <p:nvPr userDrawn="1"/>
        </p:nvSpPr>
        <p:spPr>
          <a:xfrm>
            <a:off x="1253141" y="0"/>
            <a:ext cx="1645200" cy="18192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1307939" y="1971040"/>
            <a:ext cx="7102816" cy="1124585"/>
          </a:xfrm>
        </p:spPr>
        <p:txBody>
          <a:bodyPr vert="horz"/>
          <a:lstStyle>
            <a:lvl1pPr>
              <a:defRPr sz="3600" cap="none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Title of the presentation </a:t>
            </a:r>
            <a:br>
              <a:rPr lang="en-US" dirty="0" smtClean="0"/>
            </a:br>
            <a:r>
              <a:rPr lang="en-US" dirty="0" smtClean="0"/>
              <a:t>in two lines</a:t>
            </a:r>
            <a:endParaRPr lang="ru-RU" dirty="0"/>
          </a:p>
        </p:txBody>
      </p:sp>
      <p:sp>
        <p:nvSpPr>
          <p:cNvPr id="52" name="Прямоугольник 51"/>
          <p:cNvSpPr/>
          <p:nvPr userDrawn="1"/>
        </p:nvSpPr>
        <p:spPr>
          <a:xfrm>
            <a:off x="1353659" y="6263321"/>
            <a:ext cx="1511461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</a:rPr>
              <a:t>EFSD.ORG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idx="10"/>
          </p:nvPr>
        </p:nvSpPr>
        <p:spPr>
          <a:xfrm>
            <a:off x="1353659" y="5798820"/>
            <a:ext cx="1463201" cy="137160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>
              <a:defRPr lang="ru-RU" sz="1400" dirty="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algn="l"/>
            <a:endParaRPr lang="ru-RU" dirty="0"/>
          </a:p>
        </p:txBody>
      </p:sp>
      <p:sp>
        <p:nvSpPr>
          <p:cNvPr id="98" name="Текст 97"/>
          <p:cNvSpPr>
            <a:spLocks noGrp="1"/>
          </p:cNvSpPr>
          <p:nvPr>
            <p:ph type="body" sz="quarter" idx="11" hasCustomPrompt="1"/>
          </p:nvPr>
        </p:nvSpPr>
        <p:spPr>
          <a:xfrm>
            <a:off x="1307939" y="3356610"/>
            <a:ext cx="6939280" cy="7721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>
                <a:solidFill>
                  <a:schemeClr val="accent1"/>
                </a:solidFill>
                <a:latin typeface="+mn-lt"/>
              </a:defRPr>
            </a:lvl1pPr>
            <a:lvl2pPr>
              <a:defRPr sz="24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400">
                <a:latin typeface="+mn-lt"/>
              </a:defRPr>
            </a:lvl4pPr>
            <a:lvl5pPr>
              <a:defRPr sz="2400">
                <a:latin typeface="+mn-lt"/>
              </a:defRPr>
            </a:lvl5pPr>
          </a:lstStyle>
          <a:p>
            <a:r>
              <a:rPr lang="en-US" dirty="0" smtClean="0"/>
              <a:t>Subtitle, if necessary</a:t>
            </a:r>
            <a:endParaRPr lang="ru-RU" dirty="0"/>
          </a:p>
        </p:txBody>
      </p:sp>
      <p:pic>
        <p:nvPicPr>
          <p:cNvPr id="44" name="Рисунок 43"/>
          <p:cNvPicPr>
            <a:picLocks noChangeAspect="1"/>
          </p:cNvPicPr>
          <p:nvPr userDrawn="1"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421" y="389708"/>
            <a:ext cx="1836000" cy="1357395"/>
          </a:xfrm>
          <a:prstGeom prst="rect">
            <a:avLst/>
          </a:prstGeom>
        </p:spPr>
      </p:pic>
      <p:grpSp>
        <p:nvGrpSpPr>
          <p:cNvPr id="45" name="Группа 44"/>
          <p:cNvGrpSpPr>
            <a:grpSpLocks noChangeAspect="1"/>
          </p:cNvGrpSpPr>
          <p:nvPr userDrawn="1"/>
        </p:nvGrpSpPr>
        <p:grpSpPr>
          <a:xfrm>
            <a:off x="12365458" y="2"/>
            <a:ext cx="1080000" cy="6858030"/>
            <a:chOff x="12365458" y="0"/>
            <a:chExt cx="1080000" cy="6858000"/>
          </a:xfrm>
        </p:grpSpPr>
        <p:sp>
          <p:nvSpPr>
            <p:cNvPr id="47" name="Freeform 5"/>
            <p:cNvSpPr>
              <a:spLocks/>
            </p:cNvSpPr>
            <p:nvPr/>
          </p:nvSpPr>
          <p:spPr bwMode="auto">
            <a:xfrm>
              <a:off x="12365458" y="0"/>
              <a:ext cx="1080000" cy="6858000"/>
            </a:xfrm>
            <a:prstGeom prst="roundRect">
              <a:avLst>
                <a:gd name="adj" fmla="val 12318"/>
              </a:avLst>
            </a:prstGeom>
            <a:solidFill>
              <a:schemeClr val="bg1"/>
            </a:solidFill>
            <a:ln w="7938" cap="flat">
              <a:solidFill>
                <a:srgbClr val="FEFEF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48" name="Группа 47"/>
            <p:cNvGrpSpPr/>
            <p:nvPr userDrawn="1"/>
          </p:nvGrpSpPr>
          <p:grpSpPr>
            <a:xfrm>
              <a:off x="12365458" y="5764224"/>
              <a:ext cx="1080000" cy="838989"/>
              <a:chOff x="12365458" y="5764224"/>
              <a:chExt cx="1080000" cy="838989"/>
            </a:xfrm>
          </p:grpSpPr>
          <p:pic>
            <p:nvPicPr>
              <p:cNvPr id="73" name="Picture 30"/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08164" y="6094649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4" name="Picture 31"/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37017" y="6101736"/>
                <a:ext cx="152400" cy="123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5" name="Picture 32"/>
              <p:cNvPicPr>
                <a:picLocks noChangeAspect="1"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125833" y="6321161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6" name="TextBox 75"/>
              <p:cNvSpPr txBox="1"/>
              <p:nvPr/>
            </p:nvSpPr>
            <p:spPr>
              <a:xfrm>
                <a:off x="12365458" y="5764224"/>
                <a:ext cx="1080000" cy="838989"/>
              </a:xfrm>
              <a:prstGeom prst="rect">
                <a:avLst/>
              </a:prstGeom>
              <a:noFill/>
            </p:spPr>
            <p:txBody>
              <a:bodyPr wrap="square" lIns="36000" tIns="0" rIns="3600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Select a text or graphic element.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, respectively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or .</a:t>
                </a:r>
              </a:p>
              <a:p>
                <a:pPr algn="ctr">
                  <a:lnSpc>
                    <a:spcPct val="90000"/>
                  </a:lnSpc>
                  <a:spcBef>
                    <a:spcPts val="300"/>
                  </a:spcBef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After selecting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the pipette tool          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 on the desired color on the palette.</a:t>
                </a:r>
                <a:endParaRPr lang="ru-RU" sz="800" dirty="0">
                  <a:solidFill>
                    <a:srgbClr val="30343F"/>
                  </a:solidFill>
                  <a:latin typeface="Source Sans Pro" panose="020B0503030403020204" pitchFamily="34" charset="0"/>
                </a:endParaRPr>
              </a:p>
            </p:txBody>
          </p:sp>
        </p:grpSp>
        <p:sp>
          <p:nvSpPr>
            <p:cNvPr id="49" name="TextBox 48"/>
            <p:cNvSpPr txBox="1"/>
            <p:nvPr/>
          </p:nvSpPr>
          <p:spPr>
            <a:xfrm>
              <a:off x="12368248" y="18288"/>
              <a:ext cx="1074420" cy="4606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Color palette </a:t>
              </a:r>
              <a:b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</a:b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for EFSR presentations</a:t>
              </a:r>
              <a:endParaRPr lang="ru-RU" sz="1000" dirty="0">
                <a:solidFill>
                  <a:srgbClr val="343467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12365458" y="640080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The main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51" name="Oval 8"/>
            <p:cNvSpPr>
              <a:spLocks noChangeArrowheads="1"/>
            </p:cNvSpPr>
            <p:nvPr/>
          </p:nvSpPr>
          <p:spPr bwMode="auto">
            <a:xfrm>
              <a:off x="12518642" y="970675"/>
              <a:ext cx="350838" cy="346075"/>
            </a:xfrm>
            <a:prstGeom prst="ellipse">
              <a:avLst/>
            </a:prstGeom>
            <a:solidFill>
              <a:srgbClr val="00589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Oval 9"/>
            <p:cNvSpPr>
              <a:spLocks noChangeArrowheads="1"/>
            </p:cNvSpPr>
            <p:nvPr/>
          </p:nvSpPr>
          <p:spPr bwMode="auto">
            <a:xfrm>
              <a:off x="12515726" y="1381725"/>
              <a:ext cx="350838" cy="346075"/>
            </a:xfrm>
            <a:prstGeom prst="ellipse">
              <a:avLst/>
            </a:prstGeom>
            <a:solidFill>
              <a:srgbClr val="00B1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Oval 10"/>
            <p:cNvSpPr>
              <a:spLocks noChangeArrowheads="1"/>
            </p:cNvSpPr>
            <p:nvPr/>
          </p:nvSpPr>
          <p:spPr bwMode="auto">
            <a:xfrm>
              <a:off x="12515726" y="2602206"/>
              <a:ext cx="350838" cy="346075"/>
            </a:xfrm>
            <a:prstGeom prst="ellipse">
              <a:avLst/>
            </a:prstGeom>
            <a:solidFill>
              <a:srgbClr val="C2BFB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Oval 11"/>
            <p:cNvSpPr>
              <a:spLocks noChangeAspect="1" noChangeArrowheads="1"/>
            </p:cNvSpPr>
            <p:nvPr/>
          </p:nvSpPr>
          <p:spPr bwMode="auto">
            <a:xfrm>
              <a:off x="12515725" y="1780075"/>
              <a:ext cx="793329" cy="792000"/>
            </a:xfrm>
            <a:prstGeom prst="ellipse">
              <a:avLst/>
            </a:prstGeom>
            <a:solidFill>
              <a:srgbClr val="343467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lvl="0"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FFFFFF"/>
                  </a:solidFill>
                  <a:latin typeface="Source Sans Pro" panose="020B0503030403020204" pitchFamily="34" charset="0"/>
                </a:rPr>
                <a:t>Base color</a:t>
              </a:r>
              <a:endParaRPr lang="ru-RU" sz="1000" dirty="0">
                <a:solidFill>
                  <a:srgbClr val="FFFFF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56" name="Oval 13"/>
            <p:cNvSpPr>
              <a:spLocks noChangeArrowheads="1"/>
            </p:cNvSpPr>
            <p:nvPr/>
          </p:nvSpPr>
          <p:spPr bwMode="auto">
            <a:xfrm>
              <a:off x="12515726" y="2978412"/>
              <a:ext cx="350838" cy="346075"/>
            </a:xfrm>
            <a:prstGeom prst="ellipse">
              <a:avLst/>
            </a:prstGeom>
            <a:solidFill>
              <a:srgbClr val="30343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Oval 14"/>
            <p:cNvSpPr>
              <a:spLocks noChangeArrowheads="1"/>
            </p:cNvSpPr>
            <p:nvPr/>
          </p:nvSpPr>
          <p:spPr bwMode="auto">
            <a:xfrm>
              <a:off x="12515726" y="3744823"/>
              <a:ext cx="350838" cy="346075"/>
            </a:xfrm>
            <a:prstGeom prst="ellipse">
              <a:avLst/>
            </a:prstGeom>
            <a:solidFill>
              <a:srgbClr val="D034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Oval 15"/>
            <p:cNvSpPr>
              <a:spLocks noChangeArrowheads="1"/>
            </p:cNvSpPr>
            <p:nvPr/>
          </p:nvSpPr>
          <p:spPr bwMode="auto">
            <a:xfrm>
              <a:off x="12949114" y="975437"/>
              <a:ext cx="350838" cy="346075"/>
            </a:xfrm>
            <a:prstGeom prst="ellipse">
              <a:avLst/>
            </a:prstGeom>
            <a:solidFill>
              <a:srgbClr val="007CB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Oval 16"/>
            <p:cNvSpPr>
              <a:spLocks noChangeArrowheads="1"/>
            </p:cNvSpPr>
            <p:nvPr/>
          </p:nvSpPr>
          <p:spPr bwMode="auto">
            <a:xfrm>
              <a:off x="12949114" y="1381725"/>
              <a:ext cx="350838" cy="346075"/>
            </a:xfrm>
            <a:prstGeom prst="ellipse">
              <a:avLst/>
            </a:prstGeom>
            <a:solidFill>
              <a:srgbClr val="B4DCE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Oval 17"/>
            <p:cNvSpPr>
              <a:spLocks noChangeArrowheads="1"/>
            </p:cNvSpPr>
            <p:nvPr/>
          </p:nvSpPr>
          <p:spPr bwMode="auto">
            <a:xfrm>
              <a:off x="12949114" y="2602206"/>
              <a:ext cx="350838" cy="346075"/>
            </a:xfrm>
            <a:prstGeom prst="ellipse">
              <a:avLst/>
            </a:prstGeom>
            <a:solidFill>
              <a:srgbClr val="84898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Oval 20"/>
            <p:cNvSpPr>
              <a:spLocks noChangeArrowheads="1"/>
            </p:cNvSpPr>
            <p:nvPr/>
          </p:nvSpPr>
          <p:spPr bwMode="auto">
            <a:xfrm>
              <a:off x="12949114" y="2978412"/>
              <a:ext cx="350838" cy="346075"/>
            </a:xfrm>
            <a:prstGeom prst="ellipse">
              <a:avLst/>
            </a:prstGeom>
            <a:solidFill>
              <a:srgbClr val="3738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Oval 21"/>
            <p:cNvSpPr>
              <a:spLocks noChangeArrowheads="1"/>
            </p:cNvSpPr>
            <p:nvPr/>
          </p:nvSpPr>
          <p:spPr bwMode="auto">
            <a:xfrm>
              <a:off x="12949114" y="3744823"/>
              <a:ext cx="350838" cy="346075"/>
            </a:xfrm>
            <a:prstGeom prst="ellipse">
              <a:avLst/>
            </a:prstGeom>
            <a:solidFill>
              <a:srgbClr val="FDAC5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Oval 22"/>
            <p:cNvSpPr>
              <a:spLocks noChangeArrowheads="1"/>
            </p:cNvSpPr>
            <p:nvPr/>
          </p:nvSpPr>
          <p:spPr bwMode="auto">
            <a:xfrm>
              <a:off x="12515726" y="4162223"/>
              <a:ext cx="350838" cy="346075"/>
            </a:xfrm>
            <a:prstGeom prst="ellipse">
              <a:avLst/>
            </a:prstGeom>
            <a:solidFill>
              <a:srgbClr val="F9E54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Oval 23"/>
            <p:cNvSpPr>
              <a:spLocks noChangeArrowheads="1"/>
            </p:cNvSpPr>
            <p:nvPr/>
          </p:nvSpPr>
          <p:spPr bwMode="auto">
            <a:xfrm>
              <a:off x="12949114" y="4162223"/>
              <a:ext cx="350838" cy="346075"/>
            </a:xfrm>
            <a:prstGeom prst="ellipse">
              <a:avLst/>
            </a:prstGeom>
            <a:solidFill>
              <a:srgbClr val="C3D3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Oval 24"/>
            <p:cNvSpPr>
              <a:spLocks noChangeArrowheads="1"/>
            </p:cNvSpPr>
            <p:nvPr/>
          </p:nvSpPr>
          <p:spPr bwMode="auto">
            <a:xfrm>
              <a:off x="12515726" y="4551048"/>
              <a:ext cx="350838" cy="346075"/>
            </a:xfrm>
            <a:prstGeom prst="ellipse">
              <a:avLst/>
            </a:prstGeom>
            <a:solidFill>
              <a:srgbClr val="008C4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Oval 25"/>
            <p:cNvSpPr>
              <a:spLocks noChangeArrowheads="1"/>
            </p:cNvSpPr>
            <p:nvPr/>
          </p:nvSpPr>
          <p:spPr bwMode="auto">
            <a:xfrm>
              <a:off x="12949114" y="4551048"/>
              <a:ext cx="350838" cy="346075"/>
            </a:xfrm>
            <a:prstGeom prst="ellipse">
              <a:avLst/>
            </a:prstGeom>
            <a:solidFill>
              <a:srgbClr val="1D428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Line 33"/>
            <p:cNvSpPr>
              <a:spLocks noChangeShapeType="1"/>
            </p:cNvSpPr>
            <p:nvPr/>
          </p:nvSpPr>
          <p:spPr bwMode="auto">
            <a:xfrm>
              <a:off x="12501439" y="342805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Oval 22"/>
            <p:cNvSpPr>
              <a:spLocks noChangeArrowheads="1"/>
            </p:cNvSpPr>
            <p:nvPr/>
          </p:nvSpPr>
          <p:spPr bwMode="auto">
            <a:xfrm>
              <a:off x="12515726" y="4968448"/>
              <a:ext cx="350838" cy="346075"/>
            </a:xfrm>
            <a:prstGeom prst="ellipse">
              <a:avLst/>
            </a:prstGeom>
            <a:solidFill>
              <a:srgbClr val="883F8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Oval 23"/>
            <p:cNvSpPr>
              <a:spLocks noChangeArrowheads="1"/>
            </p:cNvSpPr>
            <p:nvPr/>
          </p:nvSpPr>
          <p:spPr bwMode="auto">
            <a:xfrm>
              <a:off x="12949114" y="4968448"/>
              <a:ext cx="350838" cy="346075"/>
            </a:xfrm>
            <a:prstGeom prst="ellipse">
              <a:avLst/>
            </a:prstGeom>
            <a:solidFill>
              <a:srgbClr val="919BC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Oval 24"/>
            <p:cNvSpPr>
              <a:spLocks noChangeArrowheads="1"/>
            </p:cNvSpPr>
            <p:nvPr/>
          </p:nvSpPr>
          <p:spPr bwMode="auto">
            <a:xfrm>
              <a:off x="12732420" y="5357273"/>
              <a:ext cx="350838" cy="346075"/>
            </a:xfrm>
            <a:prstGeom prst="ellipse">
              <a:avLst/>
            </a:prstGeom>
            <a:solidFill>
              <a:srgbClr val="856A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Line 33"/>
            <p:cNvSpPr>
              <a:spLocks noChangeShapeType="1"/>
            </p:cNvSpPr>
            <p:nvPr/>
          </p:nvSpPr>
          <p:spPr bwMode="auto">
            <a:xfrm>
              <a:off x="12501439" y="66541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12365458" y="3421008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Additional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1648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 1" preserve="1" userDrawn="1">
  <p:cSld name="2_Title Slide 1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636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2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Объект 2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119" name="Рисунок 118"/>
          <p:cNvSpPr>
            <a:spLocks noGrp="1"/>
          </p:cNvSpPr>
          <p:nvPr>
            <p:ph type="pic" sz="quarter" idx="12"/>
          </p:nvPr>
        </p:nvSpPr>
        <p:spPr>
          <a:xfrm>
            <a:off x="0" y="2739182"/>
            <a:ext cx="12192000" cy="4118819"/>
          </a:xfrm>
          <a:custGeom>
            <a:avLst/>
            <a:gdLst>
              <a:gd name="connsiteX0" fmla="*/ 12192000 w 12192000"/>
              <a:gd name="connsiteY0" fmla="*/ 0 h 4118819"/>
              <a:gd name="connsiteX1" fmla="*/ 12192000 w 12192000"/>
              <a:gd name="connsiteY1" fmla="*/ 4118819 h 4118819"/>
              <a:gd name="connsiteX2" fmla="*/ 0 w 12192000"/>
              <a:gd name="connsiteY2" fmla="*/ 4118819 h 4118819"/>
              <a:gd name="connsiteX3" fmla="*/ 0 w 12192000"/>
              <a:gd name="connsiteY3" fmla="*/ 1490077 h 4118819"/>
              <a:gd name="connsiteX4" fmla="*/ 907626 w 12192000"/>
              <a:gd name="connsiteY4" fmla="*/ 1631768 h 4118819"/>
              <a:gd name="connsiteX5" fmla="*/ 10861612 w 12192000"/>
              <a:gd name="connsiteY5" fmla="*/ 527790 h 4118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4118819">
                <a:moveTo>
                  <a:pt x="12192000" y="0"/>
                </a:moveTo>
                <a:lnTo>
                  <a:pt x="12192000" y="4118819"/>
                </a:lnTo>
                <a:lnTo>
                  <a:pt x="0" y="4118819"/>
                </a:lnTo>
                <a:lnTo>
                  <a:pt x="0" y="1490077"/>
                </a:lnTo>
                <a:cubicBezTo>
                  <a:pt x="302542" y="1537305"/>
                  <a:pt x="544123" y="1592158"/>
                  <a:pt x="907626" y="1631768"/>
                </a:cubicBezTo>
                <a:cubicBezTo>
                  <a:pt x="3498000" y="1907419"/>
                  <a:pt x="7549266" y="1640955"/>
                  <a:pt x="10861612" y="527790"/>
                </a:cubicBezTo>
                <a:close/>
              </a:path>
            </a:pathLst>
          </a:custGeom>
          <a:solidFill>
            <a:schemeClr val="accent4"/>
          </a:solidFill>
        </p:spPr>
        <p:txBody>
          <a:bodyPr wrap="square">
            <a:noAutofit/>
          </a:bodyPr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46" name="Прямоугольник 45"/>
          <p:cNvSpPr/>
          <p:nvPr userDrawn="1"/>
        </p:nvSpPr>
        <p:spPr>
          <a:xfrm>
            <a:off x="1253141" y="0"/>
            <a:ext cx="1645200" cy="18192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5" name="Прямоугольник 84"/>
          <p:cNvSpPr/>
          <p:nvPr userDrawn="1"/>
        </p:nvSpPr>
        <p:spPr>
          <a:xfrm>
            <a:off x="1253141" y="0"/>
            <a:ext cx="1645200" cy="18192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1307939" y="1950258"/>
            <a:ext cx="7102816" cy="1162685"/>
          </a:xfrm>
        </p:spPr>
        <p:txBody>
          <a:bodyPr vert="horz"/>
          <a:lstStyle>
            <a:lvl1pPr>
              <a:defRPr sz="3600" cap="none" baseline="0"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Title of the presentation </a:t>
            </a:r>
            <a:br>
              <a:rPr lang="en-US" dirty="0" smtClean="0"/>
            </a:br>
            <a:r>
              <a:rPr lang="en-US" dirty="0" smtClean="0"/>
              <a:t>in two lines</a:t>
            </a:r>
            <a:endParaRPr lang="ru-RU" dirty="0"/>
          </a:p>
        </p:txBody>
      </p:sp>
      <p:sp>
        <p:nvSpPr>
          <p:cNvPr id="2" name="Дата 1"/>
          <p:cNvSpPr>
            <a:spLocks noGrp="1"/>
          </p:cNvSpPr>
          <p:nvPr>
            <p:ph type="dt" idx="10"/>
          </p:nvPr>
        </p:nvSpPr>
        <p:spPr>
          <a:xfrm>
            <a:off x="1253141" y="5590572"/>
            <a:ext cx="1645200" cy="1267200"/>
          </a:xfrm>
          <a:solidFill>
            <a:srgbClr val="3434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800" tIns="169200" rIns="0" bIns="0" rtlCol="0" anchor="t" anchorCtr="0"/>
          <a:lstStyle>
            <a:lvl1pPr>
              <a:defRPr lang="ru-RU" sz="1400" dirty="0">
                <a:solidFill>
                  <a:schemeClr val="bg1"/>
                </a:solidFill>
                <a:ea typeface="+mn-ea"/>
                <a:cs typeface="+mn-cs"/>
              </a:defRPr>
            </a:lvl1pPr>
          </a:lstStyle>
          <a:p>
            <a:pPr algn="l"/>
            <a:endParaRPr lang="ru-RU" dirty="0"/>
          </a:p>
        </p:txBody>
      </p:sp>
      <p:sp>
        <p:nvSpPr>
          <p:cNvPr id="84" name="Текст 97"/>
          <p:cNvSpPr>
            <a:spLocks noGrp="1"/>
          </p:cNvSpPr>
          <p:nvPr>
            <p:ph type="body" sz="quarter" idx="13" hasCustomPrompt="1"/>
          </p:nvPr>
        </p:nvSpPr>
        <p:spPr>
          <a:xfrm>
            <a:off x="1307939" y="3356610"/>
            <a:ext cx="6939280" cy="7721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>
                <a:solidFill>
                  <a:schemeClr val="accent1"/>
                </a:solidFill>
                <a:latin typeface="+mn-lt"/>
              </a:defRPr>
            </a:lvl1pPr>
            <a:lvl2pPr>
              <a:defRPr sz="24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400">
                <a:latin typeface="+mn-lt"/>
              </a:defRPr>
            </a:lvl4pPr>
            <a:lvl5pPr>
              <a:defRPr sz="2400">
                <a:latin typeface="+mn-lt"/>
              </a:defRPr>
            </a:lvl5pPr>
          </a:lstStyle>
          <a:p>
            <a:r>
              <a:rPr lang="en-US" dirty="0" smtClean="0"/>
              <a:t>Subtitle, if necessary in several lines</a:t>
            </a:r>
            <a:endParaRPr lang="ru-RU" dirty="0"/>
          </a:p>
        </p:txBody>
      </p:sp>
      <p:sp>
        <p:nvSpPr>
          <p:cNvPr id="123" name="Текст 97"/>
          <p:cNvSpPr>
            <a:spLocks noGrp="1"/>
          </p:cNvSpPr>
          <p:nvPr>
            <p:ph type="body" sz="quarter" idx="14" hasCustomPrompt="1"/>
          </p:nvPr>
        </p:nvSpPr>
        <p:spPr>
          <a:xfrm>
            <a:off x="1353659" y="6263321"/>
            <a:ext cx="1520986" cy="215444"/>
          </a:xfrm>
          <a:prstGeom prst="rect">
            <a:avLst/>
          </a:prstGeom>
        </p:spPr>
        <p:txBody>
          <a:bodyPr>
            <a:spAutoFit/>
          </a:bodyPr>
          <a:lstStyle>
            <a:lvl1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ru-RU" sz="1400" b="0" i="0" u="none" strike="noStrike" cap="none" dirty="0">
                <a:solidFill>
                  <a:schemeClr val="bg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>
              <a:defRPr sz="24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400">
                <a:latin typeface="+mn-lt"/>
              </a:defRPr>
            </a:lvl4pPr>
            <a:lvl5pPr>
              <a:defRPr sz="2400">
                <a:latin typeface="+mn-lt"/>
              </a:defRPr>
            </a:lvl5pPr>
          </a:lstStyle>
          <a:p>
            <a:r>
              <a:rPr lang="en-US" sz="1400" dirty="0" smtClean="0">
                <a:solidFill>
                  <a:schemeClr val="bg1"/>
                </a:solidFill>
              </a:rPr>
              <a:t>EFSD.ORG</a:t>
            </a:r>
          </a:p>
        </p:txBody>
      </p:sp>
      <p:pic>
        <p:nvPicPr>
          <p:cNvPr id="42" name="Рисунок 41"/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421" y="389708"/>
            <a:ext cx="1836000" cy="1357395"/>
          </a:xfrm>
          <a:prstGeom prst="rect">
            <a:avLst/>
          </a:prstGeom>
        </p:spPr>
      </p:pic>
      <p:grpSp>
        <p:nvGrpSpPr>
          <p:cNvPr id="43" name="Группа 42"/>
          <p:cNvGrpSpPr>
            <a:grpSpLocks noChangeAspect="1"/>
          </p:cNvGrpSpPr>
          <p:nvPr userDrawn="1"/>
        </p:nvGrpSpPr>
        <p:grpSpPr>
          <a:xfrm>
            <a:off x="12365458" y="2"/>
            <a:ext cx="1080000" cy="6858030"/>
            <a:chOff x="12365458" y="0"/>
            <a:chExt cx="1080000" cy="6858000"/>
          </a:xfrm>
        </p:grpSpPr>
        <p:sp>
          <p:nvSpPr>
            <p:cNvPr id="44" name="Freeform 5"/>
            <p:cNvSpPr>
              <a:spLocks/>
            </p:cNvSpPr>
            <p:nvPr/>
          </p:nvSpPr>
          <p:spPr bwMode="auto">
            <a:xfrm>
              <a:off x="12365458" y="0"/>
              <a:ext cx="1080000" cy="6858000"/>
            </a:xfrm>
            <a:prstGeom prst="roundRect">
              <a:avLst>
                <a:gd name="adj" fmla="val 12318"/>
              </a:avLst>
            </a:prstGeom>
            <a:solidFill>
              <a:schemeClr val="bg1"/>
            </a:solidFill>
            <a:ln w="7938" cap="flat">
              <a:solidFill>
                <a:srgbClr val="FEFEF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45" name="Группа 44"/>
            <p:cNvGrpSpPr/>
            <p:nvPr userDrawn="1"/>
          </p:nvGrpSpPr>
          <p:grpSpPr>
            <a:xfrm>
              <a:off x="12365458" y="5764224"/>
              <a:ext cx="1080000" cy="838989"/>
              <a:chOff x="12365458" y="5764224"/>
              <a:chExt cx="1080000" cy="838989"/>
            </a:xfrm>
          </p:grpSpPr>
          <p:pic>
            <p:nvPicPr>
              <p:cNvPr id="70" name="Picture 30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08164" y="6094649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1" name="Picture 31"/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37017" y="6101736"/>
                <a:ext cx="152400" cy="123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2" name="Picture 32"/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125833" y="6321161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3" name="TextBox 72"/>
              <p:cNvSpPr txBox="1"/>
              <p:nvPr/>
            </p:nvSpPr>
            <p:spPr>
              <a:xfrm>
                <a:off x="12365458" y="5764224"/>
                <a:ext cx="1080000" cy="838989"/>
              </a:xfrm>
              <a:prstGeom prst="rect">
                <a:avLst/>
              </a:prstGeom>
              <a:noFill/>
            </p:spPr>
            <p:txBody>
              <a:bodyPr wrap="square" lIns="36000" tIns="0" rIns="3600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Select a text or graphic element.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, respectively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or .</a:t>
                </a:r>
              </a:p>
              <a:p>
                <a:pPr algn="ctr">
                  <a:lnSpc>
                    <a:spcPct val="90000"/>
                  </a:lnSpc>
                  <a:spcBef>
                    <a:spcPts val="300"/>
                  </a:spcBef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After selecting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the pipette tool          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 on the desired color on the palette.</a:t>
                </a:r>
                <a:endParaRPr lang="ru-RU" sz="800" dirty="0">
                  <a:solidFill>
                    <a:srgbClr val="30343F"/>
                  </a:solidFill>
                  <a:latin typeface="Source Sans Pro" panose="020B0503030403020204" pitchFamily="34" charset="0"/>
                </a:endParaRPr>
              </a:p>
            </p:txBody>
          </p:sp>
        </p:grpSp>
        <p:sp>
          <p:nvSpPr>
            <p:cNvPr id="47" name="TextBox 46"/>
            <p:cNvSpPr txBox="1"/>
            <p:nvPr/>
          </p:nvSpPr>
          <p:spPr>
            <a:xfrm>
              <a:off x="12368248" y="18288"/>
              <a:ext cx="1074420" cy="4606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Color palette </a:t>
              </a:r>
              <a:b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</a:b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for EFSR presentations</a:t>
              </a:r>
              <a:endParaRPr lang="ru-RU" sz="1000" dirty="0">
                <a:solidFill>
                  <a:srgbClr val="343467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12365458" y="640080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The main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49" name="Oval 8"/>
            <p:cNvSpPr>
              <a:spLocks noChangeArrowheads="1"/>
            </p:cNvSpPr>
            <p:nvPr/>
          </p:nvSpPr>
          <p:spPr bwMode="auto">
            <a:xfrm>
              <a:off x="12518642" y="970675"/>
              <a:ext cx="350838" cy="346075"/>
            </a:xfrm>
            <a:prstGeom prst="ellipse">
              <a:avLst/>
            </a:prstGeom>
            <a:solidFill>
              <a:srgbClr val="00589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Oval 9"/>
            <p:cNvSpPr>
              <a:spLocks noChangeArrowheads="1"/>
            </p:cNvSpPr>
            <p:nvPr/>
          </p:nvSpPr>
          <p:spPr bwMode="auto">
            <a:xfrm>
              <a:off x="12515726" y="1381725"/>
              <a:ext cx="350838" cy="346075"/>
            </a:xfrm>
            <a:prstGeom prst="ellipse">
              <a:avLst/>
            </a:prstGeom>
            <a:solidFill>
              <a:srgbClr val="00B1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Oval 10"/>
            <p:cNvSpPr>
              <a:spLocks noChangeArrowheads="1"/>
            </p:cNvSpPr>
            <p:nvPr/>
          </p:nvSpPr>
          <p:spPr bwMode="auto">
            <a:xfrm>
              <a:off x="12515726" y="2602206"/>
              <a:ext cx="350838" cy="346075"/>
            </a:xfrm>
            <a:prstGeom prst="ellipse">
              <a:avLst/>
            </a:prstGeom>
            <a:solidFill>
              <a:srgbClr val="C2BFB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Oval 11"/>
            <p:cNvSpPr>
              <a:spLocks noChangeAspect="1" noChangeArrowheads="1"/>
            </p:cNvSpPr>
            <p:nvPr/>
          </p:nvSpPr>
          <p:spPr bwMode="auto">
            <a:xfrm>
              <a:off x="12515725" y="1780075"/>
              <a:ext cx="793329" cy="792000"/>
            </a:xfrm>
            <a:prstGeom prst="ellipse">
              <a:avLst/>
            </a:prstGeom>
            <a:solidFill>
              <a:srgbClr val="343467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lvl="0"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FFFFFF"/>
                  </a:solidFill>
                  <a:latin typeface="Source Sans Pro" panose="020B0503030403020204" pitchFamily="34" charset="0"/>
                </a:rPr>
                <a:t>Base color</a:t>
              </a:r>
              <a:endParaRPr lang="ru-RU" sz="1000" dirty="0">
                <a:solidFill>
                  <a:srgbClr val="FFFFF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53" name="Oval 13"/>
            <p:cNvSpPr>
              <a:spLocks noChangeArrowheads="1"/>
            </p:cNvSpPr>
            <p:nvPr/>
          </p:nvSpPr>
          <p:spPr bwMode="auto">
            <a:xfrm>
              <a:off x="12515726" y="2978412"/>
              <a:ext cx="350838" cy="346075"/>
            </a:xfrm>
            <a:prstGeom prst="ellipse">
              <a:avLst/>
            </a:prstGeom>
            <a:solidFill>
              <a:srgbClr val="30343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Oval 14"/>
            <p:cNvSpPr>
              <a:spLocks noChangeArrowheads="1"/>
            </p:cNvSpPr>
            <p:nvPr/>
          </p:nvSpPr>
          <p:spPr bwMode="auto">
            <a:xfrm>
              <a:off x="12515726" y="3744823"/>
              <a:ext cx="350838" cy="346075"/>
            </a:xfrm>
            <a:prstGeom prst="ellipse">
              <a:avLst/>
            </a:prstGeom>
            <a:solidFill>
              <a:srgbClr val="D034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Oval 15"/>
            <p:cNvSpPr>
              <a:spLocks noChangeArrowheads="1"/>
            </p:cNvSpPr>
            <p:nvPr/>
          </p:nvSpPr>
          <p:spPr bwMode="auto">
            <a:xfrm>
              <a:off x="12949114" y="975437"/>
              <a:ext cx="350838" cy="346075"/>
            </a:xfrm>
            <a:prstGeom prst="ellipse">
              <a:avLst/>
            </a:prstGeom>
            <a:solidFill>
              <a:srgbClr val="007CB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Oval 16"/>
            <p:cNvSpPr>
              <a:spLocks noChangeArrowheads="1"/>
            </p:cNvSpPr>
            <p:nvPr/>
          </p:nvSpPr>
          <p:spPr bwMode="auto">
            <a:xfrm>
              <a:off x="12949114" y="1381725"/>
              <a:ext cx="350838" cy="346075"/>
            </a:xfrm>
            <a:prstGeom prst="ellipse">
              <a:avLst/>
            </a:prstGeom>
            <a:solidFill>
              <a:srgbClr val="B4DCE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Oval 17"/>
            <p:cNvSpPr>
              <a:spLocks noChangeArrowheads="1"/>
            </p:cNvSpPr>
            <p:nvPr/>
          </p:nvSpPr>
          <p:spPr bwMode="auto">
            <a:xfrm>
              <a:off x="12949114" y="2602206"/>
              <a:ext cx="350838" cy="346075"/>
            </a:xfrm>
            <a:prstGeom prst="ellipse">
              <a:avLst/>
            </a:prstGeom>
            <a:solidFill>
              <a:srgbClr val="84898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Oval 20"/>
            <p:cNvSpPr>
              <a:spLocks noChangeArrowheads="1"/>
            </p:cNvSpPr>
            <p:nvPr/>
          </p:nvSpPr>
          <p:spPr bwMode="auto">
            <a:xfrm>
              <a:off x="12949114" y="2978412"/>
              <a:ext cx="350838" cy="346075"/>
            </a:xfrm>
            <a:prstGeom prst="ellipse">
              <a:avLst/>
            </a:prstGeom>
            <a:solidFill>
              <a:srgbClr val="3738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Oval 21"/>
            <p:cNvSpPr>
              <a:spLocks noChangeArrowheads="1"/>
            </p:cNvSpPr>
            <p:nvPr/>
          </p:nvSpPr>
          <p:spPr bwMode="auto">
            <a:xfrm>
              <a:off x="12949114" y="3744823"/>
              <a:ext cx="350838" cy="346075"/>
            </a:xfrm>
            <a:prstGeom prst="ellipse">
              <a:avLst/>
            </a:prstGeom>
            <a:solidFill>
              <a:srgbClr val="FDAC5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Oval 22"/>
            <p:cNvSpPr>
              <a:spLocks noChangeArrowheads="1"/>
            </p:cNvSpPr>
            <p:nvPr/>
          </p:nvSpPr>
          <p:spPr bwMode="auto">
            <a:xfrm>
              <a:off x="12515726" y="4162223"/>
              <a:ext cx="350838" cy="346075"/>
            </a:xfrm>
            <a:prstGeom prst="ellipse">
              <a:avLst/>
            </a:prstGeom>
            <a:solidFill>
              <a:srgbClr val="F9E54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Oval 23"/>
            <p:cNvSpPr>
              <a:spLocks noChangeArrowheads="1"/>
            </p:cNvSpPr>
            <p:nvPr/>
          </p:nvSpPr>
          <p:spPr bwMode="auto">
            <a:xfrm>
              <a:off x="12949114" y="4162223"/>
              <a:ext cx="350838" cy="346075"/>
            </a:xfrm>
            <a:prstGeom prst="ellipse">
              <a:avLst/>
            </a:prstGeom>
            <a:solidFill>
              <a:srgbClr val="C3D3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Oval 24"/>
            <p:cNvSpPr>
              <a:spLocks noChangeArrowheads="1"/>
            </p:cNvSpPr>
            <p:nvPr/>
          </p:nvSpPr>
          <p:spPr bwMode="auto">
            <a:xfrm>
              <a:off x="12515726" y="4551048"/>
              <a:ext cx="350838" cy="346075"/>
            </a:xfrm>
            <a:prstGeom prst="ellipse">
              <a:avLst/>
            </a:prstGeom>
            <a:solidFill>
              <a:srgbClr val="008C4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Oval 25"/>
            <p:cNvSpPr>
              <a:spLocks noChangeArrowheads="1"/>
            </p:cNvSpPr>
            <p:nvPr/>
          </p:nvSpPr>
          <p:spPr bwMode="auto">
            <a:xfrm>
              <a:off x="12949114" y="4551048"/>
              <a:ext cx="350838" cy="346075"/>
            </a:xfrm>
            <a:prstGeom prst="ellipse">
              <a:avLst/>
            </a:prstGeom>
            <a:solidFill>
              <a:srgbClr val="1D428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Line 33"/>
            <p:cNvSpPr>
              <a:spLocks noChangeShapeType="1"/>
            </p:cNvSpPr>
            <p:nvPr/>
          </p:nvSpPr>
          <p:spPr bwMode="auto">
            <a:xfrm>
              <a:off x="12501439" y="342805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Oval 22"/>
            <p:cNvSpPr>
              <a:spLocks noChangeArrowheads="1"/>
            </p:cNvSpPr>
            <p:nvPr/>
          </p:nvSpPr>
          <p:spPr bwMode="auto">
            <a:xfrm>
              <a:off x="12515726" y="4968448"/>
              <a:ext cx="350838" cy="346075"/>
            </a:xfrm>
            <a:prstGeom prst="ellipse">
              <a:avLst/>
            </a:prstGeom>
            <a:solidFill>
              <a:srgbClr val="883F8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Oval 23"/>
            <p:cNvSpPr>
              <a:spLocks noChangeArrowheads="1"/>
            </p:cNvSpPr>
            <p:nvPr/>
          </p:nvSpPr>
          <p:spPr bwMode="auto">
            <a:xfrm>
              <a:off x="12949114" y="4968448"/>
              <a:ext cx="350838" cy="346075"/>
            </a:xfrm>
            <a:prstGeom prst="ellipse">
              <a:avLst/>
            </a:prstGeom>
            <a:solidFill>
              <a:srgbClr val="919BC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Oval 24"/>
            <p:cNvSpPr>
              <a:spLocks noChangeArrowheads="1"/>
            </p:cNvSpPr>
            <p:nvPr/>
          </p:nvSpPr>
          <p:spPr bwMode="auto">
            <a:xfrm>
              <a:off x="12732420" y="5357273"/>
              <a:ext cx="350838" cy="346075"/>
            </a:xfrm>
            <a:prstGeom prst="ellipse">
              <a:avLst/>
            </a:prstGeom>
            <a:solidFill>
              <a:srgbClr val="856A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Line 33"/>
            <p:cNvSpPr>
              <a:spLocks noChangeShapeType="1"/>
            </p:cNvSpPr>
            <p:nvPr/>
          </p:nvSpPr>
          <p:spPr bwMode="auto">
            <a:xfrm>
              <a:off x="12501439" y="66541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12365458" y="3421008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Additional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9451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oleObject" Target="../embeddings/oleObject11.bin"/><Relationship Id="rId5" Type="http://schemas.openxmlformats.org/officeDocument/2006/relationships/slideLayout" Target="../slideLayouts/slideLayout15.xml"/><Relationship Id="rId15" Type="http://schemas.openxmlformats.org/officeDocument/2006/relationships/image" Target="../media/image4.png"/><Relationship Id="rId10" Type="http://schemas.openxmlformats.org/officeDocument/2006/relationships/tags" Target="../tags/tag12.xml"/><Relationship Id="rId4" Type="http://schemas.openxmlformats.org/officeDocument/2006/relationships/slideLayout" Target="../slideLayouts/slideLayout14.xml"/><Relationship Id="rId9" Type="http://schemas.openxmlformats.org/officeDocument/2006/relationships/vmlDrawing" Target="../drawings/vmlDrawing11.vml"/><Relationship Id="rId14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vmlDrawing" Target="../drawings/vmlDrawing19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3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9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oleObject" Target="../embeddings/oleObject19.bin"/><Relationship Id="rId10" Type="http://schemas.openxmlformats.org/officeDocument/2006/relationships/slideLayout" Target="../slideLayouts/slideLayout27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ags" Target="../tags/tag2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1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oleObject" Target="../embeddings/oleObject31.bin"/><Relationship Id="rId2" Type="http://schemas.openxmlformats.org/officeDocument/2006/relationships/slideLayout" Target="../slideLayouts/slideLayout30.xml"/><Relationship Id="rId16" Type="http://schemas.openxmlformats.org/officeDocument/2006/relationships/tags" Target="../tags/tag32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vmlDrawing" Target="../drawings/vmlDrawing31.vml"/><Relationship Id="rId10" Type="http://schemas.openxmlformats.org/officeDocument/2006/relationships/slideLayout" Target="../slideLayouts/slideLayout38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470737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07" name="Слайд think-cell" r:id="rId14" imgW="530" imgH="531" progId="TCLayout.ActiveDocument.1">
                  <p:embed/>
                </p:oleObj>
              </mc:Choice>
              <mc:Fallback>
                <p:oleObj name="Слайд think-cell" r:id="rId1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Объект 2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12" name="Google Shape;12;p1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bg2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Google Shape;13;p1"/>
          <p:cNvSpPr txBox="1"/>
          <p:nvPr/>
        </p:nvSpPr>
        <p:spPr>
          <a:xfrm>
            <a:off x="442913" y="6492240"/>
            <a:ext cx="5473700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00" b="0" i="0" u="none" strike="noStrike" cap="none" dirty="0" smtClean="0">
                <a:solidFill>
                  <a:schemeClr val="bg2"/>
                </a:solidFill>
                <a:latin typeface="Source Sans Pro" panose="020B0503030403020204" pitchFamily="34" charset="0"/>
                <a:ea typeface="Arial"/>
                <a:cs typeface="Arial"/>
                <a:sym typeface="Arial"/>
              </a:rPr>
              <a:t>EFSD.ORG</a:t>
            </a:r>
          </a:p>
        </p:txBody>
      </p:sp>
      <p:sp>
        <p:nvSpPr>
          <p:cNvPr id="14" name="Google Shape;14;p1"/>
          <p:cNvSpPr txBox="1">
            <a:spLocks noGrp="1"/>
          </p:cNvSpPr>
          <p:nvPr>
            <p:ph type="dt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ru-RU"/>
          </a:p>
        </p:txBody>
      </p:sp>
      <p:sp>
        <p:nvSpPr>
          <p:cNvPr id="15" name="Google Shape;15;p1"/>
          <p:cNvSpPr txBox="1">
            <a:spLocks noGrp="1"/>
          </p:cNvSpPr>
          <p:nvPr>
            <p:ph type="ftr" idx="11"/>
          </p:nvPr>
        </p:nvSpPr>
        <p:spPr>
          <a:xfrm>
            <a:off x="442913" y="6355080"/>
            <a:ext cx="5473701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 smtClean="0"/>
              <a:t>Footer goes here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2913" y="428624"/>
            <a:ext cx="11306175" cy="8048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 smtClean="0"/>
              <a:t>Slide title</a:t>
            </a:r>
            <a:endParaRPr lang="ru-RU" dirty="0"/>
          </a:p>
        </p:txBody>
      </p:sp>
      <p:sp>
        <p:nvSpPr>
          <p:cNvPr id="53" name="Текст 52"/>
          <p:cNvSpPr>
            <a:spLocks noGrp="1"/>
          </p:cNvSpPr>
          <p:nvPr>
            <p:ph type="body" idx="1"/>
          </p:nvPr>
        </p:nvSpPr>
        <p:spPr>
          <a:xfrm>
            <a:off x="442913" y="1520825"/>
            <a:ext cx="11306175" cy="46561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2"/>
            <a:r>
              <a:rPr lang="ru-RU" dirty="0" smtClean="0"/>
              <a:t>Второй уровень</a:t>
            </a:r>
          </a:p>
          <a:p>
            <a:pPr lvl="4"/>
            <a:r>
              <a:rPr lang="ru-RU" dirty="0" smtClean="0"/>
              <a:t>Третий уровень</a:t>
            </a:r>
          </a:p>
        </p:txBody>
      </p:sp>
      <p:grpSp>
        <p:nvGrpSpPr>
          <p:cNvPr id="75" name="Группа 74"/>
          <p:cNvGrpSpPr>
            <a:grpSpLocks noChangeAspect="1"/>
          </p:cNvGrpSpPr>
          <p:nvPr userDrawn="1"/>
        </p:nvGrpSpPr>
        <p:grpSpPr>
          <a:xfrm>
            <a:off x="12365458" y="2"/>
            <a:ext cx="1080000" cy="6858030"/>
            <a:chOff x="12365458" y="0"/>
            <a:chExt cx="1080000" cy="6858000"/>
          </a:xfrm>
        </p:grpSpPr>
        <p:sp>
          <p:nvSpPr>
            <p:cNvPr id="76" name="Freeform 5"/>
            <p:cNvSpPr>
              <a:spLocks/>
            </p:cNvSpPr>
            <p:nvPr/>
          </p:nvSpPr>
          <p:spPr bwMode="auto">
            <a:xfrm>
              <a:off x="12365458" y="0"/>
              <a:ext cx="1080000" cy="6858000"/>
            </a:xfrm>
            <a:prstGeom prst="roundRect">
              <a:avLst>
                <a:gd name="adj" fmla="val 12318"/>
              </a:avLst>
            </a:prstGeom>
            <a:solidFill>
              <a:schemeClr val="bg1"/>
            </a:solidFill>
            <a:ln w="7938" cap="flat">
              <a:solidFill>
                <a:srgbClr val="FEFEF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77" name="Группа 76"/>
            <p:cNvGrpSpPr/>
            <p:nvPr userDrawn="1"/>
          </p:nvGrpSpPr>
          <p:grpSpPr>
            <a:xfrm>
              <a:off x="12365458" y="5764224"/>
              <a:ext cx="1080000" cy="838989"/>
              <a:chOff x="12365458" y="5764224"/>
              <a:chExt cx="1080000" cy="838989"/>
            </a:xfrm>
          </p:grpSpPr>
          <p:pic>
            <p:nvPicPr>
              <p:cNvPr id="101" name="Picture 30"/>
              <p:cNvPicPr>
                <a:picLocks noChangeAspect="1" noChangeArrowheads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08164" y="6094649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2" name="Picture 31"/>
              <p:cNvPicPr>
                <a:picLocks noChangeAspect="1" noChangeArrowheads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37017" y="6101736"/>
                <a:ext cx="152400" cy="123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3" name="Picture 32"/>
              <p:cNvPicPr>
                <a:picLocks noChangeAspect="1" noChangeArrowheads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125833" y="6321161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04" name="TextBox 103"/>
              <p:cNvSpPr txBox="1"/>
              <p:nvPr/>
            </p:nvSpPr>
            <p:spPr>
              <a:xfrm>
                <a:off x="12365458" y="5764224"/>
                <a:ext cx="1080000" cy="838989"/>
              </a:xfrm>
              <a:prstGeom prst="rect">
                <a:avLst/>
              </a:prstGeom>
              <a:noFill/>
            </p:spPr>
            <p:txBody>
              <a:bodyPr wrap="square" lIns="36000" tIns="0" rIns="3600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Select a text or graphic element.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, respectively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or .</a:t>
                </a:r>
              </a:p>
              <a:p>
                <a:pPr algn="ctr">
                  <a:lnSpc>
                    <a:spcPct val="90000"/>
                  </a:lnSpc>
                  <a:spcBef>
                    <a:spcPts val="300"/>
                  </a:spcBef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After selecting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the pipette tool          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 on the desired color on the palette.</a:t>
                </a:r>
                <a:endParaRPr lang="ru-RU" sz="800" dirty="0">
                  <a:solidFill>
                    <a:srgbClr val="30343F"/>
                  </a:solidFill>
                  <a:latin typeface="Source Sans Pro" panose="020B0503030403020204" pitchFamily="34" charset="0"/>
                </a:endParaRPr>
              </a:p>
            </p:txBody>
          </p:sp>
        </p:grpSp>
        <p:sp>
          <p:nvSpPr>
            <p:cNvPr id="78" name="TextBox 77"/>
            <p:cNvSpPr txBox="1"/>
            <p:nvPr/>
          </p:nvSpPr>
          <p:spPr>
            <a:xfrm>
              <a:off x="12368248" y="18288"/>
              <a:ext cx="1074420" cy="4606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Color palette </a:t>
              </a:r>
              <a:b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</a:b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for EFSR presentations</a:t>
              </a:r>
              <a:endParaRPr lang="ru-RU" sz="1000" dirty="0">
                <a:solidFill>
                  <a:srgbClr val="343467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12365458" y="640080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The main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0" name="Oval 8"/>
            <p:cNvSpPr>
              <a:spLocks noChangeArrowheads="1"/>
            </p:cNvSpPr>
            <p:nvPr/>
          </p:nvSpPr>
          <p:spPr bwMode="auto">
            <a:xfrm>
              <a:off x="12518642" y="970675"/>
              <a:ext cx="350838" cy="346075"/>
            </a:xfrm>
            <a:prstGeom prst="ellipse">
              <a:avLst/>
            </a:prstGeom>
            <a:solidFill>
              <a:srgbClr val="00589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Oval 9"/>
            <p:cNvSpPr>
              <a:spLocks noChangeArrowheads="1"/>
            </p:cNvSpPr>
            <p:nvPr/>
          </p:nvSpPr>
          <p:spPr bwMode="auto">
            <a:xfrm>
              <a:off x="12515726" y="1381725"/>
              <a:ext cx="350838" cy="346075"/>
            </a:xfrm>
            <a:prstGeom prst="ellipse">
              <a:avLst/>
            </a:prstGeom>
            <a:solidFill>
              <a:srgbClr val="00B1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Oval 10"/>
            <p:cNvSpPr>
              <a:spLocks noChangeArrowheads="1"/>
            </p:cNvSpPr>
            <p:nvPr/>
          </p:nvSpPr>
          <p:spPr bwMode="auto">
            <a:xfrm>
              <a:off x="12515726" y="2602206"/>
              <a:ext cx="350838" cy="346075"/>
            </a:xfrm>
            <a:prstGeom prst="ellipse">
              <a:avLst/>
            </a:prstGeom>
            <a:solidFill>
              <a:srgbClr val="C2BFB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Oval 11"/>
            <p:cNvSpPr>
              <a:spLocks noChangeAspect="1" noChangeArrowheads="1"/>
            </p:cNvSpPr>
            <p:nvPr/>
          </p:nvSpPr>
          <p:spPr bwMode="auto">
            <a:xfrm>
              <a:off x="12515725" y="1780075"/>
              <a:ext cx="793329" cy="792000"/>
            </a:xfrm>
            <a:prstGeom prst="ellipse">
              <a:avLst/>
            </a:prstGeom>
            <a:solidFill>
              <a:srgbClr val="343467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lvl="0"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FFFFFF"/>
                  </a:solidFill>
                  <a:latin typeface="Source Sans Pro" panose="020B0503030403020204" pitchFamily="34" charset="0"/>
                </a:rPr>
                <a:t>Base color</a:t>
              </a:r>
              <a:endParaRPr lang="ru-RU" sz="1000" dirty="0">
                <a:solidFill>
                  <a:srgbClr val="FFFFF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4" name="Oval 13"/>
            <p:cNvSpPr>
              <a:spLocks noChangeArrowheads="1"/>
            </p:cNvSpPr>
            <p:nvPr/>
          </p:nvSpPr>
          <p:spPr bwMode="auto">
            <a:xfrm>
              <a:off x="12515726" y="2978412"/>
              <a:ext cx="350838" cy="346075"/>
            </a:xfrm>
            <a:prstGeom prst="ellipse">
              <a:avLst/>
            </a:prstGeom>
            <a:solidFill>
              <a:srgbClr val="30343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Oval 14"/>
            <p:cNvSpPr>
              <a:spLocks noChangeArrowheads="1"/>
            </p:cNvSpPr>
            <p:nvPr/>
          </p:nvSpPr>
          <p:spPr bwMode="auto">
            <a:xfrm>
              <a:off x="12515726" y="3744823"/>
              <a:ext cx="350838" cy="346075"/>
            </a:xfrm>
            <a:prstGeom prst="ellipse">
              <a:avLst/>
            </a:prstGeom>
            <a:solidFill>
              <a:srgbClr val="D034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Oval 15"/>
            <p:cNvSpPr>
              <a:spLocks noChangeArrowheads="1"/>
            </p:cNvSpPr>
            <p:nvPr/>
          </p:nvSpPr>
          <p:spPr bwMode="auto">
            <a:xfrm>
              <a:off x="12949114" y="975437"/>
              <a:ext cx="350838" cy="346075"/>
            </a:xfrm>
            <a:prstGeom prst="ellipse">
              <a:avLst/>
            </a:prstGeom>
            <a:solidFill>
              <a:srgbClr val="007CB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Oval 16"/>
            <p:cNvSpPr>
              <a:spLocks noChangeArrowheads="1"/>
            </p:cNvSpPr>
            <p:nvPr/>
          </p:nvSpPr>
          <p:spPr bwMode="auto">
            <a:xfrm>
              <a:off x="12949114" y="1381725"/>
              <a:ext cx="350838" cy="346075"/>
            </a:xfrm>
            <a:prstGeom prst="ellipse">
              <a:avLst/>
            </a:prstGeom>
            <a:solidFill>
              <a:srgbClr val="B4DCE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Oval 17"/>
            <p:cNvSpPr>
              <a:spLocks noChangeArrowheads="1"/>
            </p:cNvSpPr>
            <p:nvPr/>
          </p:nvSpPr>
          <p:spPr bwMode="auto">
            <a:xfrm>
              <a:off x="12949114" y="2602206"/>
              <a:ext cx="350838" cy="346075"/>
            </a:xfrm>
            <a:prstGeom prst="ellipse">
              <a:avLst/>
            </a:prstGeom>
            <a:solidFill>
              <a:srgbClr val="84898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9" name="Oval 20"/>
            <p:cNvSpPr>
              <a:spLocks noChangeArrowheads="1"/>
            </p:cNvSpPr>
            <p:nvPr/>
          </p:nvSpPr>
          <p:spPr bwMode="auto">
            <a:xfrm>
              <a:off x="12949114" y="2978412"/>
              <a:ext cx="350838" cy="346075"/>
            </a:xfrm>
            <a:prstGeom prst="ellipse">
              <a:avLst/>
            </a:prstGeom>
            <a:solidFill>
              <a:srgbClr val="3738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0" name="Oval 21"/>
            <p:cNvSpPr>
              <a:spLocks noChangeArrowheads="1"/>
            </p:cNvSpPr>
            <p:nvPr/>
          </p:nvSpPr>
          <p:spPr bwMode="auto">
            <a:xfrm>
              <a:off x="12949114" y="3744823"/>
              <a:ext cx="350838" cy="346075"/>
            </a:xfrm>
            <a:prstGeom prst="ellipse">
              <a:avLst/>
            </a:prstGeom>
            <a:solidFill>
              <a:srgbClr val="FDAC5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1" name="Oval 22"/>
            <p:cNvSpPr>
              <a:spLocks noChangeArrowheads="1"/>
            </p:cNvSpPr>
            <p:nvPr/>
          </p:nvSpPr>
          <p:spPr bwMode="auto">
            <a:xfrm>
              <a:off x="12515726" y="4162223"/>
              <a:ext cx="350838" cy="346075"/>
            </a:xfrm>
            <a:prstGeom prst="ellipse">
              <a:avLst/>
            </a:prstGeom>
            <a:solidFill>
              <a:srgbClr val="F9E54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2" name="Oval 23"/>
            <p:cNvSpPr>
              <a:spLocks noChangeArrowheads="1"/>
            </p:cNvSpPr>
            <p:nvPr/>
          </p:nvSpPr>
          <p:spPr bwMode="auto">
            <a:xfrm>
              <a:off x="12949114" y="4162223"/>
              <a:ext cx="350838" cy="346075"/>
            </a:xfrm>
            <a:prstGeom prst="ellipse">
              <a:avLst/>
            </a:prstGeom>
            <a:solidFill>
              <a:srgbClr val="C3D3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3" name="Oval 24"/>
            <p:cNvSpPr>
              <a:spLocks noChangeArrowheads="1"/>
            </p:cNvSpPr>
            <p:nvPr/>
          </p:nvSpPr>
          <p:spPr bwMode="auto">
            <a:xfrm>
              <a:off x="12515726" y="4551048"/>
              <a:ext cx="350838" cy="346075"/>
            </a:xfrm>
            <a:prstGeom prst="ellipse">
              <a:avLst/>
            </a:prstGeom>
            <a:solidFill>
              <a:srgbClr val="008C4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4" name="Oval 25"/>
            <p:cNvSpPr>
              <a:spLocks noChangeArrowheads="1"/>
            </p:cNvSpPr>
            <p:nvPr/>
          </p:nvSpPr>
          <p:spPr bwMode="auto">
            <a:xfrm>
              <a:off x="12949114" y="4551048"/>
              <a:ext cx="350838" cy="346075"/>
            </a:xfrm>
            <a:prstGeom prst="ellipse">
              <a:avLst/>
            </a:prstGeom>
            <a:solidFill>
              <a:srgbClr val="1D428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5" name="Line 33"/>
            <p:cNvSpPr>
              <a:spLocks noChangeShapeType="1"/>
            </p:cNvSpPr>
            <p:nvPr/>
          </p:nvSpPr>
          <p:spPr bwMode="auto">
            <a:xfrm>
              <a:off x="12501439" y="342805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6" name="Oval 22"/>
            <p:cNvSpPr>
              <a:spLocks noChangeArrowheads="1"/>
            </p:cNvSpPr>
            <p:nvPr/>
          </p:nvSpPr>
          <p:spPr bwMode="auto">
            <a:xfrm>
              <a:off x="12515726" y="4968448"/>
              <a:ext cx="350838" cy="346075"/>
            </a:xfrm>
            <a:prstGeom prst="ellipse">
              <a:avLst/>
            </a:prstGeom>
            <a:solidFill>
              <a:srgbClr val="883F8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7" name="Oval 23"/>
            <p:cNvSpPr>
              <a:spLocks noChangeArrowheads="1"/>
            </p:cNvSpPr>
            <p:nvPr/>
          </p:nvSpPr>
          <p:spPr bwMode="auto">
            <a:xfrm>
              <a:off x="12949114" y="4968448"/>
              <a:ext cx="350838" cy="346075"/>
            </a:xfrm>
            <a:prstGeom prst="ellipse">
              <a:avLst/>
            </a:prstGeom>
            <a:solidFill>
              <a:srgbClr val="919BC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8" name="Oval 24"/>
            <p:cNvSpPr>
              <a:spLocks noChangeArrowheads="1"/>
            </p:cNvSpPr>
            <p:nvPr/>
          </p:nvSpPr>
          <p:spPr bwMode="auto">
            <a:xfrm>
              <a:off x="12732420" y="5357273"/>
              <a:ext cx="350838" cy="346075"/>
            </a:xfrm>
            <a:prstGeom prst="ellipse">
              <a:avLst/>
            </a:prstGeom>
            <a:solidFill>
              <a:srgbClr val="856A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9" name="Line 33"/>
            <p:cNvSpPr>
              <a:spLocks noChangeShapeType="1"/>
            </p:cNvSpPr>
            <p:nvPr/>
          </p:nvSpPr>
          <p:spPr bwMode="auto">
            <a:xfrm>
              <a:off x="12501439" y="66541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12365458" y="3421008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Additional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329920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811" r:id="rId10"/>
  </p:sldLayoutIdLst>
  <p:timing>
    <p:tnLst>
      <p:par>
        <p:cTn id="1" dur="indefinite" restart="never" nodeType="tmRoot"/>
      </p:par>
    </p:tnLst>
  </p:timing>
  <p:hf hdr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200" b="0" i="0" u="none" strike="noStrike" cap="none">
          <a:solidFill>
            <a:schemeClr val="bg2"/>
          </a:solidFill>
          <a:latin typeface="Source Sans Pro" panose="020B0503030403020204" pitchFamily="34" charset="0"/>
          <a:ea typeface="Source Sans Pro" panose="020B0503030403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L="0" marR="0" lvl="0" indent="0" algn="l" rtl="0" eaLnBrk="1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/>
        <a:defRPr sz="1800" b="0" i="0" u="none" strike="noStrike" cap="none">
          <a:solidFill>
            <a:srgbClr val="000000"/>
          </a:solidFill>
          <a:latin typeface="Source Sans Pro" panose="020B0503030403020204" pitchFamily="34" charset="0"/>
          <a:ea typeface="Source Sans Pro" panose="020B0503030403020204" pitchFamily="34" charset="0"/>
          <a:cs typeface="Arial"/>
          <a:sym typeface="Arial"/>
        </a:defRPr>
      </a:lvl1pPr>
      <a:lvl2pPr marL="0" marR="0" lvl="1" indent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L="285750" marR="0" lvl="2" indent="-285750" algn="l" rtl="0" eaLnBrk="1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anose="020B0604020202020204" pitchFamily="34" charset="0"/>
        <a:buChar char="•"/>
        <a:defRPr sz="1800" b="0" i="0" u="none" strike="noStrike" cap="none">
          <a:solidFill>
            <a:srgbClr val="000000"/>
          </a:solidFill>
          <a:latin typeface="Source Sans Pro" panose="020B0503030403020204" pitchFamily="34" charset="0"/>
          <a:ea typeface="Source Sans Pro" panose="020B0503030403020204" pitchFamily="34" charset="0"/>
          <a:cs typeface="Arial"/>
          <a:sym typeface="Arial"/>
        </a:defRPr>
      </a:lvl3pPr>
      <a:lvl4pPr marL="285750" marR="0" lvl="3" indent="-28575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 pitchFamily="34" charset="0"/>
        <a:buChar char="•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L="538163" marR="0" lvl="4" indent="-255588" algn="l" rtl="0" eaLnBrk="1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anose="020B0604020202020204" pitchFamily="34" charset="0"/>
        <a:buChar char="­"/>
        <a:defRPr sz="1800" b="0" i="0" u="none" strike="noStrike" cap="none">
          <a:solidFill>
            <a:srgbClr val="000000"/>
          </a:solidFill>
          <a:latin typeface="Source Sans Pro" panose="020B0503030403020204" pitchFamily="34" charset="0"/>
          <a:ea typeface="Source Sans Pro" panose="020B0503030403020204" pitchFamily="34" charset="0"/>
          <a:cs typeface="Arial"/>
          <a:sym typeface="Arial"/>
        </a:defRPr>
      </a:lvl5pPr>
      <a:lvl6pPr marL="285750" marR="0" lvl="5" indent="-28575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 pitchFamily="34" charset="0"/>
        <a:buChar char="•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279">
          <p15:clr>
            <a:srgbClr val="F26B43"/>
          </p15:clr>
        </p15:guide>
        <p15:guide id="3" pos="7401">
          <p15:clr>
            <a:srgbClr val="F26B43"/>
          </p15:clr>
        </p15:guide>
        <p15:guide id="4" pos="3953">
          <p15:clr>
            <a:srgbClr val="F26B43"/>
          </p15:clr>
        </p15:guide>
        <p15:guide id="5" pos="3727">
          <p15:clr>
            <a:srgbClr val="F26B43"/>
          </p15:clr>
        </p15:guide>
        <p15:guide id="6" orient="horz" pos="3888">
          <p15:clr>
            <a:srgbClr val="F26B43"/>
          </p15:clr>
        </p15:guide>
        <p15:guide id="7" pos="2726">
          <p15:clr>
            <a:srgbClr val="F26B43"/>
          </p15:clr>
        </p15:guide>
        <p15:guide id="8" pos="2502">
          <p15:clr>
            <a:srgbClr val="F26B43"/>
          </p15:clr>
        </p15:guide>
        <p15:guide id="9" pos="4952">
          <p15:clr>
            <a:srgbClr val="F26B43"/>
          </p15:clr>
        </p15:guide>
        <p15:guide id="10" pos="5177">
          <p15:clr>
            <a:srgbClr val="F26B43"/>
          </p15:clr>
        </p15:guide>
        <p15:guide id="11" orient="horz" pos="2160">
          <p15:clr>
            <a:srgbClr val="F26B43"/>
          </p15:clr>
        </p15:guide>
        <p15:guide id="12" orient="horz" pos="958">
          <p15:clr>
            <a:srgbClr val="F26B43"/>
          </p15:clr>
        </p15:guide>
        <p15:guide id="13" orient="horz" pos="777">
          <p15:clr>
            <a:srgbClr val="F26B43"/>
          </p15:clr>
        </p15:guide>
        <p15:guide id="14" orient="horz" pos="27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14472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47" name="Слайд think-cell" r:id="rId11" imgW="530" imgH="531" progId="TCLayout.ActiveDocument.1">
                  <p:embed/>
                </p:oleObj>
              </mc:Choice>
              <mc:Fallback>
                <p:oleObj name="Слайд think-cell" r:id="rId11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Объект 2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12" name="Google Shape;12;p1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bg2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Google Shape;13;p1"/>
          <p:cNvSpPr txBox="1"/>
          <p:nvPr/>
        </p:nvSpPr>
        <p:spPr>
          <a:xfrm>
            <a:off x="442913" y="6492240"/>
            <a:ext cx="5473700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00" b="0" i="0" u="none" strike="noStrike" cap="none" dirty="0" smtClean="0">
                <a:solidFill>
                  <a:schemeClr val="bg2"/>
                </a:solidFill>
                <a:latin typeface="Source Sans Pro" panose="020B0503030403020204" pitchFamily="34" charset="0"/>
                <a:ea typeface="Arial"/>
                <a:cs typeface="Arial"/>
                <a:sym typeface="Arial"/>
              </a:rPr>
              <a:t>EFSD.ORG</a:t>
            </a:r>
          </a:p>
        </p:txBody>
      </p:sp>
      <p:sp>
        <p:nvSpPr>
          <p:cNvPr id="14" name="Google Shape;14;p1"/>
          <p:cNvSpPr txBox="1">
            <a:spLocks noGrp="1"/>
          </p:cNvSpPr>
          <p:nvPr>
            <p:ph type="dt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ru-RU"/>
          </a:p>
        </p:txBody>
      </p:sp>
      <p:sp>
        <p:nvSpPr>
          <p:cNvPr id="15" name="Google Shape;15;p1"/>
          <p:cNvSpPr txBox="1">
            <a:spLocks noGrp="1"/>
          </p:cNvSpPr>
          <p:nvPr>
            <p:ph type="ftr" idx="11"/>
          </p:nvPr>
        </p:nvSpPr>
        <p:spPr>
          <a:xfrm>
            <a:off x="442913" y="6355080"/>
            <a:ext cx="5473701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 smtClean="0"/>
              <a:t>Footer goes here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2913" y="428624"/>
            <a:ext cx="11306175" cy="8048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 smtClean="0"/>
              <a:t>Slide title</a:t>
            </a:r>
            <a:endParaRPr lang="ru-RU" dirty="0"/>
          </a:p>
        </p:txBody>
      </p:sp>
      <p:sp>
        <p:nvSpPr>
          <p:cNvPr id="53" name="Текст 52"/>
          <p:cNvSpPr>
            <a:spLocks noGrp="1"/>
          </p:cNvSpPr>
          <p:nvPr>
            <p:ph type="body" idx="1"/>
          </p:nvPr>
        </p:nvSpPr>
        <p:spPr>
          <a:xfrm>
            <a:off x="442913" y="1520825"/>
            <a:ext cx="11306175" cy="46561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2"/>
            <a:r>
              <a:rPr lang="ru-RU" dirty="0" smtClean="0"/>
              <a:t>Второй уровень</a:t>
            </a:r>
          </a:p>
          <a:p>
            <a:pPr lvl="4"/>
            <a:r>
              <a:rPr lang="ru-RU" dirty="0" smtClean="0"/>
              <a:t>Третий уровень</a:t>
            </a:r>
          </a:p>
        </p:txBody>
      </p:sp>
      <p:grpSp>
        <p:nvGrpSpPr>
          <p:cNvPr id="44" name="Группа 43"/>
          <p:cNvGrpSpPr>
            <a:grpSpLocks noChangeAspect="1"/>
          </p:cNvGrpSpPr>
          <p:nvPr userDrawn="1"/>
        </p:nvGrpSpPr>
        <p:grpSpPr>
          <a:xfrm>
            <a:off x="12365458" y="2"/>
            <a:ext cx="1080000" cy="6858030"/>
            <a:chOff x="12365458" y="0"/>
            <a:chExt cx="1080000" cy="6858000"/>
          </a:xfrm>
        </p:grpSpPr>
        <p:sp>
          <p:nvSpPr>
            <p:cNvPr id="45" name="Freeform 5"/>
            <p:cNvSpPr>
              <a:spLocks/>
            </p:cNvSpPr>
            <p:nvPr/>
          </p:nvSpPr>
          <p:spPr bwMode="auto">
            <a:xfrm>
              <a:off x="12365458" y="0"/>
              <a:ext cx="1080000" cy="6858000"/>
            </a:xfrm>
            <a:prstGeom prst="roundRect">
              <a:avLst>
                <a:gd name="adj" fmla="val 12318"/>
              </a:avLst>
            </a:prstGeom>
            <a:solidFill>
              <a:schemeClr val="bg1"/>
            </a:solidFill>
            <a:ln w="7938" cap="flat">
              <a:solidFill>
                <a:srgbClr val="FEFEF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46" name="Группа 45"/>
            <p:cNvGrpSpPr/>
            <p:nvPr userDrawn="1"/>
          </p:nvGrpSpPr>
          <p:grpSpPr>
            <a:xfrm>
              <a:off x="12365458" y="5764224"/>
              <a:ext cx="1080000" cy="838989"/>
              <a:chOff x="12365458" y="5764224"/>
              <a:chExt cx="1080000" cy="838989"/>
            </a:xfrm>
          </p:grpSpPr>
          <p:pic>
            <p:nvPicPr>
              <p:cNvPr id="71" name="Picture 30"/>
              <p:cNvPicPr>
                <a:picLocks noChangeAspect="1" noChangeArrowheads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08164" y="6094649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2" name="Picture 31"/>
              <p:cNvPicPr>
                <a:picLocks noChangeAspect="1" noChangeArrowheads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37017" y="6101736"/>
                <a:ext cx="152400" cy="123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3" name="Picture 32"/>
              <p:cNvPicPr>
                <a:picLocks noChangeAspect="1" noChangeArrowheads="1"/>
              </p:cNvPicPr>
              <p:nvPr/>
            </p:nvPicPr>
            <p:blipFill>
              <a:blip r:embed="rId1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125833" y="6321161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4" name="TextBox 73"/>
              <p:cNvSpPr txBox="1"/>
              <p:nvPr/>
            </p:nvSpPr>
            <p:spPr>
              <a:xfrm>
                <a:off x="12365458" y="5764224"/>
                <a:ext cx="1080000" cy="838989"/>
              </a:xfrm>
              <a:prstGeom prst="rect">
                <a:avLst/>
              </a:prstGeom>
              <a:noFill/>
            </p:spPr>
            <p:txBody>
              <a:bodyPr wrap="square" lIns="36000" tIns="0" rIns="3600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Select a text or graphic element.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, respectively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or .</a:t>
                </a:r>
              </a:p>
              <a:p>
                <a:pPr algn="ctr">
                  <a:lnSpc>
                    <a:spcPct val="90000"/>
                  </a:lnSpc>
                  <a:spcBef>
                    <a:spcPts val="300"/>
                  </a:spcBef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After selecting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the pipette tool          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 on the desired color on the palette.</a:t>
                </a:r>
                <a:endParaRPr lang="ru-RU" sz="800" dirty="0">
                  <a:solidFill>
                    <a:srgbClr val="30343F"/>
                  </a:solidFill>
                  <a:latin typeface="Source Sans Pro" panose="020B0503030403020204" pitchFamily="34" charset="0"/>
                </a:endParaRPr>
              </a:p>
            </p:txBody>
          </p:sp>
        </p:grpSp>
        <p:sp>
          <p:nvSpPr>
            <p:cNvPr id="47" name="TextBox 46"/>
            <p:cNvSpPr txBox="1"/>
            <p:nvPr/>
          </p:nvSpPr>
          <p:spPr>
            <a:xfrm>
              <a:off x="12368248" y="18288"/>
              <a:ext cx="1074420" cy="4606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Color palette </a:t>
              </a:r>
              <a:b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</a:b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for EFSR presentations</a:t>
              </a:r>
              <a:endParaRPr lang="ru-RU" sz="1000" dirty="0">
                <a:solidFill>
                  <a:srgbClr val="343467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12365458" y="640080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The main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49" name="Oval 8"/>
            <p:cNvSpPr>
              <a:spLocks noChangeArrowheads="1"/>
            </p:cNvSpPr>
            <p:nvPr/>
          </p:nvSpPr>
          <p:spPr bwMode="auto">
            <a:xfrm>
              <a:off x="12518642" y="970675"/>
              <a:ext cx="350838" cy="346075"/>
            </a:xfrm>
            <a:prstGeom prst="ellipse">
              <a:avLst/>
            </a:prstGeom>
            <a:solidFill>
              <a:srgbClr val="00589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Oval 9"/>
            <p:cNvSpPr>
              <a:spLocks noChangeArrowheads="1"/>
            </p:cNvSpPr>
            <p:nvPr/>
          </p:nvSpPr>
          <p:spPr bwMode="auto">
            <a:xfrm>
              <a:off x="12515726" y="1381725"/>
              <a:ext cx="350838" cy="346075"/>
            </a:xfrm>
            <a:prstGeom prst="ellipse">
              <a:avLst/>
            </a:prstGeom>
            <a:solidFill>
              <a:srgbClr val="00B1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Oval 10"/>
            <p:cNvSpPr>
              <a:spLocks noChangeArrowheads="1"/>
            </p:cNvSpPr>
            <p:nvPr/>
          </p:nvSpPr>
          <p:spPr bwMode="auto">
            <a:xfrm>
              <a:off x="12515726" y="2602206"/>
              <a:ext cx="350838" cy="346075"/>
            </a:xfrm>
            <a:prstGeom prst="ellipse">
              <a:avLst/>
            </a:prstGeom>
            <a:solidFill>
              <a:srgbClr val="C2BFB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Oval 11"/>
            <p:cNvSpPr>
              <a:spLocks noChangeAspect="1" noChangeArrowheads="1"/>
            </p:cNvSpPr>
            <p:nvPr/>
          </p:nvSpPr>
          <p:spPr bwMode="auto">
            <a:xfrm>
              <a:off x="12515725" y="1780075"/>
              <a:ext cx="793329" cy="792000"/>
            </a:xfrm>
            <a:prstGeom prst="ellipse">
              <a:avLst/>
            </a:prstGeom>
            <a:solidFill>
              <a:srgbClr val="343467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lvl="0"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FFFFFF"/>
                  </a:solidFill>
                  <a:latin typeface="Source Sans Pro" panose="020B0503030403020204" pitchFamily="34" charset="0"/>
                </a:rPr>
                <a:t>Base color</a:t>
              </a:r>
              <a:endParaRPr lang="ru-RU" sz="1000" dirty="0">
                <a:solidFill>
                  <a:srgbClr val="FFFFF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54" name="Oval 13"/>
            <p:cNvSpPr>
              <a:spLocks noChangeArrowheads="1"/>
            </p:cNvSpPr>
            <p:nvPr/>
          </p:nvSpPr>
          <p:spPr bwMode="auto">
            <a:xfrm>
              <a:off x="12515726" y="2978412"/>
              <a:ext cx="350838" cy="346075"/>
            </a:xfrm>
            <a:prstGeom prst="ellipse">
              <a:avLst/>
            </a:prstGeom>
            <a:solidFill>
              <a:srgbClr val="30343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Oval 14"/>
            <p:cNvSpPr>
              <a:spLocks noChangeArrowheads="1"/>
            </p:cNvSpPr>
            <p:nvPr/>
          </p:nvSpPr>
          <p:spPr bwMode="auto">
            <a:xfrm>
              <a:off x="12515726" y="3744823"/>
              <a:ext cx="350838" cy="346075"/>
            </a:xfrm>
            <a:prstGeom prst="ellipse">
              <a:avLst/>
            </a:prstGeom>
            <a:solidFill>
              <a:srgbClr val="D034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Oval 15"/>
            <p:cNvSpPr>
              <a:spLocks noChangeArrowheads="1"/>
            </p:cNvSpPr>
            <p:nvPr/>
          </p:nvSpPr>
          <p:spPr bwMode="auto">
            <a:xfrm>
              <a:off x="12949114" y="975437"/>
              <a:ext cx="350838" cy="346075"/>
            </a:xfrm>
            <a:prstGeom prst="ellipse">
              <a:avLst/>
            </a:prstGeom>
            <a:solidFill>
              <a:srgbClr val="007CB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Oval 16"/>
            <p:cNvSpPr>
              <a:spLocks noChangeArrowheads="1"/>
            </p:cNvSpPr>
            <p:nvPr/>
          </p:nvSpPr>
          <p:spPr bwMode="auto">
            <a:xfrm>
              <a:off x="12949114" y="1381725"/>
              <a:ext cx="350838" cy="346075"/>
            </a:xfrm>
            <a:prstGeom prst="ellipse">
              <a:avLst/>
            </a:prstGeom>
            <a:solidFill>
              <a:srgbClr val="B4DCE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Oval 17"/>
            <p:cNvSpPr>
              <a:spLocks noChangeArrowheads="1"/>
            </p:cNvSpPr>
            <p:nvPr/>
          </p:nvSpPr>
          <p:spPr bwMode="auto">
            <a:xfrm>
              <a:off x="12949114" y="2602206"/>
              <a:ext cx="350838" cy="346075"/>
            </a:xfrm>
            <a:prstGeom prst="ellipse">
              <a:avLst/>
            </a:prstGeom>
            <a:solidFill>
              <a:srgbClr val="84898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Oval 20"/>
            <p:cNvSpPr>
              <a:spLocks noChangeArrowheads="1"/>
            </p:cNvSpPr>
            <p:nvPr/>
          </p:nvSpPr>
          <p:spPr bwMode="auto">
            <a:xfrm>
              <a:off x="12949114" y="2978412"/>
              <a:ext cx="350838" cy="346075"/>
            </a:xfrm>
            <a:prstGeom prst="ellipse">
              <a:avLst/>
            </a:prstGeom>
            <a:solidFill>
              <a:srgbClr val="3738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Oval 21"/>
            <p:cNvSpPr>
              <a:spLocks noChangeArrowheads="1"/>
            </p:cNvSpPr>
            <p:nvPr/>
          </p:nvSpPr>
          <p:spPr bwMode="auto">
            <a:xfrm>
              <a:off x="12949114" y="3744823"/>
              <a:ext cx="350838" cy="346075"/>
            </a:xfrm>
            <a:prstGeom prst="ellipse">
              <a:avLst/>
            </a:prstGeom>
            <a:solidFill>
              <a:srgbClr val="FDAC5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Oval 22"/>
            <p:cNvSpPr>
              <a:spLocks noChangeArrowheads="1"/>
            </p:cNvSpPr>
            <p:nvPr/>
          </p:nvSpPr>
          <p:spPr bwMode="auto">
            <a:xfrm>
              <a:off x="12515726" y="4162223"/>
              <a:ext cx="350838" cy="346075"/>
            </a:xfrm>
            <a:prstGeom prst="ellipse">
              <a:avLst/>
            </a:prstGeom>
            <a:solidFill>
              <a:srgbClr val="F9E54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Oval 23"/>
            <p:cNvSpPr>
              <a:spLocks noChangeArrowheads="1"/>
            </p:cNvSpPr>
            <p:nvPr/>
          </p:nvSpPr>
          <p:spPr bwMode="auto">
            <a:xfrm>
              <a:off x="12949114" y="4162223"/>
              <a:ext cx="350838" cy="346075"/>
            </a:xfrm>
            <a:prstGeom prst="ellipse">
              <a:avLst/>
            </a:prstGeom>
            <a:solidFill>
              <a:srgbClr val="C3D3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Oval 24"/>
            <p:cNvSpPr>
              <a:spLocks noChangeArrowheads="1"/>
            </p:cNvSpPr>
            <p:nvPr/>
          </p:nvSpPr>
          <p:spPr bwMode="auto">
            <a:xfrm>
              <a:off x="12515726" y="4551048"/>
              <a:ext cx="350838" cy="346075"/>
            </a:xfrm>
            <a:prstGeom prst="ellipse">
              <a:avLst/>
            </a:prstGeom>
            <a:solidFill>
              <a:srgbClr val="008C4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Oval 25"/>
            <p:cNvSpPr>
              <a:spLocks noChangeArrowheads="1"/>
            </p:cNvSpPr>
            <p:nvPr/>
          </p:nvSpPr>
          <p:spPr bwMode="auto">
            <a:xfrm>
              <a:off x="12949114" y="4551048"/>
              <a:ext cx="350838" cy="346075"/>
            </a:xfrm>
            <a:prstGeom prst="ellipse">
              <a:avLst/>
            </a:prstGeom>
            <a:solidFill>
              <a:srgbClr val="1D428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Line 33"/>
            <p:cNvSpPr>
              <a:spLocks noChangeShapeType="1"/>
            </p:cNvSpPr>
            <p:nvPr/>
          </p:nvSpPr>
          <p:spPr bwMode="auto">
            <a:xfrm>
              <a:off x="12501439" y="342805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Oval 22"/>
            <p:cNvSpPr>
              <a:spLocks noChangeArrowheads="1"/>
            </p:cNvSpPr>
            <p:nvPr/>
          </p:nvSpPr>
          <p:spPr bwMode="auto">
            <a:xfrm>
              <a:off x="12515726" y="4968448"/>
              <a:ext cx="350838" cy="346075"/>
            </a:xfrm>
            <a:prstGeom prst="ellipse">
              <a:avLst/>
            </a:prstGeom>
            <a:solidFill>
              <a:srgbClr val="883F8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Oval 23"/>
            <p:cNvSpPr>
              <a:spLocks noChangeArrowheads="1"/>
            </p:cNvSpPr>
            <p:nvPr/>
          </p:nvSpPr>
          <p:spPr bwMode="auto">
            <a:xfrm>
              <a:off x="12949114" y="4968448"/>
              <a:ext cx="350838" cy="346075"/>
            </a:xfrm>
            <a:prstGeom prst="ellipse">
              <a:avLst/>
            </a:prstGeom>
            <a:solidFill>
              <a:srgbClr val="919BC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Oval 24"/>
            <p:cNvSpPr>
              <a:spLocks noChangeArrowheads="1"/>
            </p:cNvSpPr>
            <p:nvPr/>
          </p:nvSpPr>
          <p:spPr bwMode="auto">
            <a:xfrm>
              <a:off x="12732420" y="5357273"/>
              <a:ext cx="350838" cy="346075"/>
            </a:xfrm>
            <a:prstGeom prst="ellipse">
              <a:avLst/>
            </a:prstGeom>
            <a:solidFill>
              <a:srgbClr val="856A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Line 33"/>
            <p:cNvSpPr>
              <a:spLocks noChangeShapeType="1"/>
            </p:cNvSpPr>
            <p:nvPr/>
          </p:nvSpPr>
          <p:spPr bwMode="auto">
            <a:xfrm>
              <a:off x="12501439" y="66541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12365458" y="3421008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Additional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0174186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</p:sldLayoutIdLst>
  <p:timing>
    <p:tnLst>
      <p:par>
        <p:cTn id="1" dur="indefinite" restart="never" nodeType="tmRoot"/>
      </p:par>
    </p:tnLst>
  </p:timing>
  <p:hf hdr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200" b="0" i="0" u="none" strike="noStrike" cap="none">
          <a:solidFill>
            <a:schemeClr val="bg2"/>
          </a:solidFill>
          <a:latin typeface="Source Sans Pro" panose="020B0503030403020204" pitchFamily="34" charset="0"/>
          <a:ea typeface="Source Sans Pro" panose="020B0503030403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L="0" marR="0" lvl="0" indent="0" algn="l" rtl="0" eaLnBrk="1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/>
        <a:defRPr sz="1800" b="0" i="0" u="none" strike="noStrike" cap="none">
          <a:solidFill>
            <a:srgbClr val="000000"/>
          </a:solidFill>
          <a:latin typeface="Source Sans Pro" panose="020B0503030403020204" pitchFamily="34" charset="0"/>
          <a:ea typeface="Source Sans Pro" panose="020B0503030403020204" pitchFamily="34" charset="0"/>
          <a:cs typeface="Arial"/>
          <a:sym typeface="Arial"/>
        </a:defRPr>
      </a:lvl1pPr>
      <a:lvl2pPr marL="0" marR="0" lvl="1" indent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L="285750" marR="0" lvl="2" indent="-285750" algn="l" rtl="0" eaLnBrk="1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anose="020B0604020202020204" pitchFamily="34" charset="0"/>
        <a:buChar char="•"/>
        <a:defRPr sz="1800" b="0" i="0" u="none" strike="noStrike" cap="none">
          <a:solidFill>
            <a:srgbClr val="000000"/>
          </a:solidFill>
          <a:latin typeface="Source Sans Pro" panose="020B0503030403020204" pitchFamily="34" charset="0"/>
          <a:ea typeface="Source Sans Pro" panose="020B0503030403020204" pitchFamily="34" charset="0"/>
          <a:cs typeface="Arial"/>
          <a:sym typeface="Arial"/>
        </a:defRPr>
      </a:lvl3pPr>
      <a:lvl4pPr marL="285750" marR="0" lvl="3" indent="-28575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 pitchFamily="34" charset="0"/>
        <a:buChar char="•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L="538163" marR="0" lvl="4" indent="-255588" algn="l" rtl="0" eaLnBrk="1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anose="020B0604020202020204" pitchFamily="34" charset="0"/>
        <a:buChar char="­"/>
        <a:defRPr sz="1800" b="0" i="0" u="none" strike="noStrike" cap="none">
          <a:solidFill>
            <a:srgbClr val="000000"/>
          </a:solidFill>
          <a:latin typeface="Source Sans Pro" panose="020B0503030403020204" pitchFamily="34" charset="0"/>
          <a:ea typeface="Source Sans Pro" panose="020B0503030403020204" pitchFamily="34" charset="0"/>
          <a:cs typeface="Arial"/>
          <a:sym typeface="Arial"/>
        </a:defRPr>
      </a:lvl5pPr>
      <a:lvl6pPr marL="285750" marR="0" lvl="5" indent="-28575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 pitchFamily="34" charset="0"/>
        <a:buChar char="•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279">
          <p15:clr>
            <a:srgbClr val="F26B43"/>
          </p15:clr>
        </p15:guide>
        <p15:guide id="3" pos="7401">
          <p15:clr>
            <a:srgbClr val="F26B43"/>
          </p15:clr>
        </p15:guide>
        <p15:guide id="4" pos="3953">
          <p15:clr>
            <a:srgbClr val="F26B43"/>
          </p15:clr>
        </p15:guide>
        <p15:guide id="5" pos="3727">
          <p15:clr>
            <a:srgbClr val="F26B43"/>
          </p15:clr>
        </p15:guide>
        <p15:guide id="6" orient="horz" pos="3888">
          <p15:clr>
            <a:srgbClr val="F26B43"/>
          </p15:clr>
        </p15:guide>
        <p15:guide id="7" pos="2726">
          <p15:clr>
            <a:srgbClr val="F26B43"/>
          </p15:clr>
        </p15:guide>
        <p15:guide id="8" pos="2502">
          <p15:clr>
            <a:srgbClr val="F26B43"/>
          </p15:clr>
        </p15:guide>
        <p15:guide id="9" pos="4952">
          <p15:clr>
            <a:srgbClr val="F26B43"/>
          </p15:clr>
        </p15:guide>
        <p15:guide id="10" pos="5177">
          <p15:clr>
            <a:srgbClr val="F26B43"/>
          </p15:clr>
        </p15:guide>
        <p15:guide id="11" orient="horz" pos="2160">
          <p15:clr>
            <a:srgbClr val="F26B43"/>
          </p15:clr>
        </p15:guide>
        <p15:guide id="12" orient="horz" pos="958">
          <p15:clr>
            <a:srgbClr val="F26B43"/>
          </p15:clr>
        </p15:guide>
        <p15:guide id="13" orient="horz" pos="777">
          <p15:clr>
            <a:srgbClr val="F26B43"/>
          </p15:clr>
        </p15:guide>
        <p15:guide id="14" orient="horz" pos="27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782701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5" name="Слайд think-cell" r:id="rId15" imgW="530" imgH="531" progId="TCLayout.ActiveDocument.1">
                  <p:embed/>
                </p:oleObj>
              </mc:Choice>
              <mc:Fallback>
                <p:oleObj name="Слайд think-cell" r:id="rId1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Объект 2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12" name="Google Shape;12;p1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bg2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Google Shape;13;p1"/>
          <p:cNvSpPr txBox="1"/>
          <p:nvPr/>
        </p:nvSpPr>
        <p:spPr>
          <a:xfrm>
            <a:off x="442913" y="6492240"/>
            <a:ext cx="5473700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00" b="0" i="0" u="none" strike="noStrike" cap="none" dirty="0" smtClean="0">
                <a:solidFill>
                  <a:schemeClr val="bg2"/>
                </a:solidFill>
                <a:latin typeface="Source Sans Pro" panose="020B0503030403020204" pitchFamily="34" charset="0"/>
                <a:ea typeface="Arial"/>
                <a:cs typeface="Arial"/>
                <a:sym typeface="Arial"/>
              </a:rPr>
              <a:t>EFSD.ORG</a:t>
            </a:r>
          </a:p>
        </p:txBody>
      </p:sp>
      <p:sp>
        <p:nvSpPr>
          <p:cNvPr id="14" name="Google Shape;14;p1"/>
          <p:cNvSpPr txBox="1">
            <a:spLocks noGrp="1"/>
          </p:cNvSpPr>
          <p:nvPr>
            <p:ph type="dt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ru-RU"/>
          </a:p>
        </p:txBody>
      </p:sp>
      <p:sp>
        <p:nvSpPr>
          <p:cNvPr id="15" name="Google Shape;15;p1"/>
          <p:cNvSpPr txBox="1">
            <a:spLocks noGrp="1"/>
          </p:cNvSpPr>
          <p:nvPr>
            <p:ph type="ftr" idx="11"/>
          </p:nvPr>
        </p:nvSpPr>
        <p:spPr>
          <a:xfrm>
            <a:off x="442913" y="6355080"/>
            <a:ext cx="5473701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 smtClean="0"/>
              <a:t>Footer goes here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2913" y="428624"/>
            <a:ext cx="11306175" cy="8048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 smtClean="0"/>
              <a:t>Slide Title</a:t>
            </a:r>
            <a:endParaRPr lang="ru-RU" dirty="0"/>
          </a:p>
        </p:txBody>
      </p:sp>
      <p:sp>
        <p:nvSpPr>
          <p:cNvPr id="53" name="Текст 52"/>
          <p:cNvSpPr>
            <a:spLocks noGrp="1"/>
          </p:cNvSpPr>
          <p:nvPr>
            <p:ph type="body" idx="1"/>
          </p:nvPr>
        </p:nvSpPr>
        <p:spPr>
          <a:xfrm>
            <a:off x="442913" y="1520825"/>
            <a:ext cx="11306175" cy="46561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2"/>
            <a:r>
              <a:rPr lang="ru-RU" dirty="0" smtClean="0"/>
              <a:t>Второй уровень</a:t>
            </a:r>
          </a:p>
          <a:p>
            <a:pPr lvl="4"/>
            <a:r>
              <a:rPr lang="ru-RU" dirty="0" smtClean="0"/>
              <a:t>Третий уровень</a:t>
            </a:r>
          </a:p>
        </p:txBody>
      </p:sp>
      <p:grpSp>
        <p:nvGrpSpPr>
          <p:cNvPr id="44" name="Группа 43"/>
          <p:cNvGrpSpPr>
            <a:grpSpLocks noChangeAspect="1"/>
          </p:cNvGrpSpPr>
          <p:nvPr userDrawn="1"/>
        </p:nvGrpSpPr>
        <p:grpSpPr>
          <a:xfrm>
            <a:off x="12365458" y="2"/>
            <a:ext cx="1080000" cy="6858030"/>
            <a:chOff x="12365458" y="0"/>
            <a:chExt cx="1080000" cy="6858000"/>
          </a:xfrm>
        </p:grpSpPr>
        <p:sp>
          <p:nvSpPr>
            <p:cNvPr id="45" name="Freeform 5"/>
            <p:cNvSpPr>
              <a:spLocks/>
            </p:cNvSpPr>
            <p:nvPr/>
          </p:nvSpPr>
          <p:spPr bwMode="auto">
            <a:xfrm>
              <a:off x="12365458" y="0"/>
              <a:ext cx="1080000" cy="6858000"/>
            </a:xfrm>
            <a:prstGeom prst="roundRect">
              <a:avLst>
                <a:gd name="adj" fmla="val 12318"/>
              </a:avLst>
            </a:prstGeom>
            <a:solidFill>
              <a:schemeClr val="bg1"/>
            </a:solidFill>
            <a:ln w="7938" cap="flat">
              <a:solidFill>
                <a:srgbClr val="FEFEF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46" name="Группа 45"/>
            <p:cNvGrpSpPr/>
            <p:nvPr userDrawn="1"/>
          </p:nvGrpSpPr>
          <p:grpSpPr>
            <a:xfrm>
              <a:off x="12365458" y="5764224"/>
              <a:ext cx="1080000" cy="838989"/>
              <a:chOff x="12365458" y="5764224"/>
              <a:chExt cx="1080000" cy="838989"/>
            </a:xfrm>
          </p:grpSpPr>
          <p:pic>
            <p:nvPicPr>
              <p:cNvPr id="71" name="Picture 30"/>
              <p:cNvPicPr>
                <a:picLocks noChangeAspect="1" noChangeArrowheads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08164" y="6094649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2" name="Picture 31"/>
              <p:cNvPicPr>
                <a:picLocks noChangeAspect="1" noChangeArrowheads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37017" y="6101736"/>
                <a:ext cx="152400" cy="123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3" name="Picture 32"/>
              <p:cNvPicPr>
                <a:picLocks noChangeAspect="1" noChangeArrowheads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125833" y="6321161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4" name="TextBox 73"/>
              <p:cNvSpPr txBox="1"/>
              <p:nvPr/>
            </p:nvSpPr>
            <p:spPr>
              <a:xfrm>
                <a:off x="12365458" y="5764224"/>
                <a:ext cx="1080000" cy="838989"/>
              </a:xfrm>
              <a:prstGeom prst="rect">
                <a:avLst/>
              </a:prstGeom>
              <a:noFill/>
            </p:spPr>
            <p:txBody>
              <a:bodyPr wrap="square" lIns="36000" tIns="0" rIns="3600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Select a text or graphic element.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, respectively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or .</a:t>
                </a:r>
              </a:p>
              <a:p>
                <a:pPr algn="ctr">
                  <a:lnSpc>
                    <a:spcPct val="90000"/>
                  </a:lnSpc>
                  <a:spcBef>
                    <a:spcPts val="300"/>
                  </a:spcBef>
                </a:pP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After selecting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the pipette tool          , </a:t>
                </a:r>
                <a:b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en-US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click on the desired color on the palette.</a:t>
                </a:r>
                <a:endParaRPr lang="ru-RU" sz="800" dirty="0">
                  <a:solidFill>
                    <a:srgbClr val="30343F"/>
                  </a:solidFill>
                  <a:latin typeface="Source Sans Pro" panose="020B0503030403020204" pitchFamily="34" charset="0"/>
                </a:endParaRPr>
              </a:p>
            </p:txBody>
          </p:sp>
        </p:grpSp>
        <p:sp>
          <p:nvSpPr>
            <p:cNvPr id="47" name="TextBox 46"/>
            <p:cNvSpPr txBox="1"/>
            <p:nvPr/>
          </p:nvSpPr>
          <p:spPr>
            <a:xfrm>
              <a:off x="12368248" y="18288"/>
              <a:ext cx="1074420" cy="4606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Color palette </a:t>
              </a:r>
              <a:b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</a:br>
              <a:r>
                <a:rPr lang="en-US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for EFSR presentations</a:t>
              </a:r>
              <a:endParaRPr lang="ru-RU" sz="1000" dirty="0">
                <a:solidFill>
                  <a:srgbClr val="343467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12365458" y="640080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The main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49" name="Oval 8"/>
            <p:cNvSpPr>
              <a:spLocks noChangeArrowheads="1"/>
            </p:cNvSpPr>
            <p:nvPr/>
          </p:nvSpPr>
          <p:spPr bwMode="auto">
            <a:xfrm>
              <a:off x="12518642" y="970675"/>
              <a:ext cx="350838" cy="346075"/>
            </a:xfrm>
            <a:prstGeom prst="ellipse">
              <a:avLst/>
            </a:prstGeom>
            <a:solidFill>
              <a:srgbClr val="00589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Oval 9"/>
            <p:cNvSpPr>
              <a:spLocks noChangeArrowheads="1"/>
            </p:cNvSpPr>
            <p:nvPr/>
          </p:nvSpPr>
          <p:spPr bwMode="auto">
            <a:xfrm>
              <a:off x="12515726" y="1381725"/>
              <a:ext cx="350838" cy="346075"/>
            </a:xfrm>
            <a:prstGeom prst="ellipse">
              <a:avLst/>
            </a:prstGeom>
            <a:solidFill>
              <a:srgbClr val="00B1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1" name="Oval 10"/>
            <p:cNvSpPr>
              <a:spLocks noChangeArrowheads="1"/>
            </p:cNvSpPr>
            <p:nvPr/>
          </p:nvSpPr>
          <p:spPr bwMode="auto">
            <a:xfrm>
              <a:off x="12515726" y="2602206"/>
              <a:ext cx="350838" cy="346075"/>
            </a:xfrm>
            <a:prstGeom prst="ellipse">
              <a:avLst/>
            </a:prstGeom>
            <a:solidFill>
              <a:srgbClr val="C2BFB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Oval 11"/>
            <p:cNvSpPr>
              <a:spLocks noChangeAspect="1" noChangeArrowheads="1"/>
            </p:cNvSpPr>
            <p:nvPr/>
          </p:nvSpPr>
          <p:spPr bwMode="auto">
            <a:xfrm>
              <a:off x="12515725" y="1780075"/>
              <a:ext cx="793329" cy="792000"/>
            </a:xfrm>
            <a:prstGeom prst="ellipse">
              <a:avLst/>
            </a:prstGeom>
            <a:solidFill>
              <a:srgbClr val="343467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lvl="0" algn="ctr">
                <a:lnSpc>
                  <a:spcPct val="90000"/>
                </a:lnSpc>
              </a:pPr>
              <a:r>
                <a:rPr lang="en-US" sz="1000" dirty="0" smtClean="0">
                  <a:solidFill>
                    <a:srgbClr val="FFFFFF"/>
                  </a:solidFill>
                  <a:latin typeface="Source Sans Pro" panose="020B0503030403020204" pitchFamily="34" charset="0"/>
                </a:rPr>
                <a:t>Base color</a:t>
              </a:r>
              <a:endParaRPr lang="ru-RU" sz="1000" dirty="0">
                <a:solidFill>
                  <a:srgbClr val="FFFFF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54" name="Oval 13"/>
            <p:cNvSpPr>
              <a:spLocks noChangeArrowheads="1"/>
            </p:cNvSpPr>
            <p:nvPr/>
          </p:nvSpPr>
          <p:spPr bwMode="auto">
            <a:xfrm>
              <a:off x="12515726" y="2978412"/>
              <a:ext cx="350838" cy="346075"/>
            </a:xfrm>
            <a:prstGeom prst="ellipse">
              <a:avLst/>
            </a:prstGeom>
            <a:solidFill>
              <a:srgbClr val="30343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Oval 14"/>
            <p:cNvSpPr>
              <a:spLocks noChangeArrowheads="1"/>
            </p:cNvSpPr>
            <p:nvPr/>
          </p:nvSpPr>
          <p:spPr bwMode="auto">
            <a:xfrm>
              <a:off x="12515726" y="3744823"/>
              <a:ext cx="350838" cy="346075"/>
            </a:xfrm>
            <a:prstGeom prst="ellipse">
              <a:avLst/>
            </a:prstGeom>
            <a:solidFill>
              <a:srgbClr val="D034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Oval 15"/>
            <p:cNvSpPr>
              <a:spLocks noChangeArrowheads="1"/>
            </p:cNvSpPr>
            <p:nvPr/>
          </p:nvSpPr>
          <p:spPr bwMode="auto">
            <a:xfrm>
              <a:off x="12949114" y="975437"/>
              <a:ext cx="350838" cy="346075"/>
            </a:xfrm>
            <a:prstGeom prst="ellipse">
              <a:avLst/>
            </a:prstGeom>
            <a:solidFill>
              <a:srgbClr val="007CB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Oval 16"/>
            <p:cNvSpPr>
              <a:spLocks noChangeArrowheads="1"/>
            </p:cNvSpPr>
            <p:nvPr/>
          </p:nvSpPr>
          <p:spPr bwMode="auto">
            <a:xfrm>
              <a:off x="12949114" y="1381725"/>
              <a:ext cx="350838" cy="346075"/>
            </a:xfrm>
            <a:prstGeom prst="ellipse">
              <a:avLst/>
            </a:prstGeom>
            <a:solidFill>
              <a:srgbClr val="B4DCE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Oval 17"/>
            <p:cNvSpPr>
              <a:spLocks noChangeArrowheads="1"/>
            </p:cNvSpPr>
            <p:nvPr/>
          </p:nvSpPr>
          <p:spPr bwMode="auto">
            <a:xfrm>
              <a:off x="12949114" y="2602206"/>
              <a:ext cx="350838" cy="346075"/>
            </a:xfrm>
            <a:prstGeom prst="ellipse">
              <a:avLst/>
            </a:prstGeom>
            <a:solidFill>
              <a:srgbClr val="84898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Oval 20"/>
            <p:cNvSpPr>
              <a:spLocks noChangeArrowheads="1"/>
            </p:cNvSpPr>
            <p:nvPr/>
          </p:nvSpPr>
          <p:spPr bwMode="auto">
            <a:xfrm>
              <a:off x="12949114" y="2978412"/>
              <a:ext cx="350838" cy="346075"/>
            </a:xfrm>
            <a:prstGeom prst="ellipse">
              <a:avLst/>
            </a:prstGeom>
            <a:solidFill>
              <a:srgbClr val="3738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Oval 21"/>
            <p:cNvSpPr>
              <a:spLocks noChangeArrowheads="1"/>
            </p:cNvSpPr>
            <p:nvPr/>
          </p:nvSpPr>
          <p:spPr bwMode="auto">
            <a:xfrm>
              <a:off x="12949114" y="3744823"/>
              <a:ext cx="350838" cy="346075"/>
            </a:xfrm>
            <a:prstGeom prst="ellipse">
              <a:avLst/>
            </a:prstGeom>
            <a:solidFill>
              <a:srgbClr val="FDAC5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Oval 22"/>
            <p:cNvSpPr>
              <a:spLocks noChangeArrowheads="1"/>
            </p:cNvSpPr>
            <p:nvPr/>
          </p:nvSpPr>
          <p:spPr bwMode="auto">
            <a:xfrm>
              <a:off x="12515726" y="4162223"/>
              <a:ext cx="350838" cy="346075"/>
            </a:xfrm>
            <a:prstGeom prst="ellipse">
              <a:avLst/>
            </a:prstGeom>
            <a:solidFill>
              <a:srgbClr val="F9E54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Oval 23"/>
            <p:cNvSpPr>
              <a:spLocks noChangeArrowheads="1"/>
            </p:cNvSpPr>
            <p:nvPr/>
          </p:nvSpPr>
          <p:spPr bwMode="auto">
            <a:xfrm>
              <a:off x="12949114" y="4162223"/>
              <a:ext cx="350838" cy="346075"/>
            </a:xfrm>
            <a:prstGeom prst="ellipse">
              <a:avLst/>
            </a:prstGeom>
            <a:solidFill>
              <a:srgbClr val="C3D3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Oval 24"/>
            <p:cNvSpPr>
              <a:spLocks noChangeArrowheads="1"/>
            </p:cNvSpPr>
            <p:nvPr/>
          </p:nvSpPr>
          <p:spPr bwMode="auto">
            <a:xfrm>
              <a:off x="12515726" y="4551048"/>
              <a:ext cx="350838" cy="346075"/>
            </a:xfrm>
            <a:prstGeom prst="ellipse">
              <a:avLst/>
            </a:prstGeom>
            <a:solidFill>
              <a:srgbClr val="008C4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Oval 25"/>
            <p:cNvSpPr>
              <a:spLocks noChangeArrowheads="1"/>
            </p:cNvSpPr>
            <p:nvPr/>
          </p:nvSpPr>
          <p:spPr bwMode="auto">
            <a:xfrm>
              <a:off x="12949114" y="4551048"/>
              <a:ext cx="350838" cy="346075"/>
            </a:xfrm>
            <a:prstGeom prst="ellipse">
              <a:avLst/>
            </a:prstGeom>
            <a:solidFill>
              <a:srgbClr val="1D428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Line 33"/>
            <p:cNvSpPr>
              <a:spLocks noChangeShapeType="1"/>
            </p:cNvSpPr>
            <p:nvPr/>
          </p:nvSpPr>
          <p:spPr bwMode="auto">
            <a:xfrm>
              <a:off x="12501439" y="342805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Oval 22"/>
            <p:cNvSpPr>
              <a:spLocks noChangeArrowheads="1"/>
            </p:cNvSpPr>
            <p:nvPr/>
          </p:nvSpPr>
          <p:spPr bwMode="auto">
            <a:xfrm>
              <a:off x="12515726" y="4968448"/>
              <a:ext cx="350838" cy="346075"/>
            </a:xfrm>
            <a:prstGeom prst="ellipse">
              <a:avLst/>
            </a:prstGeom>
            <a:solidFill>
              <a:srgbClr val="883F8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Oval 23"/>
            <p:cNvSpPr>
              <a:spLocks noChangeArrowheads="1"/>
            </p:cNvSpPr>
            <p:nvPr/>
          </p:nvSpPr>
          <p:spPr bwMode="auto">
            <a:xfrm>
              <a:off x="12949114" y="4968448"/>
              <a:ext cx="350838" cy="346075"/>
            </a:xfrm>
            <a:prstGeom prst="ellipse">
              <a:avLst/>
            </a:prstGeom>
            <a:solidFill>
              <a:srgbClr val="919BC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Oval 24"/>
            <p:cNvSpPr>
              <a:spLocks noChangeArrowheads="1"/>
            </p:cNvSpPr>
            <p:nvPr/>
          </p:nvSpPr>
          <p:spPr bwMode="auto">
            <a:xfrm>
              <a:off x="12732420" y="5357273"/>
              <a:ext cx="350838" cy="346075"/>
            </a:xfrm>
            <a:prstGeom prst="ellipse">
              <a:avLst/>
            </a:prstGeom>
            <a:solidFill>
              <a:srgbClr val="856A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Line 33"/>
            <p:cNvSpPr>
              <a:spLocks noChangeShapeType="1"/>
            </p:cNvSpPr>
            <p:nvPr/>
          </p:nvSpPr>
          <p:spPr bwMode="auto">
            <a:xfrm>
              <a:off x="12501439" y="66541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12365458" y="3421008"/>
              <a:ext cx="1080000" cy="1968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Additional palette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</p:grp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95" r:id="rId1"/>
    <p:sldLayoutId id="2147483701" r:id="rId2"/>
    <p:sldLayoutId id="2147483702" r:id="rId3"/>
    <p:sldLayoutId id="2147483712" r:id="rId4"/>
    <p:sldLayoutId id="2147483662" r:id="rId5"/>
    <p:sldLayoutId id="2147483664" r:id="rId6"/>
    <p:sldLayoutId id="2147483666" r:id="rId7"/>
    <p:sldLayoutId id="2147483668" r:id="rId8"/>
    <p:sldLayoutId id="2147483670" r:id="rId9"/>
    <p:sldLayoutId id="2147483672" r:id="rId10"/>
    <p:sldLayoutId id="2147483681" r:id="rId11"/>
  </p:sldLayoutIdLst>
  <p:timing>
    <p:tnLst>
      <p:par>
        <p:cTn id="1" dur="indefinite" restart="never" nodeType="tmRoot"/>
      </p:par>
    </p:tnLst>
  </p:timing>
  <p:hf hdr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200" b="0" i="0" u="none" strike="noStrike" cap="none">
          <a:solidFill>
            <a:schemeClr val="bg2"/>
          </a:solidFill>
          <a:latin typeface="Source Sans Pro" panose="020B0503030403020204" pitchFamily="34" charset="0"/>
          <a:ea typeface="Source Sans Pro" panose="020B0503030403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L="0" marR="0" lvl="0" indent="0" algn="l" rtl="0" eaLnBrk="1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/>
        <a:defRPr sz="1800" b="0" i="0" u="none" strike="noStrike" cap="none">
          <a:solidFill>
            <a:srgbClr val="000000"/>
          </a:solidFill>
          <a:latin typeface="Source Sans Pro" panose="020B0503030403020204" pitchFamily="34" charset="0"/>
          <a:ea typeface="Source Sans Pro" panose="020B0503030403020204" pitchFamily="34" charset="0"/>
          <a:cs typeface="Arial"/>
          <a:sym typeface="Arial"/>
        </a:defRPr>
      </a:lvl1pPr>
      <a:lvl2pPr marL="0" marR="0" lvl="1" indent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L="285750" marR="0" lvl="2" indent="-285750" algn="l" rtl="0" eaLnBrk="1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anose="020B0604020202020204" pitchFamily="34" charset="0"/>
        <a:buChar char="•"/>
        <a:defRPr sz="1800" b="0" i="0" u="none" strike="noStrike" cap="none">
          <a:solidFill>
            <a:srgbClr val="000000"/>
          </a:solidFill>
          <a:latin typeface="Source Sans Pro" panose="020B0503030403020204" pitchFamily="34" charset="0"/>
          <a:ea typeface="Source Sans Pro" panose="020B0503030403020204" pitchFamily="34" charset="0"/>
          <a:cs typeface="Arial"/>
          <a:sym typeface="Arial"/>
        </a:defRPr>
      </a:lvl3pPr>
      <a:lvl4pPr marL="285750" marR="0" lvl="3" indent="-28575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 pitchFamily="34" charset="0"/>
        <a:buChar char="•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L="538163" marR="0" lvl="4" indent="-255588" algn="l" rtl="0" eaLnBrk="1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anose="020B0604020202020204" pitchFamily="34" charset="0"/>
        <a:buChar char="­"/>
        <a:defRPr sz="1800" b="0" i="0" u="none" strike="noStrike" cap="none">
          <a:solidFill>
            <a:srgbClr val="000000"/>
          </a:solidFill>
          <a:latin typeface="Source Sans Pro" panose="020B0503030403020204" pitchFamily="34" charset="0"/>
          <a:ea typeface="Source Sans Pro" panose="020B0503030403020204" pitchFamily="34" charset="0"/>
          <a:cs typeface="Arial"/>
          <a:sym typeface="Arial"/>
        </a:defRPr>
      </a:lvl5pPr>
      <a:lvl6pPr marL="285750" marR="0" lvl="5" indent="-28575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 pitchFamily="34" charset="0"/>
        <a:buChar char="•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279">
          <p15:clr>
            <a:srgbClr val="F26B43"/>
          </p15:clr>
        </p15:guide>
        <p15:guide id="3" pos="7401">
          <p15:clr>
            <a:srgbClr val="F26B43"/>
          </p15:clr>
        </p15:guide>
        <p15:guide id="4" pos="3953">
          <p15:clr>
            <a:srgbClr val="F26B43"/>
          </p15:clr>
        </p15:guide>
        <p15:guide id="5" pos="3727">
          <p15:clr>
            <a:srgbClr val="F26B43"/>
          </p15:clr>
        </p15:guide>
        <p15:guide id="6" orient="horz" pos="3888">
          <p15:clr>
            <a:srgbClr val="F26B43"/>
          </p15:clr>
        </p15:guide>
        <p15:guide id="7" pos="2726">
          <p15:clr>
            <a:srgbClr val="F26B43"/>
          </p15:clr>
        </p15:guide>
        <p15:guide id="8" pos="2502">
          <p15:clr>
            <a:srgbClr val="F26B43"/>
          </p15:clr>
        </p15:guide>
        <p15:guide id="9" pos="4952">
          <p15:clr>
            <a:srgbClr val="F26B43"/>
          </p15:clr>
        </p15:guide>
        <p15:guide id="10" pos="5177">
          <p15:clr>
            <a:srgbClr val="F26B43"/>
          </p15:clr>
        </p15:guide>
        <p15:guide id="11" orient="horz" pos="2160">
          <p15:clr>
            <a:srgbClr val="F26B43"/>
          </p15:clr>
        </p15:guide>
        <p15:guide id="12" orient="horz" pos="958" userDrawn="1">
          <p15:clr>
            <a:srgbClr val="F26B43"/>
          </p15:clr>
        </p15:guide>
        <p15:guide id="13" orient="horz" pos="777" userDrawn="1">
          <p15:clr>
            <a:srgbClr val="F26B43"/>
          </p15:clr>
        </p15:guide>
        <p15:guide id="14" orient="horz" pos="27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1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64" name="Слайд think-cell" r:id="rId17" imgW="530" imgH="531" progId="TCLayout.ActiveDocument.1">
                  <p:embed/>
                </p:oleObj>
              </mc:Choice>
              <mc:Fallback>
                <p:oleObj name="Слайд think-cell" r:id="rId17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Объект 2"/>
          <p:cNvPicPr>
            <a:picLocks noChangeAspect="1"/>
          </p:cNvPicPr>
          <p:nvPr/>
        </p:nvPicPr>
        <p:blipFill>
          <a:blip r:embed="rId18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12" name="Google Shape;12;p1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chemeClr val="bg2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Google Shape;13;p1"/>
          <p:cNvSpPr txBox="1"/>
          <p:nvPr/>
        </p:nvSpPr>
        <p:spPr>
          <a:xfrm>
            <a:off x="442913" y="6492240"/>
            <a:ext cx="5473700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900" b="0" i="0" u="none" strike="noStrike" cap="none" dirty="0" smtClean="0">
                <a:solidFill>
                  <a:schemeClr val="bg2"/>
                </a:solidFill>
                <a:latin typeface="Source Sans Pro" panose="020B0503030403020204" pitchFamily="34" charset="0"/>
                <a:ea typeface="Arial"/>
                <a:cs typeface="Arial"/>
                <a:sym typeface="Arial"/>
              </a:rPr>
              <a:t>EFSD.ORG</a:t>
            </a:r>
          </a:p>
        </p:txBody>
      </p:sp>
      <p:sp>
        <p:nvSpPr>
          <p:cNvPr id="14" name="Google Shape;14;p1"/>
          <p:cNvSpPr txBox="1">
            <a:spLocks noGrp="1"/>
          </p:cNvSpPr>
          <p:nvPr>
            <p:ph type="dt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ru-RU"/>
          </a:p>
        </p:txBody>
      </p:sp>
      <p:sp>
        <p:nvSpPr>
          <p:cNvPr id="15" name="Google Shape;15;p1"/>
          <p:cNvSpPr txBox="1">
            <a:spLocks noGrp="1"/>
          </p:cNvSpPr>
          <p:nvPr>
            <p:ph type="ftr" idx="11"/>
          </p:nvPr>
        </p:nvSpPr>
        <p:spPr>
          <a:xfrm>
            <a:off x="442913" y="6355080"/>
            <a:ext cx="5473701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Нижний колонтитул</a:t>
            </a:r>
            <a:endParaRPr lang="ru-RU" dirty="0"/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12365458" y="0"/>
            <a:ext cx="1080000" cy="6858000"/>
            <a:chOff x="12365458" y="0"/>
            <a:chExt cx="1080000" cy="6858000"/>
          </a:xfrm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12365458" y="0"/>
              <a:ext cx="1080000" cy="6858000"/>
            </a:xfrm>
            <a:prstGeom prst="roundRect">
              <a:avLst>
                <a:gd name="adj" fmla="val 12318"/>
              </a:avLst>
            </a:prstGeom>
            <a:solidFill>
              <a:schemeClr val="bg1"/>
            </a:solidFill>
            <a:ln w="7938" cap="flat">
              <a:solidFill>
                <a:srgbClr val="FEFEFE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4" name="Группа 3"/>
            <p:cNvGrpSpPr/>
            <p:nvPr userDrawn="1"/>
          </p:nvGrpSpPr>
          <p:grpSpPr>
            <a:xfrm>
              <a:off x="12365458" y="5764224"/>
              <a:ext cx="1080000" cy="1035668"/>
              <a:chOff x="12365458" y="5764224"/>
              <a:chExt cx="1080000" cy="1035668"/>
            </a:xfrm>
          </p:grpSpPr>
          <p:pic>
            <p:nvPicPr>
              <p:cNvPr id="40" name="Picture 30"/>
              <p:cNvPicPr>
                <a:picLocks noChangeAspect="1" noChangeArrowheads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608164" y="6201448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1" name="Picture 31"/>
              <p:cNvPicPr>
                <a:picLocks noChangeAspect="1" noChangeArrowheads="1"/>
              </p:cNvPicPr>
              <p:nvPr/>
            </p:nvPicPr>
            <p:blipFill>
              <a:blip r:embed="rId2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037017" y="6208536"/>
                <a:ext cx="152400" cy="123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2" name="Picture 32"/>
              <p:cNvPicPr>
                <a:picLocks noChangeAspect="1" noChangeArrowheads="1"/>
              </p:cNvPicPr>
              <p:nvPr/>
            </p:nvPicPr>
            <p:blipFill>
              <a:blip r:embed="rId2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799412" y="6439701"/>
                <a:ext cx="153988" cy="1381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3" name="TextBox 42"/>
              <p:cNvSpPr txBox="1"/>
              <p:nvPr/>
            </p:nvSpPr>
            <p:spPr>
              <a:xfrm>
                <a:off x="12365458" y="5764224"/>
                <a:ext cx="1080000" cy="1035668"/>
              </a:xfrm>
              <a:prstGeom prst="rect">
                <a:avLst/>
              </a:prstGeom>
              <a:noFill/>
            </p:spPr>
            <p:txBody>
              <a:bodyPr wrap="square" lIns="36000" tIns="0" rIns="3600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ru-RU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Выделите текст </a:t>
                </a:r>
                <a:br>
                  <a:rPr lang="ru-RU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ru-RU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или графический элемент. Кликните, соответственно,   </a:t>
                </a:r>
                <a:br>
                  <a:rPr lang="ru-RU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</a:br>
                <a:r>
                  <a:rPr lang="ru-RU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        или        .</a:t>
                </a:r>
              </a:p>
              <a:p>
                <a:pPr algn="ctr">
                  <a:lnSpc>
                    <a:spcPct val="90000"/>
                  </a:lnSpc>
                  <a:spcBef>
                    <a:spcPts val="300"/>
                  </a:spcBef>
                </a:pPr>
                <a:r>
                  <a:rPr lang="ru-RU" sz="800" dirty="0" smtClean="0">
                    <a:solidFill>
                      <a:srgbClr val="30343F"/>
                    </a:solidFill>
                    <a:latin typeface="Source Sans Pro" panose="020B0503030403020204" pitchFamily="34" charset="0"/>
                  </a:rPr>
                  <a:t>Выбрав инструмент пипетка      , кликните по нужному цвету на палитре.</a:t>
                </a:r>
                <a:endParaRPr lang="ru-RU" sz="800" dirty="0">
                  <a:solidFill>
                    <a:srgbClr val="30343F"/>
                  </a:solidFill>
                  <a:latin typeface="Source Sans Pro" panose="020B0503030403020204" pitchFamily="34" charset="0"/>
                </a:endParaRPr>
              </a:p>
            </p:txBody>
          </p:sp>
        </p:grpSp>
        <p:sp>
          <p:nvSpPr>
            <p:cNvPr id="16" name="TextBox 15"/>
            <p:cNvSpPr txBox="1"/>
            <p:nvPr/>
          </p:nvSpPr>
          <p:spPr>
            <a:xfrm>
              <a:off x="12368248" y="18288"/>
              <a:ext cx="107442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ru-RU" sz="1000" dirty="0" smtClean="0">
                  <a:solidFill>
                    <a:srgbClr val="343467"/>
                  </a:solidFill>
                  <a:latin typeface="Source Sans Pro" panose="020B0503030403020204" pitchFamily="34" charset="0"/>
                </a:rPr>
                <a:t>Цветовая палитра для презентаций ЕФСР</a:t>
              </a:r>
              <a:endParaRPr lang="ru-RU" sz="1000" dirty="0">
                <a:solidFill>
                  <a:srgbClr val="343467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12365458" y="640080"/>
              <a:ext cx="1080000" cy="3416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ru-RU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Основная палитра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18" name="Oval 8"/>
            <p:cNvSpPr>
              <a:spLocks noChangeArrowheads="1"/>
            </p:cNvSpPr>
            <p:nvPr/>
          </p:nvSpPr>
          <p:spPr bwMode="auto">
            <a:xfrm>
              <a:off x="12518642" y="970675"/>
              <a:ext cx="350838" cy="346075"/>
            </a:xfrm>
            <a:prstGeom prst="ellipse">
              <a:avLst/>
            </a:prstGeom>
            <a:solidFill>
              <a:srgbClr val="00589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Oval 9"/>
            <p:cNvSpPr>
              <a:spLocks noChangeArrowheads="1"/>
            </p:cNvSpPr>
            <p:nvPr/>
          </p:nvSpPr>
          <p:spPr bwMode="auto">
            <a:xfrm>
              <a:off x="12515726" y="1381725"/>
              <a:ext cx="350838" cy="346075"/>
            </a:xfrm>
            <a:prstGeom prst="ellipse">
              <a:avLst/>
            </a:prstGeom>
            <a:solidFill>
              <a:srgbClr val="00B1D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Oval 10"/>
            <p:cNvSpPr>
              <a:spLocks noChangeArrowheads="1"/>
            </p:cNvSpPr>
            <p:nvPr/>
          </p:nvSpPr>
          <p:spPr bwMode="auto">
            <a:xfrm>
              <a:off x="12515726" y="2602206"/>
              <a:ext cx="350838" cy="346075"/>
            </a:xfrm>
            <a:prstGeom prst="ellipse">
              <a:avLst/>
            </a:prstGeom>
            <a:solidFill>
              <a:srgbClr val="C2BFB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Oval 11"/>
            <p:cNvSpPr>
              <a:spLocks noChangeAspect="1" noChangeArrowheads="1"/>
            </p:cNvSpPr>
            <p:nvPr/>
          </p:nvSpPr>
          <p:spPr bwMode="auto">
            <a:xfrm>
              <a:off x="12515725" y="1780075"/>
              <a:ext cx="793329" cy="792000"/>
            </a:xfrm>
            <a:prstGeom prst="ellipse">
              <a:avLst/>
            </a:prstGeom>
            <a:solidFill>
              <a:srgbClr val="343467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lvl="0" algn="ctr">
                <a:lnSpc>
                  <a:spcPct val="90000"/>
                </a:lnSpc>
              </a:pPr>
              <a:r>
                <a:rPr lang="ru-RU" sz="1000">
                  <a:solidFill>
                    <a:srgbClr val="FFFFFF"/>
                  </a:solidFill>
                  <a:latin typeface="Source Sans Pro" panose="020B0503030403020204" pitchFamily="34" charset="0"/>
                </a:rPr>
                <a:t>Базовый</a:t>
              </a:r>
              <a:br>
                <a:rPr lang="ru-RU" sz="1000">
                  <a:solidFill>
                    <a:srgbClr val="FFFFFF"/>
                  </a:solidFill>
                  <a:latin typeface="Source Sans Pro" panose="020B0503030403020204" pitchFamily="34" charset="0"/>
                </a:rPr>
              </a:br>
              <a:r>
                <a:rPr lang="ru-RU" sz="1000">
                  <a:solidFill>
                    <a:srgbClr val="FFFFFF"/>
                  </a:solidFill>
                  <a:latin typeface="Source Sans Pro" panose="020B0503030403020204" pitchFamily="34" charset="0"/>
                </a:rPr>
                <a:t>цвет</a:t>
              </a:r>
              <a:endParaRPr lang="ru-RU" sz="1000" dirty="0">
                <a:solidFill>
                  <a:srgbClr val="FFFFFF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22" name="Oval 13"/>
            <p:cNvSpPr>
              <a:spLocks noChangeArrowheads="1"/>
            </p:cNvSpPr>
            <p:nvPr/>
          </p:nvSpPr>
          <p:spPr bwMode="auto">
            <a:xfrm>
              <a:off x="12515726" y="2978412"/>
              <a:ext cx="350838" cy="346075"/>
            </a:xfrm>
            <a:prstGeom prst="ellipse">
              <a:avLst/>
            </a:prstGeom>
            <a:solidFill>
              <a:srgbClr val="30343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Oval 14"/>
            <p:cNvSpPr>
              <a:spLocks noChangeArrowheads="1"/>
            </p:cNvSpPr>
            <p:nvPr/>
          </p:nvSpPr>
          <p:spPr bwMode="auto">
            <a:xfrm>
              <a:off x="12515726" y="3744823"/>
              <a:ext cx="350838" cy="346075"/>
            </a:xfrm>
            <a:prstGeom prst="ellipse">
              <a:avLst/>
            </a:prstGeom>
            <a:solidFill>
              <a:srgbClr val="D0342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Oval 15"/>
            <p:cNvSpPr>
              <a:spLocks noChangeArrowheads="1"/>
            </p:cNvSpPr>
            <p:nvPr/>
          </p:nvSpPr>
          <p:spPr bwMode="auto">
            <a:xfrm>
              <a:off x="12949114" y="975437"/>
              <a:ext cx="350838" cy="346075"/>
            </a:xfrm>
            <a:prstGeom prst="ellipse">
              <a:avLst/>
            </a:prstGeom>
            <a:solidFill>
              <a:srgbClr val="007CB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Oval 16"/>
            <p:cNvSpPr>
              <a:spLocks noChangeArrowheads="1"/>
            </p:cNvSpPr>
            <p:nvPr/>
          </p:nvSpPr>
          <p:spPr bwMode="auto">
            <a:xfrm>
              <a:off x="12949114" y="1381725"/>
              <a:ext cx="350838" cy="346075"/>
            </a:xfrm>
            <a:prstGeom prst="ellipse">
              <a:avLst/>
            </a:prstGeom>
            <a:solidFill>
              <a:srgbClr val="B4DCE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Oval 17"/>
            <p:cNvSpPr>
              <a:spLocks noChangeArrowheads="1"/>
            </p:cNvSpPr>
            <p:nvPr/>
          </p:nvSpPr>
          <p:spPr bwMode="auto">
            <a:xfrm>
              <a:off x="12949114" y="2602206"/>
              <a:ext cx="350838" cy="346075"/>
            </a:xfrm>
            <a:prstGeom prst="ellipse">
              <a:avLst/>
            </a:prstGeom>
            <a:solidFill>
              <a:srgbClr val="84898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Oval 20"/>
            <p:cNvSpPr>
              <a:spLocks noChangeArrowheads="1"/>
            </p:cNvSpPr>
            <p:nvPr/>
          </p:nvSpPr>
          <p:spPr bwMode="auto">
            <a:xfrm>
              <a:off x="12949114" y="2978412"/>
              <a:ext cx="350838" cy="346075"/>
            </a:xfrm>
            <a:prstGeom prst="ellipse">
              <a:avLst/>
            </a:prstGeom>
            <a:solidFill>
              <a:srgbClr val="37383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Oval 21"/>
            <p:cNvSpPr>
              <a:spLocks noChangeArrowheads="1"/>
            </p:cNvSpPr>
            <p:nvPr/>
          </p:nvSpPr>
          <p:spPr bwMode="auto">
            <a:xfrm>
              <a:off x="12949114" y="3744823"/>
              <a:ext cx="350838" cy="346075"/>
            </a:xfrm>
            <a:prstGeom prst="ellipse">
              <a:avLst/>
            </a:prstGeom>
            <a:solidFill>
              <a:srgbClr val="FDAC5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Oval 22"/>
            <p:cNvSpPr>
              <a:spLocks noChangeArrowheads="1"/>
            </p:cNvSpPr>
            <p:nvPr/>
          </p:nvSpPr>
          <p:spPr bwMode="auto">
            <a:xfrm>
              <a:off x="12515726" y="4162223"/>
              <a:ext cx="350838" cy="346075"/>
            </a:xfrm>
            <a:prstGeom prst="ellipse">
              <a:avLst/>
            </a:prstGeom>
            <a:solidFill>
              <a:srgbClr val="F9E54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Oval 23"/>
            <p:cNvSpPr>
              <a:spLocks noChangeArrowheads="1"/>
            </p:cNvSpPr>
            <p:nvPr/>
          </p:nvSpPr>
          <p:spPr bwMode="auto">
            <a:xfrm>
              <a:off x="12949114" y="4162223"/>
              <a:ext cx="350838" cy="346075"/>
            </a:xfrm>
            <a:prstGeom prst="ellipse">
              <a:avLst/>
            </a:prstGeom>
            <a:solidFill>
              <a:srgbClr val="C3D36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Oval 24"/>
            <p:cNvSpPr>
              <a:spLocks noChangeArrowheads="1"/>
            </p:cNvSpPr>
            <p:nvPr/>
          </p:nvSpPr>
          <p:spPr bwMode="auto">
            <a:xfrm>
              <a:off x="12515726" y="4551048"/>
              <a:ext cx="350838" cy="346075"/>
            </a:xfrm>
            <a:prstGeom prst="ellipse">
              <a:avLst/>
            </a:prstGeom>
            <a:solidFill>
              <a:srgbClr val="008C4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Oval 25"/>
            <p:cNvSpPr>
              <a:spLocks noChangeArrowheads="1"/>
            </p:cNvSpPr>
            <p:nvPr/>
          </p:nvSpPr>
          <p:spPr bwMode="auto">
            <a:xfrm>
              <a:off x="12949114" y="4551048"/>
              <a:ext cx="350838" cy="346075"/>
            </a:xfrm>
            <a:prstGeom prst="ellipse">
              <a:avLst/>
            </a:prstGeom>
            <a:solidFill>
              <a:srgbClr val="1D428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Line 33"/>
            <p:cNvSpPr>
              <a:spLocks noChangeShapeType="1"/>
            </p:cNvSpPr>
            <p:nvPr/>
          </p:nvSpPr>
          <p:spPr bwMode="auto">
            <a:xfrm>
              <a:off x="12501439" y="342805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Oval 22"/>
            <p:cNvSpPr>
              <a:spLocks noChangeArrowheads="1"/>
            </p:cNvSpPr>
            <p:nvPr/>
          </p:nvSpPr>
          <p:spPr bwMode="auto">
            <a:xfrm>
              <a:off x="12515726" y="4968448"/>
              <a:ext cx="350838" cy="346075"/>
            </a:xfrm>
            <a:prstGeom prst="ellipse">
              <a:avLst/>
            </a:prstGeom>
            <a:solidFill>
              <a:srgbClr val="883F8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Oval 23"/>
            <p:cNvSpPr>
              <a:spLocks noChangeArrowheads="1"/>
            </p:cNvSpPr>
            <p:nvPr/>
          </p:nvSpPr>
          <p:spPr bwMode="auto">
            <a:xfrm>
              <a:off x="12949114" y="4968448"/>
              <a:ext cx="350838" cy="346075"/>
            </a:xfrm>
            <a:prstGeom prst="ellipse">
              <a:avLst/>
            </a:prstGeom>
            <a:solidFill>
              <a:srgbClr val="919BC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Oval 24"/>
            <p:cNvSpPr>
              <a:spLocks noChangeArrowheads="1"/>
            </p:cNvSpPr>
            <p:nvPr/>
          </p:nvSpPr>
          <p:spPr bwMode="auto">
            <a:xfrm>
              <a:off x="12732420" y="5357273"/>
              <a:ext cx="350838" cy="346075"/>
            </a:xfrm>
            <a:prstGeom prst="ellipse">
              <a:avLst/>
            </a:prstGeom>
            <a:solidFill>
              <a:srgbClr val="856A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Line 33"/>
            <p:cNvSpPr>
              <a:spLocks noChangeShapeType="1"/>
            </p:cNvSpPr>
            <p:nvPr/>
          </p:nvSpPr>
          <p:spPr bwMode="auto">
            <a:xfrm>
              <a:off x="12501439" y="665416"/>
              <a:ext cx="808038" cy="0"/>
            </a:xfrm>
            <a:prstGeom prst="line">
              <a:avLst/>
            </a:prstGeom>
            <a:noFill/>
            <a:ln w="7938" cap="flat">
              <a:solidFill>
                <a:srgbClr val="D8D8D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12365458" y="3421008"/>
              <a:ext cx="1080000" cy="3416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ru-RU" sz="900" dirty="0" smtClean="0">
                  <a:solidFill>
                    <a:srgbClr val="30343F"/>
                  </a:solidFill>
                  <a:latin typeface="Source Sans Pro" panose="020B0503030403020204" pitchFamily="34" charset="0"/>
                </a:rPr>
                <a:t>Дополнительная палитра</a:t>
              </a:r>
              <a:endParaRPr lang="ru-RU" sz="900" dirty="0">
                <a:solidFill>
                  <a:srgbClr val="30343F"/>
                </a:solidFill>
                <a:latin typeface="Source Sans Pro" panose="020B0503030403020204" pitchFamily="34" charset="0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2913" y="428624"/>
            <a:ext cx="11306175" cy="8048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3" name="Текст 52"/>
          <p:cNvSpPr>
            <a:spLocks noGrp="1"/>
          </p:cNvSpPr>
          <p:nvPr>
            <p:ph type="body" idx="1"/>
          </p:nvPr>
        </p:nvSpPr>
        <p:spPr>
          <a:xfrm>
            <a:off x="442913" y="1520825"/>
            <a:ext cx="11306175" cy="46561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2"/>
            <a:r>
              <a:rPr lang="ru-RU" dirty="0" smtClean="0"/>
              <a:t>Второй уровень</a:t>
            </a:r>
          </a:p>
          <a:p>
            <a:pPr lvl="4"/>
            <a:r>
              <a:rPr lang="ru-RU" dirty="0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9329975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  <p:sldLayoutId id="2147483824" r:id="rId12"/>
    <p:sldLayoutId id="2147483825" r:id="rId13"/>
  </p:sldLayoutIdLst>
  <p:timing>
    <p:tnLst>
      <p:par>
        <p:cTn id="1" dur="indefinite" restart="never" nodeType="tmRoot"/>
      </p:par>
    </p:tnLst>
  </p:timing>
  <p:hf hdr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3200" b="0" i="0" u="none" strike="noStrike" cap="none">
          <a:solidFill>
            <a:schemeClr val="bg2"/>
          </a:solidFill>
          <a:latin typeface="Source Sans Pro" panose="020B0503030403020204" pitchFamily="34" charset="0"/>
          <a:ea typeface="Source Sans Pro" panose="020B0503030403020204" pitchFamily="34" charset="0"/>
          <a:cs typeface="Arial" panose="020B0604020202020204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L="0" marR="0" lvl="0" indent="0" algn="l" rtl="0" eaLnBrk="1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/>
        <a:defRPr sz="1800" b="0" i="0" u="none" strike="noStrike" cap="none">
          <a:solidFill>
            <a:srgbClr val="000000"/>
          </a:solidFill>
          <a:latin typeface="Source Sans Pro" panose="020B0503030403020204" pitchFamily="34" charset="0"/>
          <a:ea typeface="Source Sans Pro" panose="020B0503030403020204" pitchFamily="34" charset="0"/>
          <a:cs typeface="Arial"/>
          <a:sym typeface="Arial"/>
        </a:defRPr>
      </a:lvl1pPr>
      <a:lvl2pPr marL="0" marR="0" lvl="1" indent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L="285750" marR="0" lvl="2" indent="-285750" algn="l" rtl="0" eaLnBrk="1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anose="020B0604020202020204" pitchFamily="34" charset="0"/>
        <a:buChar char="•"/>
        <a:defRPr sz="1800" b="0" i="0" u="none" strike="noStrike" cap="none">
          <a:solidFill>
            <a:srgbClr val="000000"/>
          </a:solidFill>
          <a:latin typeface="Source Sans Pro" panose="020B0503030403020204" pitchFamily="34" charset="0"/>
          <a:ea typeface="Source Sans Pro" panose="020B0503030403020204" pitchFamily="34" charset="0"/>
          <a:cs typeface="Arial"/>
          <a:sym typeface="Arial"/>
        </a:defRPr>
      </a:lvl3pPr>
      <a:lvl4pPr marL="285750" marR="0" lvl="3" indent="-28575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 pitchFamily="34" charset="0"/>
        <a:buChar char="•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L="538163" marR="0" lvl="4" indent="-255588" algn="l" rtl="0" eaLnBrk="1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anose="020B0604020202020204" pitchFamily="34" charset="0"/>
        <a:buChar char="­"/>
        <a:defRPr sz="1800" b="0" i="0" u="none" strike="noStrike" cap="none">
          <a:solidFill>
            <a:srgbClr val="000000"/>
          </a:solidFill>
          <a:latin typeface="Source Sans Pro" panose="020B0503030403020204" pitchFamily="34" charset="0"/>
          <a:ea typeface="Source Sans Pro" panose="020B0503030403020204" pitchFamily="34" charset="0"/>
          <a:cs typeface="Arial"/>
          <a:sym typeface="Arial"/>
        </a:defRPr>
      </a:lvl5pPr>
      <a:lvl6pPr marL="285750" marR="0" lvl="5" indent="-28575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 pitchFamily="34" charset="0"/>
        <a:buChar char="•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279">
          <p15:clr>
            <a:srgbClr val="F26B43"/>
          </p15:clr>
        </p15:guide>
        <p15:guide id="3" pos="7401">
          <p15:clr>
            <a:srgbClr val="F26B43"/>
          </p15:clr>
        </p15:guide>
        <p15:guide id="4" pos="3953">
          <p15:clr>
            <a:srgbClr val="F26B43"/>
          </p15:clr>
        </p15:guide>
        <p15:guide id="5" pos="3727">
          <p15:clr>
            <a:srgbClr val="F26B43"/>
          </p15:clr>
        </p15:guide>
        <p15:guide id="6" orient="horz" pos="3888">
          <p15:clr>
            <a:srgbClr val="F26B43"/>
          </p15:clr>
        </p15:guide>
        <p15:guide id="7" pos="2726">
          <p15:clr>
            <a:srgbClr val="F26B43"/>
          </p15:clr>
        </p15:guide>
        <p15:guide id="8" pos="2502">
          <p15:clr>
            <a:srgbClr val="F26B43"/>
          </p15:clr>
        </p15:guide>
        <p15:guide id="9" pos="4952">
          <p15:clr>
            <a:srgbClr val="F26B43"/>
          </p15:clr>
        </p15:guide>
        <p15:guide id="10" pos="5177">
          <p15:clr>
            <a:srgbClr val="F26B43"/>
          </p15:clr>
        </p15:guide>
        <p15:guide id="11" orient="horz" pos="2160">
          <p15:clr>
            <a:srgbClr val="F26B43"/>
          </p15:clr>
        </p15:guide>
        <p15:guide id="12" orient="horz" pos="958">
          <p15:clr>
            <a:srgbClr val="F26B43"/>
          </p15:clr>
        </p15:guide>
        <p15:guide id="13" orient="horz" pos="777">
          <p15:clr>
            <a:srgbClr val="F26B43"/>
          </p15:clr>
        </p15:guide>
        <p15:guide id="14" orient="horz" pos="27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19.png"/><Relationship Id="rId4" Type="http://schemas.openxmlformats.org/officeDocument/2006/relationships/hyperlink" Target="https://efsd.org/en/research/working-papers/" TargetMode="Externa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mailto:alevenkov@efsd.org" TargetMode="External"/><Relationship Id="rId2" Type="http://schemas.openxmlformats.org/officeDocument/2006/relationships/hyperlink" Target="mailto:evinokurov@efsd.org" TargetMode="External"/><Relationship Id="rId1" Type="http://schemas.openxmlformats.org/officeDocument/2006/relationships/slideLayout" Target="../slideLayouts/slideLayout10.xml"/><Relationship Id="rId4" Type="http://schemas.openxmlformats.org/officeDocument/2006/relationships/hyperlink" Target="mailto:mgrichik@efsd.org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1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jpe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7.jpe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5" Type="http://schemas.openxmlformats.org/officeDocument/2006/relationships/image" Target="../media/image36.png"/><Relationship Id="rId10" Type="http://schemas.openxmlformats.org/officeDocument/2006/relationships/image" Target="../media/image31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Relationship Id="rId14" Type="http://schemas.openxmlformats.org/officeDocument/2006/relationships/image" Target="../media/image3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54565" y="2681298"/>
            <a:ext cx="4094631" cy="3567990"/>
          </a:xfrm>
          <a:prstGeom prst="rect">
            <a:avLst/>
          </a:prstGeom>
        </p:spPr>
      </p:pic>
      <p:sp>
        <p:nvSpPr>
          <p:cNvPr id="3" name="Номер слайда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GB" smtClean="0"/>
              <a:pPr/>
              <a:t>1</a:t>
            </a:fld>
            <a:endParaRPr lang="en-GB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74689"/>
            <a:ext cx="1609725" cy="1581150"/>
          </a:xfrm>
          <a:prstGeom prst="rect">
            <a:avLst/>
          </a:prstGeom>
        </p:spPr>
      </p:pic>
      <p:sp>
        <p:nvSpPr>
          <p:cNvPr id="10" name="Заголовок 12"/>
          <p:cNvSpPr txBox="1">
            <a:spLocks/>
          </p:cNvSpPr>
          <p:nvPr/>
        </p:nvSpPr>
        <p:spPr>
          <a:xfrm>
            <a:off x="709613" y="130514"/>
            <a:ext cx="9883935" cy="80148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3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3200" b="0" i="0" u="none" strike="noStrike" cap="none" baseline="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</a:pPr>
            <a:r>
              <a:rPr lang="en-US" dirty="0"/>
              <a:t>Working Paper </a:t>
            </a:r>
            <a:r>
              <a:rPr lang="en-US" dirty="0" smtClean="0"/>
              <a:t>WP</a:t>
            </a:r>
            <a:r>
              <a:rPr lang="ru-RU" dirty="0" smtClean="0"/>
              <a:t>/22/1</a:t>
            </a:r>
            <a:endParaRPr lang="ru-RU" dirty="0"/>
          </a:p>
        </p:txBody>
      </p:sp>
      <p:sp>
        <p:nvSpPr>
          <p:cNvPr id="11" name="Текст 13"/>
          <p:cNvSpPr txBox="1">
            <a:spLocks/>
          </p:cNvSpPr>
          <p:nvPr/>
        </p:nvSpPr>
        <p:spPr>
          <a:xfrm>
            <a:off x="387418" y="2320174"/>
            <a:ext cx="7989964" cy="15617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/>
              <a:defRPr sz="1800" b="0" i="0" u="none" strike="noStrike" cap="none">
                <a:solidFill>
                  <a:srgbClr val="000000"/>
                </a:solidFill>
                <a:latin typeface="+mn-lt"/>
                <a:ea typeface="Source Sans Pro" panose="020B0503030403020204" pitchFamily="34" charset="0"/>
                <a:cs typeface="Arial"/>
                <a:sym typeface="Arial"/>
              </a:defRPr>
            </a:lvl1pPr>
            <a:lvl2pPr marL="0" marR="0" lvl="1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00" b="0" i="0" u="none" strike="noStrike" cap="none">
                <a:solidFill>
                  <a:srgbClr val="000000"/>
                </a:solidFill>
                <a:latin typeface="+mn-lt"/>
                <a:ea typeface="Arial"/>
                <a:cs typeface="Arial"/>
                <a:sym typeface="Arial"/>
              </a:defRPr>
            </a:lvl2pPr>
            <a:lvl3pPr marL="285750" marR="0" lvl="2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800" b="0" i="0" u="none" strike="noStrike" cap="none">
                <a:solidFill>
                  <a:srgbClr val="000000"/>
                </a:solidFill>
                <a:latin typeface="+mn-lt"/>
                <a:ea typeface="Source Sans Pro" panose="020B0503030403020204" pitchFamily="34" charset="0"/>
                <a:cs typeface="Arial"/>
                <a:sym typeface="Arial"/>
              </a:defRPr>
            </a:lvl3pPr>
            <a:lvl4pPr marL="285750" marR="0" lvl="3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800" b="0" i="0" u="none" strike="noStrike" cap="none">
                <a:solidFill>
                  <a:srgbClr val="000000"/>
                </a:solidFill>
                <a:latin typeface="+mn-lt"/>
                <a:ea typeface="Arial"/>
                <a:cs typeface="Arial"/>
                <a:sym typeface="Arial"/>
              </a:defRPr>
            </a:lvl4pPr>
            <a:lvl5pPr marL="538163" marR="0" lvl="4" indent="-25558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­"/>
              <a:defRPr sz="1800" b="0" i="0" u="none" strike="noStrike" cap="none">
                <a:solidFill>
                  <a:srgbClr val="000000"/>
                </a:solidFill>
                <a:latin typeface="+mn-lt"/>
                <a:ea typeface="Source Sans Pro" panose="020B0503030403020204" pitchFamily="34" charset="0"/>
                <a:cs typeface="Arial"/>
                <a:sym typeface="Arial"/>
              </a:defRPr>
            </a:lvl5pPr>
            <a:lvl6pPr marL="285750" marR="0" lvl="5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800" dirty="0">
                <a:solidFill>
                  <a:schemeClr val="accent5"/>
                </a:solidFill>
                <a:latin typeface="Source Sans Pro SemiBold" panose="020B0603030403020204" pitchFamily="34" charset="0"/>
              </a:rPr>
              <a:t>Technical Assistance of International Financial Institutions </a:t>
            </a:r>
            <a:r>
              <a:rPr lang="en-US" sz="2800" dirty="0" smtClean="0">
                <a:solidFill>
                  <a:schemeClr val="accent5"/>
                </a:solidFill>
                <a:latin typeface="Source Sans Pro SemiBold" panose="020B0603030403020204" pitchFamily="34" charset="0"/>
              </a:rPr>
              <a:t>and </a:t>
            </a:r>
            <a:r>
              <a:rPr lang="en-US" sz="2800" dirty="0">
                <a:solidFill>
                  <a:schemeClr val="accent5"/>
                </a:solidFill>
                <a:latin typeface="Source Sans Pro SemiBold" panose="020B0603030403020204" pitchFamily="34" charset="0"/>
              </a:rPr>
              <a:t>Development Agencies in Eurasia</a:t>
            </a:r>
          </a:p>
        </p:txBody>
      </p:sp>
      <p:sp>
        <p:nvSpPr>
          <p:cNvPr id="12" name="Текст 3"/>
          <p:cNvSpPr txBox="1">
            <a:spLocks/>
          </p:cNvSpPr>
          <p:nvPr/>
        </p:nvSpPr>
        <p:spPr>
          <a:xfrm>
            <a:off x="709488" y="4112606"/>
            <a:ext cx="299444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800" dirty="0" smtClean="0">
                <a:solidFill>
                  <a:srgbClr val="00589B"/>
                </a:solidFill>
                <a:latin typeface="Source Sans Pro SemiBold" panose="020B0603030403020204" pitchFamily="34" charset="0"/>
              </a:rPr>
              <a:t>Chief Economist Group</a:t>
            </a:r>
            <a:endParaRPr lang="ru-RU" sz="1800" dirty="0">
              <a:solidFill>
                <a:srgbClr val="00589B"/>
              </a:solidFill>
              <a:latin typeface="Source Sans Pro SemiBold" panose="020B0603030403020204" pitchFamily="34" charset="0"/>
            </a:endParaRPr>
          </a:p>
        </p:txBody>
      </p:sp>
      <p:sp>
        <p:nvSpPr>
          <p:cNvPr id="14" name="Текст 19"/>
          <p:cNvSpPr txBox="1">
            <a:spLocks/>
          </p:cNvSpPr>
          <p:nvPr/>
        </p:nvSpPr>
        <p:spPr>
          <a:xfrm>
            <a:off x="709488" y="5495827"/>
            <a:ext cx="5996954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/>
              <a:defRPr sz="1800" b="0" i="0" u="none" strike="noStrike" cap="none">
                <a:solidFill>
                  <a:srgbClr val="000000"/>
                </a:solidFill>
                <a:latin typeface="+mn-lt"/>
                <a:ea typeface="Source Sans Pro" panose="020B0503030403020204" pitchFamily="34" charset="0"/>
                <a:cs typeface="Arial"/>
                <a:sym typeface="Arial"/>
              </a:defRPr>
            </a:lvl1pPr>
            <a:lvl2pPr marL="0" marR="0" lvl="1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00" b="0" i="0" u="none" strike="noStrike" cap="none">
                <a:solidFill>
                  <a:srgbClr val="000000"/>
                </a:solidFill>
                <a:latin typeface="+mn-lt"/>
                <a:ea typeface="Arial"/>
                <a:cs typeface="Arial"/>
                <a:sym typeface="Arial"/>
              </a:defRPr>
            </a:lvl2pPr>
            <a:lvl3pPr marL="285750" marR="0" lvl="2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800" b="0" i="0" u="none" strike="noStrike" cap="none">
                <a:solidFill>
                  <a:srgbClr val="000000"/>
                </a:solidFill>
                <a:latin typeface="+mn-lt"/>
                <a:ea typeface="Source Sans Pro" panose="020B0503030403020204" pitchFamily="34" charset="0"/>
                <a:cs typeface="Arial"/>
                <a:sym typeface="Arial"/>
              </a:defRPr>
            </a:lvl3pPr>
            <a:lvl4pPr marL="285750" marR="0" lvl="3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800" b="0" i="0" u="none" strike="noStrike" cap="none">
                <a:solidFill>
                  <a:srgbClr val="000000"/>
                </a:solidFill>
                <a:latin typeface="+mn-lt"/>
                <a:ea typeface="Arial"/>
                <a:cs typeface="Arial"/>
                <a:sym typeface="Arial"/>
              </a:defRPr>
            </a:lvl4pPr>
            <a:lvl5pPr marL="538163" marR="0" lvl="4" indent="-25558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­"/>
              <a:defRPr sz="1800" b="0" i="0" u="none" strike="noStrike" cap="none">
                <a:solidFill>
                  <a:srgbClr val="000000"/>
                </a:solidFill>
                <a:latin typeface="+mn-lt"/>
                <a:ea typeface="Source Sans Pro" panose="020B0503030403020204" pitchFamily="34" charset="0"/>
                <a:cs typeface="Arial"/>
                <a:sym typeface="Arial"/>
              </a:defRPr>
            </a:lvl5pPr>
            <a:lvl6pPr marL="285750" marR="0" lvl="5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 algn="just"/>
            <a:r>
              <a:rPr lang="en-US" sz="1400" dirty="0"/>
              <a:t>The electronic version of this document is available at </a:t>
            </a:r>
            <a:r>
              <a:rPr lang="en-US" sz="1400" dirty="0">
                <a:hlinkClick r:id="rId4"/>
              </a:rPr>
              <a:t>https://efsd.org/en/research/working-papers/</a:t>
            </a:r>
            <a:r>
              <a:rPr lang="en-US" sz="1400" dirty="0"/>
              <a:t> </a:t>
            </a:r>
          </a:p>
        </p:txBody>
      </p:sp>
      <p:sp>
        <p:nvSpPr>
          <p:cNvPr id="15" name="Текст 3"/>
          <p:cNvSpPr txBox="1">
            <a:spLocks/>
          </p:cNvSpPr>
          <p:nvPr/>
        </p:nvSpPr>
        <p:spPr>
          <a:xfrm>
            <a:off x="709488" y="4641695"/>
            <a:ext cx="299444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600" dirty="0" smtClean="0">
                <a:solidFill>
                  <a:srgbClr val="00589B"/>
                </a:solidFill>
                <a:latin typeface="Source Sans Pro SemiBold" panose="020B0603030403020204" pitchFamily="34" charset="0"/>
              </a:rPr>
              <a:t>October</a:t>
            </a:r>
            <a:r>
              <a:rPr lang="ru-RU" sz="1600" dirty="0" smtClean="0">
                <a:solidFill>
                  <a:srgbClr val="00589B"/>
                </a:solidFill>
                <a:latin typeface="Source Sans Pro SemiBold" panose="020B0603030403020204" pitchFamily="34" charset="0"/>
              </a:rPr>
              <a:t> </a:t>
            </a:r>
            <a:r>
              <a:rPr lang="ru-RU" sz="1600" dirty="0">
                <a:solidFill>
                  <a:srgbClr val="00589B"/>
                </a:solidFill>
                <a:latin typeface="Source Sans Pro SemiBold" panose="020B0603030403020204" pitchFamily="34" charset="0"/>
              </a:rPr>
              <a:t>2022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77382" y="1664280"/>
            <a:ext cx="3371814" cy="4585008"/>
          </a:xfrm>
          <a:prstGeom prst="rect">
            <a:avLst/>
          </a:prstGeom>
          <a:ln w="15875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4960972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343467"/>
                </a:solidFill>
              </a:rPr>
              <a:t>Technical Assistance to EFSD Member States</a:t>
            </a:r>
            <a:r>
              <a:rPr lang="en-US" dirty="0" smtClean="0"/>
              <a:t> </a:t>
            </a:r>
            <a:r>
              <a:rPr lang="en-US" dirty="0"/>
              <a:t>(1/2)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idx="16"/>
          </p:nvPr>
        </p:nvSpPr>
        <p:spPr/>
        <p:txBody>
          <a:bodyPr/>
          <a:lstStyle/>
          <a:p>
            <a:r>
              <a:rPr lang="en-US" smtClean="0"/>
              <a:t>Footer goes here</a:t>
            </a:r>
            <a:endParaRPr lang="en-US" dirty="0" smtClean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idx="17"/>
          </p:nvPr>
        </p:nvSpPr>
        <p:spPr/>
        <p:txBody>
          <a:bodyPr/>
          <a:lstStyle/>
          <a:p>
            <a:fld id="{00000000-1234-1234-1234-123412341234}" type="slidenum">
              <a:rPr lang="en-GB" smtClean="0"/>
              <a:pPr/>
              <a:t>10</a:t>
            </a:fld>
            <a:endParaRPr lang="en-GB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6062034"/>
              </p:ext>
            </p:extLst>
          </p:nvPr>
        </p:nvGraphicFramePr>
        <p:xfrm>
          <a:off x="442911" y="1520824"/>
          <a:ext cx="11306176" cy="4788022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894936">
                  <a:extLst>
                    <a:ext uri="{9D8B030D-6E8A-4147-A177-3AD203B41FA5}">
                      <a16:colId xmlns:a16="http://schemas.microsoft.com/office/drawing/2014/main" val="3318691515"/>
                    </a:ext>
                  </a:extLst>
                </a:gridCol>
                <a:gridCol w="3137080">
                  <a:extLst>
                    <a:ext uri="{9D8B030D-6E8A-4147-A177-3AD203B41FA5}">
                      <a16:colId xmlns:a16="http://schemas.microsoft.com/office/drawing/2014/main" val="794945494"/>
                    </a:ext>
                  </a:extLst>
                </a:gridCol>
                <a:gridCol w="3137080">
                  <a:extLst>
                    <a:ext uri="{9D8B030D-6E8A-4147-A177-3AD203B41FA5}">
                      <a16:colId xmlns:a16="http://schemas.microsoft.com/office/drawing/2014/main" val="3439851866"/>
                    </a:ext>
                  </a:extLst>
                </a:gridCol>
                <a:gridCol w="3137080">
                  <a:extLst>
                    <a:ext uri="{9D8B030D-6E8A-4147-A177-3AD203B41FA5}">
                      <a16:colId xmlns:a16="http://schemas.microsoft.com/office/drawing/2014/main" val="64193413"/>
                    </a:ext>
                  </a:extLst>
                </a:gridCol>
              </a:tblGrid>
              <a:tr h="39600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/>
                        <a:t>Armenia</a:t>
                      </a:r>
                      <a:endParaRPr lang="ru-RU" sz="170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/>
                        <a:t>Belarus</a:t>
                      </a:r>
                      <a:endParaRPr lang="ru-RU" sz="170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/>
                        <a:t>Kazakhstan</a:t>
                      </a:r>
                      <a:endParaRPr lang="ru-RU" sz="170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9392995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bg2"/>
                          </a:solidFill>
                        </a:rPr>
                        <a:t>Number of TA projects</a:t>
                      </a:r>
                      <a:endParaRPr lang="ru-RU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340</a:t>
                      </a:r>
                      <a:endParaRPr lang="ru-RU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19BC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188</a:t>
                      </a:r>
                      <a:endParaRPr lang="ru-RU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3D36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197</a:t>
                      </a:r>
                      <a:endParaRPr lang="ru-RU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1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3186515"/>
                  </a:ext>
                </a:extLst>
              </a:tr>
              <a:tr h="1998011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bg2"/>
                          </a:solidFill>
                        </a:rPr>
                        <a:t>Main donors</a:t>
                      </a:r>
                      <a:endParaRPr lang="ru-RU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IMF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— 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almost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100 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projects</a:t>
                      </a:r>
                      <a:endParaRPr lang="ru-RU" dirty="0" smtClean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(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Fiscal</a:t>
                      </a:r>
                      <a:r>
                        <a:rPr lang="en-US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— 55, 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Monetary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— 22, 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/>
                      </a:r>
                      <a:br>
                        <a:rPr lang="en-US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Statistics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— 20, 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Law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— 2) </a:t>
                      </a:r>
                    </a:p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World</a:t>
                      </a:r>
                      <a:r>
                        <a:rPr lang="en-US" baseline="0" dirty="0" smtClean="0">
                          <a:solidFill>
                            <a:schemeClr val="bg1"/>
                          </a:solidFill>
                        </a:rPr>
                        <a:t> bank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— 69</a:t>
                      </a:r>
                    </a:p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Asian Development Bank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— 29</a:t>
                      </a:r>
                    </a:p>
                    <a:p>
                      <a:endParaRPr lang="ru-RU" dirty="0" smtClean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USAID - 131</a:t>
                      </a:r>
                      <a:endParaRPr lang="ru-RU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19BC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World Bank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— 80, </a:t>
                      </a:r>
                    </a:p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IMF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— 48,</a:t>
                      </a:r>
                    </a:p>
                    <a:p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(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Fiscal 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—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13, 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Monetary 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—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29,</a:t>
                      </a:r>
                      <a:endParaRPr lang="en-US" dirty="0" smtClean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Statistics 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—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6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,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) </a:t>
                      </a:r>
                    </a:p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EBRD 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— 2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,</a:t>
                      </a:r>
                    </a:p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EIB 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— 2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.</a:t>
                      </a:r>
                      <a:r>
                        <a:rPr lang="en-US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ru-RU" dirty="0" smtClean="0">
                        <a:solidFill>
                          <a:schemeClr val="bg1"/>
                        </a:solidFill>
                      </a:endParaRPr>
                    </a:p>
                    <a:p>
                      <a:endParaRPr lang="ru-RU" dirty="0" smtClean="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USAID — 55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CF7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USAID -</a:t>
                      </a:r>
                      <a:r>
                        <a:rPr lang="ru-RU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76, </a:t>
                      </a:r>
                    </a:p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World Bank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- 39, </a:t>
                      </a:r>
                    </a:p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ADB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– 35, </a:t>
                      </a:r>
                    </a:p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IMF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– 36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,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</a:t>
                      </a:r>
                    </a:p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EBRD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– 6, </a:t>
                      </a:r>
                    </a:p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EDB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– 4, </a:t>
                      </a:r>
                    </a:p>
                    <a:p>
                      <a:r>
                        <a:rPr lang="en-US" dirty="0" err="1" smtClean="0">
                          <a:solidFill>
                            <a:schemeClr val="bg1"/>
                          </a:solidFill>
                        </a:rPr>
                        <a:t>IsDB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–</a:t>
                      </a:r>
                      <a:r>
                        <a:rPr lang="ru-RU" baseline="0" dirty="0" smtClean="0">
                          <a:solidFill>
                            <a:schemeClr val="bg1"/>
                          </a:solidFill>
                        </a:rPr>
                        <a:t> 1.</a:t>
                      </a:r>
                      <a:endParaRPr lang="ru-RU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2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2608771"/>
                  </a:ext>
                </a:extLst>
              </a:tr>
              <a:tr h="1998011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bg2"/>
                          </a:solidFill>
                        </a:rPr>
                        <a:t>Main topics</a:t>
                      </a:r>
                      <a:endParaRPr lang="ru-RU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Public administration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(104)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Macroeconomics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(98)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ru-RU" dirty="0" smtClean="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Health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(USAID 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and WB projects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) — 26, 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infrastructure and urbanization 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(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WB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, 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ADB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, USAID, 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EIB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) — 20,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education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(USAID, А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DB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, 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WB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) — 13.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19BC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Mainly</a:t>
                      </a:r>
                      <a:r>
                        <a:rPr lang="en-US" baseline="0" dirty="0" smtClean="0">
                          <a:solidFill>
                            <a:schemeClr val="bg1"/>
                          </a:solidFill>
                        </a:rPr>
                        <a:t> support of structural and macroeconomic policies. </a:t>
                      </a:r>
                    </a:p>
                    <a:p>
                      <a:endParaRPr lang="ru-RU" dirty="0" smtClean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Wide range of</a:t>
                      </a:r>
                      <a:r>
                        <a:rPr lang="ru-RU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baseline="0" dirty="0" smtClean="0">
                          <a:solidFill>
                            <a:schemeClr val="bg1"/>
                          </a:solidFill>
                        </a:rPr>
                        <a:t>sectoral topics.</a:t>
                      </a:r>
                      <a:endParaRPr lang="ru-RU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3D36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Macroeconomics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– 39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,</a:t>
                      </a:r>
                      <a:endParaRPr lang="ru-RU" dirty="0" smtClean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Public</a:t>
                      </a:r>
                      <a:r>
                        <a:rPr lang="en-US" baseline="0" dirty="0" smtClean="0">
                          <a:solidFill>
                            <a:schemeClr val="bg1"/>
                          </a:solidFill>
                        </a:rPr>
                        <a:t> administration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– 37</a:t>
                      </a:r>
                    </a:p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Economic</a:t>
                      </a:r>
                      <a:r>
                        <a:rPr lang="en-US" baseline="0" dirty="0" smtClean="0">
                          <a:solidFill>
                            <a:schemeClr val="bg1"/>
                          </a:solidFill>
                        </a:rPr>
                        <a:t> development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- 30, </a:t>
                      </a:r>
                    </a:p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Health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- 24, </a:t>
                      </a:r>
                    </a:p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Finance and banking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- 24, </a:t>
                      </a:r>
                      <a:endParaRPr lang="en-US" dirty="0" smtClean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Agriculture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- 8,</a:t>
                      </a:r>
                    </a:p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Oil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, 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gas, energy</a:t>
                      </a:r>
                      <a:r>
                        <a:rPr lang="en-US" baseline="0" dirty="0" smtClean="0">
                          <a:solidFill>
                            <a:schemeClr val="bg1"/>
                          </a:solidFill>
                        </a:rPr>
                        <a:t> and related services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- 7.</a:t>
                      </a:r>
                      <a:endParaRPr lang="ru-RU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1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8582742"/>
                  </a:ext>
                </a:extLst>
              </a:tr>
            </a:tbl>
          </a:graphicData>
        </a:graphic>
      </p:graphicFrame>
      <p:grpSp>
        <p:nvGrpSpPr>
          <p:cNvPr id="9" name="Group 961"/>
          <p:cNvGrpSpPr/>
          <p:nvPr/>
        </p:nvGrpSpPr>
        <p:grpSpPr>
          <a:xfrm>
            <a:off x="985626" y="2943126"/>
            <a:ext cx="579223" cy="714475"/>
            <a:chOff x="5364163" y="4233863"/>
            <a:chExt cx="509588" cy="552450"/>
          </a:xfrm>
          <a:solidFill>
            <a:srgbClr val="343467"/>
          </a:solidFill>
        </p:grpSpPr>
        <p:sp>
          <p:nvSpPr>
            <p:cNvPr id="10" name="Freeform 326"/>
            <p:cNvSpPr>
              <a:spLocks noEditPoints="1"/>
            </p:cNvSpPr>
            <p:nvPr/>
          </p:nvSpPr>
          <p:spPr bwMode="auto">
            <a:xfrm>
              <a:off x="5364163" y="4233863"/>
              <a:ext cx="509588" cy="552450"/>
            </a:xfrm>
            <a:custGeom>
              <a:avLst/>
              <a:gdLst>
                <a:gd name="T0" fmla="*/ 2072 w 3215"/>
                <a:gd name="T1" fmla="*/ 1003 h 3481"/>
                <a:gd name="T2" fmla="*/ 2072 w 3215"/>
                <a:gd name="T3" fmla="*/ 3340 h 3481"/>
                <a:gd name="T4" fmla="*/ 3075 w 3215"/>
                <a:gd name="T5" fmla="*/ 3340 h 3481"/>
                <a:gd name="T6" fmla="*/ 3075 w 3215"/>
                <a:gd name="T7" fmla="*/ 1003 h 3481"/>
                <a:gd name="T8" fmla="*/ 2072 w 3215"/>
                <a:gd name="T9" fmla="*/ 1003 h 3481"/>
                <a:gd name="T10" fmla="*/ 140 w 3215"/>
                <a:gd name="T11" fmla="*/ 141 h 3481"/>
                <a:gd name="T12" fmla="*/ 140 w 3215"/>
                <a:gd name="T13" fmla="*/ 3340 h 3481"/>
                <a:gd name="T14" fmla="*/ 1931 w 3215"/>
                <a:gd name="T15" fmla="*/ 3340 h 3481"/>
                <a:gd name="T16" fmla="*/ 1931 w 3215"/>
                <a:gd name="T17" fmla="*/ 141 h 3481"/>
                <a:gd name="T18" fmla="*/ 140 w 3215"/>
                <a:gd name="T19" fmla="*/ 141 h 3481"/>
                <a:gd name="T20" fmla="*/ 70 w 3215"/>
                <a:gd name="T21" fmla="*/ 0 h 3481"/>
                <a:gd name="T22" fmla="*/ 2001 w 3215"/>
                <a:gd name="T23" fmla="*/ 0 h 3481"/>
                <a:gd name="T24" fmla="*/ 2020 w 3215"/>
                <a:gd name="T25" fmla="*/ 3 h 3481"/>
                <a:gd name="T26" fmla="*/ 2037 w 3215"/>
                <a:gd name="T27" fmla="*/ 10 h 3481"/>
                <a:gd name="T28" fmla="*/ 2051 w 3215"/>
                <a:gd name="T29" fmla="*/ 21 h 3481"/>
                <a:gd name="T30" fmla="*/ 2062 w 3215"/>
                <a:gd name="T31" fmla="*/ 35 h 3481"/>
                <a:gd name="T32" fmla="*/ 2069 w 3215"/>
                <a:gd name="T33" fmla="*/ 52 h 3481"/>
                <a:gd name="T34" fmla="*/ 2072 w 3215"/>
                <a:gd name="T35" fmla="*/ 71 h 3481"/>
                <a:gd name="T36" fmla="*/ 2072 w 3215"/>
                <a:gd name="T37" fmla="*/ 862 h 3481"/>
                <a:gd name="T38" fmla="*/ 3144 w 3215"/>
                <a:gd name="T39" fmla="*/ 862 h 3481"/>
                <a:gd name="T40" fmla="*/ 3163 w 3215"/>
                <a:gd name="T41" fmla="*/ 865 h 3481"/>
                <a:gd name="T42" fmla="*/ 3180 w 3215"/>
                <a:gd name="T43" fmla="*/ 872 h 3481"/>
                <a:gd name="T44" fmla="*/ 3194 w 3215"/>
                <a:gd name="T45" fmla="*/ 883 h 3481"/>
                <a:gd name="T46" fmla="*/ 3205 w 3215"/>
                <a:gd name="T47" fmla="*/ 897 h 3481"/>
                <a:gd name="T48" fmla="*/ 3213 w 3215"/>
                <a:gd name="T49" fmla="*/ 914 h 3481"/>
                <a:gd name="T50" fmla="*/ 3215 w 3215"/>
                <a:gd name="T51" fmla="*/ 933 h 3481"/>
                <a:gd name="T52" fmla="*/ 3215 w 3215"/>
                <a:gd name="T53" fmla="*/ 3410 h 3481"/>
                <a:gd name="T54" fmla="*/ 3213 w 3215"/>
                <a:gd name="T55" fmla="*/ 3429 h 3481"/>
                <a:gd name="T56" fmla="*/ 3205 w 3215"/>
                <a:gd name="T57" fmla="*/ 3446 h 3481"/>
                <a:gd name="T58" fmla="*/ 3194 w 3215"/>
                <a:gd name="T59" fmla="*/ 3459 h 3481"/>
                <a:gd name="T60" fmla="*/ 3180 w 3215"/>
                <a:gd name="T61" fmla="*/ 3471 h 3481"/>
                <a:gd name="T62" fmla="*/ 3163 w 3215"/>
                <a:gd name="T63" fmla="*/ 3477 h 3481"/>
                <a:gd name="T64" fmla="*/ 3144 w 3215"/>
                <a:gd name="T65" fmla="*/ 3481 h 3481"/>
                <a:gd name="T66" fmla="*/ 70 w 3215"/>
                <a:gd name="T67" fmla="*/ 3481 h 3481"/>
                <a:gd name="T68" fmla="*/ 52 w 3215"/>
                <a:gd name="T69" fmla="*/ 3477 h 3481"/>
                <a:gd name="T70" fmla="*/ 35 w 3215"/>
                <a:gd name="T71" fmla="*/ 3471 h 3481"/>
                <a:gd name="T72" fmla="*/ 20 w 3215"/>
                <a:gd name="T73" fmla="*/ 3459 h 3481"/>
                <a:gd name="T74" fmla="*/ 9 w 3215"/>
                <a:gd name="T75" fmla="*/ 3446 h 3481"/>
                <a:gd name="T76" fmla="*/ 2 w 3215"/>
                <a:gd name="T77" fmla="*/ 3429 h 3481"/>
                <a:gd name="T78" fmla="*/ 0 w 3215"/>
                <a:gd name="T79" fmla="*/ 3410 h 3481"/>
                <a:gd name="T80" fmla="*/ 0 w 3215"/>
                <a:gd name="T81" fmla="*/ 71 h 3481"/>
                <a:gd name="T82" fmla="*/ 2 w 3215"/>
                <a:gd name="T83" fmla="*/ 52 h 3481"/>
                <a:gd name="T84" fmla="*/ 9 w 3215"/>
                <a:gd name="T85" fmla="*/ 35 h 3481"/>
                <a:gd name="T86" fmla="*/ 20 w 3215"/>
                <a:gd name="T87" fmla="*/ 21 h 3481"/>
                <a:gd name="T88" fmla="*/ 35 w 3215"/>
                <a:gd name="T89" fmla="*/ 10 h 3481"/>
                <a:gd name="T90" fmla="*/ 52 w 3215"/>
                <a:gd name="T91" fmla="*/ 3 h 3481"/>
                <a:gd name="T92" fmla="*/ 70 w 3215"/>
                <a:gd name="T93" fmla="*/ 0 h 3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215" h="3481">
                  <a:moveTo>
                    <a:pt x="2072" y="1003"/>
                  </a:moveTo>
                  <a:lnTo>
                    <a:pt x="2072" y="3340"/>
                  </a:lnTo>
                  <a:lnTo>
                    <a:pt x="3075" y="3340"/>
                  </a:lnTo>
                  <a:lnTo>
                    <a:pt x="3075" y="1003"/>
                  </a:lnTo>
                  <a:lnTo>
                    <a:pt x="2072" y="1003"/>
                  </a:lnTo>
                  <a:close/>
                  <a:moveTo>
                    <a:pt x="140" y="141"/>
                  </a:moveTo>
                  <a:lnTo>
                    <a:pt x="140" y="3340"/>
                  </a:lnTo>
                  <a:lnTo>
                    <a:pt x="1931" y="3340"/>
                  </a:lnTo>
                  <a:lnTo>
                    <a:pt x="1931" y="141"/>
                  </a:lnTo>
                  <a:lnTo>
                    <a:pt x="140" y="141"/>
                  </a:lnTo>
                  <a:close/>
                  <a:moveTo>
                    <a:pt x="70" y="0"/>
                  </a:moveTo>
                  <a:lnTo>
                    <a:pt x="2001" y="0"/>
                  </a:lnTo>
                  <a:lnTo>
                    <a:pt x="2020" y="3"/>
                  </a:lnTo>
                  <a:lnTo>
                    <a:pt x="2037" y="10"/>
                  </a:lnTo>
                  <a:lnTo>
                    <a:pt x="2051" y="21"/>
                  </a:lnTo>
                  <a:lnTo>
                    <a:pt x="2062" y="35"/>
                  </a:lnTo>
                  <a:lnTo>
                    <a:pt x="2069" y="52"/>
                  </a:lnTo>
                  <a:lnTo>
                    <a:pt x="2072" y="71"/>
                  </a:lnTo>
                  <a:lnTo>
                    <a:pt x="2072" y="862"/>
                  </a:lnTo>
                  <a:lnTo>
                    <a:pt x="3144" y="862"/>
                  </a:lnTo>
                  <a:lnTo>
                    <a:pt x="3163" y="865"/>
                  </a:lnTo>
                  <a:lnTo>
                    <a:pt x="3180" y="872"/>
                  </a:lnTo>
                  <a:lnTo>
                    <a:pt x="3194" y="883"/>
                  </a:lnTo>
                  <a:lnTo>
                    <a:pt x="3205" y="897"/>
                  </a:lnTo>
                  <a:lnTo>
                    <a:pt x="3213" y="914"/>
                  </a:lnTo>
                  <a:lnTo>
                    <a:pt x="3215" y="933"/>
                  </a:lnTo>
                  <a:lnTo>
                    <a:pt x="3215" y="3410"/>
                  </a:lnTo>
                  <a:lnTo>
                    <a:pt x="3213" y="3429"/>
                  </a:lnTo>
                  <a:lnTo>
                    <a:pt x="3205" y="3446"/>
                  </a:lnTo>
                  <a:lnTo>
                    <a:pt x="3194" y="3459"/>
                  </a:lnTo>
                  <a:lnTo>
                    <a:pt x="3180" y="3471"/>
                  </a:lnTo>
                  <a:lnTo>
                    <a:pt x="3163" y="3477"/>
                  </a:lnTo>
                  <a:lnTo>
                    <a:pt x="3144" y="3481"/>
                  </a:lnTo>
                  <a:lnTo>
                    <a:pt x="70" y="3481"/>
                  </a:lnTo>
                  <a:lnTo>
                    <a:pt x="52" y="3477"/>
                  </a:lnTo>
                  <a:lnTo>
                    <a:pt x="35" y="3471"/>
                  </a:lnTo>
                  <a:lnTo>
                    <a:pt x="20" y="3459"/>
                  </a:lnTo>
                  <a:lnTo>
                    <a:pt x="9" y="3446"/>
                  </a:lnTo>
                  <a:lnTo>
                    <a:pt x="2" y="3429"/>
                  </a:lnTo>
                  <a:lnTo>
                    <a:pt x="0" y="3410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9" y="35"/>
                  </a:lnTo>
                  <a:lnTo>
                    <a:pt x="20" y="21"/>
                  </a:lnTo>
                  <a:lnTo>
                    <a:pt x="35" y="10"/>
                  </a:lnTo>
                  <a:lnTo>
                    <a:pt x="52" y="3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327"/>
            <p:cNvSpPr>
              <a:spLocks/>
            </p:cNvSpPr>
            <p:nvPr/>
          </p:nvSpPr>
          <p:spPr bwMode="auto">
            <a:xfrm>
              <a:off x="5724526" y="4427538"/>
              <a:ext cx="95250" cy="22225"/>
            </a:xfrm>
            <a:custGeom>
              <a:avLst/>
              <a:gdLst>
                <a:gd name="T0" fmla="*/ 69 w 596"/>
                <a:gd name="T1" fmla="*/ 0 h 141"/>
                <a:gd name="T2" fmla="*/ 527 w 596"/>
                <a:gd name="T3" fmla="*/ 0 h 141"/>
                <a:gd name="T4" fmla="*/ 545 w 596"/>
                <a:gd name="T5" fmla="*/ 4 h 141"/>
                <a:gd name="T6" fmla="*/ 561 w 596"/>
                <a:gd name="T7" fmla="*/ 10 h 141"/>
                <a:gd name="T8" fmla="*/ 576 w 596"/>
                <a:gd name="T9" fmla="*/ 22 h 141"/>
                <a:gd name="T10" fmla="*/ 587 w 596"/>
                <a:gd name="T11" fmla="*/ 35 h 141"/>
                <a:gd name="T12" fmla="*/ 594 w 596"/>
                <a:gd name="T13" fmla="*/ 52 h 141"/>
                <a:gd name="T14" fmla="*/ 596 w 596"/>
                <a:gd name="T15" fmla="*/ 71 h 141"/>
                <a:gd name="T16" fmla="*/ 594 w 596"/>
                <a:gd name="T17" fmla="*/ 90 h 141"/>
                <a:gd name="T18" fmla="*/ 587 w 596"/>
                <a:gd name="T19" fmla="*/ 107 h 141"/>
                <a:gd name="T20" fmla="*/ 576 w 596"/>
                <a:gd name="T21" fmla="*/ 121 h 141"/>
                <a:gd name="T22" fmla="*/ 561 w 596"/>
                <a:gd name="T23" fmla="*/ 132 h 141"/>
                <a:gd name="T24" fmla="*/ 545 w 596"/>
                <a:gd name="T25" fmla="*/ 139 h 141"/>
                <a:gd name="T26" fmla="*/ 527 w 596"/>
                <a:gd name="T27" fmla="*/ 141 h 141"/>
                <a:gd name="T28" fmla="*/ 69 w 596"/>
                <a:gd name="T29" fmla="*/ 141 h 141"/>
                <a:gd name="T30" fmla="*/ 51 w 596"/>
                <a:gd name="T31" fmla="*/ 139 h 141"/>
                <a:gd name="T32" fmla="*/ 35 w 596"/>
                <a:gd name="T33" fmla="*/ 132 h 141"/>
                <a:gd name="T34" fmla="*/ 20 w 596"/>
                <a:gd name="T35" fmla="*/ 121 h 141"/>
                <a:gd name="T36" fmla="*/ 9 w 596"/>
                <a:gd name="T37" fmla="*/ 106 h 141"/>
                <a:gd name="T38" fmla="*/ 2 w 596"/>
                <a:gd name="T39" fmla="*/ 89 h 141"/>
                <a:gd name="T40" fmla="*/ 0 w 596"/>
                <a:gd name="T41" fmla="*/ 71 h 141"/>
                <a:gd name="T42" fmla="*/ 2 w 596"/>
                <a:gd name="T43" fmla="*/ 52 h 141"/>
                <a:gd name="T44" fmla="*/ 9 w 596"/>
                <a:gd name="T45" fmla="*/ 35 h 141"/>
                <a:gd name="T46" fmla="*/ 20 w 596"/>
                <a:gd name="T47" fmla="*/ 22 h 141"/>
                <a:gd name="T48" fmla="*/ 35 w 596"/>
                <a:gd name="T49" fmla="*/ 10 h 141"/>
                <a:gd name="T50" fmla="*/ 51 w 596"/>
                <a:gd name="T51" fmla="*/ 4 h 141"/>
                <a:gd name="T52" fmla="*/ 69 w 596"/>
                <a:gd name="T53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96" h="141">
                  <a:moveTo>
                    <a:pt x="69" y="0"/>
                  </a:moveTo>
                  <a:lnTo>
                    <a:pt x="527" y="0"/>
                  </a:lnTo>
                  <a:lnTo>
                    <a:pt x="545" y="4"/>
                  </a:lnTo>
                  <a:lnTo>
                    <a:pt x="561" y="10"/>
                  </a:lnTo>
                  <a:lnTo>
                    <a:pt x="576" y="22"/>
                  </a:lnTo>
                  <a:lnTo>
                    <a:pt x="587" y="35"/>
                  </a:lnTo>
                  <a:lnTo>
                    <a:pt x="594" y="52"/>
                  </a:lnTo>
                  <a:lnTo>
                    <a:pt x="596" y="71"/>
                  </a:lnTo>
                  <a:lnTo>
                    <a:pt x="594" y="90"/>
                  </a:lnTo>
                  <a:lnTo>
                    <a:pt x="587" y="107"/>
                  </a:lnTo>
                  <a:lnTo>
                    <a:pt x="576" y="121"/>
                  </a:lnTo>
                  <a:lnTo>
                    <a:pt x="561" y="132"/>
                  </a:lnTo>
                  <a:lnTo>
                    <a:pt x="545" y="139"/>
                  </a:lnTo>
                  <a:lnTo>
                    <a:pt x="527" y="141"/>
                  </a:lnTo>
                  <a:lnTo>
                    <a:pt x="69" y="141"/>
                  </a:lnTo>
                  <a:lnTo>
                    <a:pt x="51" y="139"/>
                  </a:lnTo>
                  <a:lnTo>
                    <a:pt x="35" y="132"/>
                  </a:lnTo>
                  <a:lnTo>
                    <a:pt x="20" y="121"/>
                  </a:lnTo>
                  <a:lnTo>
                    <a:pt x="9" y="106"/>
                  </a:lnTo>
                  <a:lnTo>
                    <a:pt x="2" y="89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9" y="35"/>
                  </a:lnTo>
                  <a:lnTo>
                    <a:pt x="20" y="22"/>
                  </a:lnTo>
                  <a:lnTo>
                    <a:pt x="35" y="10"/>
                  </a:lnTo>
                  <a:lnTo>
                    <a:pt x="51" y="4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328"/>
            <p:cNvSpPr>
              <a:spLocks/>
            </p:cNvSpPr>
            <p:nvPr/>
          </p:nvSpPr>
          <p:spPr bwMode="auto">
            <a:xfrm>
              <a:off x="5724526" y="4483100"/>
              <a:ext cx="95250" cy="22225"/>
            </a:xfrm>
            <a:custGeom>
              <a:avLst/>
              <a:gdLst>
                <a:gd name="T0" fmla="*/ 69 w 596"/>
                <a:gd name="T1" fmla="*/ 0 h 140"/>
                <a:gd name="T2" fmla="*/ 527 w 596"/>
                <a:gd name="T3" fmla="*/ 0 h 140"/>
                <a:gd name="T4" fmla="*/ 545 w 596"/>
                <a:gd name="T5" fmla="*/ 3 h 140"/>
                <a:gd name="T6" fmla="*/ 561 w 596"/>
                <a:gd name="T7" fmla="*/ 9 h 140"/>
                <a:gd name="T8" fmla="*/ 576 w 596"/>
                <a:gd name="T9" fmla="*/ 21 h 140"/>
                <a:gd name="T10" fmla="*/ 587 w 596"/>
                <a:gd name="T11" fmla="*/ 35 h 140"/>
                <a:gd name="T12" fmla="*/ 594 w 596"/>
                <a:gd name="T13" fmla="*/ 51 h 140"/>
                <a:gd name="T14" fmla="*/ 596 w 596"/>
                <a:gd name="T15" fmla="*/ 70 h 140"/>
                <a:gd name="T16" fmla="*/ 594 w 596"/>
                <a:gd name="T17" fmla="*/ 90 h 140"/>
                <a:gd name="T18" fmla="*/ 587 w 596"/>
                <a:gd name="T19" fmla="*/ 105 h 140"/>
                <a:gd name="T20" fmla="*/ 576 w 596"/>
                <a:gd name="T21" fmla="*/ 120 h 140"/>
                <a:gd name="T22" fmla="*/ 561 w 596"/>
                <a:gd name="T23" fmla="*/ 131 h 140"/>
                <a:gd name="T24" fmla="*/ 545 w 596"/>
                <a:gd name="T25" fmla="*/ 138 h 140"/>
                <a:gd name="T26" fmla="*/ 527 w 596"/>
                <a:gd name="T27" fmla="*/ 140 h 140"/>
                <a:gd name="T28" fmla="*/ 69 w 596"/>
                <a:gd name="T29" fmla="*/ 140 h 140"/>
                <a:gd name="T30" fmla="*/ 51 w 596"/>
                <a:gd name="T31" fmla="*/ 138 h 140"/>
                <a:gd name="T32" fmla="*/ 35 w 596"/>
                <a:gd name="T33" fmla="*/ 131 h 140"/>
                <a:gd name="T34" fmla="*/ 20 w 596"/>
                <a:gd name="T35" fmla="*/ 120 h 140"/>
                <a:gd name="T36" fmla="*/ 9 w 596"/>
                <a:gd name="T37" fmla="*/ 105 h 140"/>
                <a:gd name="T38" fmla="*/ 2 w 596"/>
                <a:gd name="T39" fmla="*/ 90 h 140"/>
                <a:gd name="T40" fmla="*/ 0 w 596"/>
                <a:gd name="T41" fmla="*/ 70 h 140"/>
                <a:gd name="T42" fmla="*/ 2 w 596"/>
                <a:gd name="T43" fmla="*/ 51 h 140"/>
                <a:gd name="T44" fmla="*/ 9 w 596"/>
                <a:gd name="T45" fmla="*/ 35 h 140"/>
                <a:gd name="T46" fmla="*/ 20 w 596"/>
                <a:gd name="T47" fmla="*/ 21 h 140"/>
                <a:gd name="T48" fmla="*/ 35 w 596"/>
                <a:gd name="T49" fmla="*/ 9 h 140"/>
                <a:gd name="T50" fmla="*/ 51 w 596"/>
                <a:gd name="T51" fmla="*/ 3 h 140"/>
                <a:gd name="T52" fmla="*/ 69 w 596"/>
                <a:gd name="T53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96" h="140">
                  <a:moveTo>
                    <a:pt x="69" y="0"/>
                  </a:moveTo>
                  <a:lnTo>
                    <a:pt x="527" y="0"/>
                  </a:lnTo>
                  <a:lnTo>
                    <a:pt x="545" y="3"/>
                  </a:lnTo>
                  <a:lnTo>
                    <a:pt x="561" y="9"/>
                  </a:lnTo>
                  <a:lnTo>
                    <a:pt x="576" y="21"/>
                  </a:lnTo>
                  <a:lnTo>
                    <a:pt x="587" y="35"/>
                  </a:lnTo>
                  <a:lnTo>
                    <a:pt x="594" y="51"/>
                  </a:lnTo>
                  <a:lnTo>
                    <a:pt x="596" y="70"/>
                  </a:lnTo>
                  <a:lnTo>
                    <a:pt x="594" y="90"/>
                  </a:lnTo>
                  <a:lnTo>
                    <a:pt x="587" y="105"/>
                  </a:lnTo>
                  <a:lnTo>
                    <a:pt x="576" y="120"/>
                  </a:lnTo>
                  <a:lnTo>
                    <a:pt x="561" y="131"/>
                  </a:lnTo>
                  <a:lnTo>
                    <a:pt x="545" y="138"/>
                  </a:lnTo>
                  <a:lnTo>
                    <a:pt x="527" y="140"/>
                  </a:lnTo>
                  <a:lnTo>
                    <a:pt x="69" y="140"/>
                  </a:lnTo>
                  <a:lnTo>
                    <a:pt x="51" y="138"/>
                  </a:lnTo>
                  <a:lnTo>
                    <a:pt x="35" y="131"/>
                  </a:lnTo>
                  <a:lnTo>
                    <a:pt x="20" y="120"/>
                  </a:lnTo>
                  <a:lnTo>
                    <a:pt x="9" y="105"/>
                  </a:lnTo>
                  <a:lnTo>
                    <a:pt x="2" y="90"/>
                  </a:lnTo>
                  <a:lnTo>
                    <a:pt x="0" y="70"/>
                  </a:lnTo>
                  <a:lnTo>
                    <a:pt x="2" y="51"/>
                  </a:lnTo>
                  <a:lnTo>
                    <a:pt x="9" y="35"/>
                  </a:lnTo>
                  <a:lnTo>
                    <a:pt x="20" y="21"/>
                  </a:lnTo>
                  <a:lnTo>
                    <a:pt x="35" y="9"/>
                  </a:lnTo>
                  <a:lnTo>
                    <a:pt x="51" y="3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329"/>
            <p:cNvSpPr>
              <a:spLocks/>
            </p:cNvSpPr>
            <p:nvPr/>
          </p:nvSpPr>
          <p:spPr bwMode="auto">
            <a:xfrm>
              <a:off x="5724526" y="4538663"/>
              <a:ext cx="95250" cy="23812"/>
            </a:xfrm>
            <a:custGeom>
              <a:avLst/>
              <a:gdLst>
                <a:gd name="T0" fmla="*/ 69 w 596"/>
                <a:gd name="T1" fmla="*/ 0 h 140"/>
                <a:gd name="T2" fmla="*/ 527 w 596"/>
                <a:gd name="T3" fmla="*/ 0 h 140"/>
                <a:gd name="T4" fmla="*/ 545 w 596"/>
                <a:gd name="T5" fmla="*/ 3 h 140"/>
                <a:gd name="T6" fmla="*/ 561 w 596"/>
                <a:gd name="T7" fmla="*/ 9 h 140"/>
                <a:gd name="T8" fmla="*/ 576 w 596"/>
                <a:gd name="T9" fmla="*/ 21 h 140"/>
                <a:gd name="T10" fmla="*/ 587 w 596"/>
                <a:gd name="T11" fmla="*/ 35 h 140"/>
                <a:gd name="T12" fmla="*/ 594 w 596"/>
                <a:gd name="T13" fmla="*/ 52 h 140"/>
                <a:gd name="T14" fmla="*/ 596 w 596"/>
                <a:gd name="T15" fmla="*/ 71 h 140"/>
                <a:gd name="T16" fmla="*/ 594 w 596"/>
                <a:gd name="T17" fmla="*/ 90 h 140"/>
                <a:gd name="T18" fmla="*/ 587 w 596"/>
                <a:gd name="T19" fmla="*/ 107 h 140"/>
                <a:gd name="T20" fmla="*/ 576 w 596"/>
                <a:gd name="T21" fmla="*/ 120 h 140"/>
                <a:gd name="T22" fmla="*/ 561 w 596"/>
                <a:gd name="T23" fmla="*/ 131 h 140"/>
                <a:gd name="T24" fmla="*/ 545 w 596"/>
                <a:gd name="T25" fmla="*/ 138 h 140"/>
                <a:gd name="T26" fmla="*/ 527 w 596"/>
                <a:gd name="T27" fmla="*/ 140 h 140"/>
                <a:gd name="T28" fmla="*/ 69 w 596"/>
                <a:gd name="T29" fmla="*/ 140 h 140"/>
                <a:gd name="T30" fmla="*/ 51 w 596"/>
                <a:gd name="T31" fmla="*/ 138 h 140"/>
                <a:gd name="T32" fmla="*/ 35 w 596"/>
                <a:gd name="T33" fmla="*/ 131 h 140"/>
                <a:gd name="T34" fmla="*/ 20 w 596"/>
                <a:gd name="T35" fmla="*/ 120 h 140"/>
                <a:gd name="T36" fmla="*/ 9 w 596"/>
                <a:gd name="T37" fmla="*/ 107 h 140"/>
                <a:gd name="T38" fmla="*/ 2 w 596"/>
                <a:gd name="T39" fmla="*/ 90 h 140"/>
                <a:gd name="T40" fmla="*/ 0 w 596"/>
                <a:gd name="T41" fmla="*/ 71 h 140"/>
                <a:gd name="T42" fmla="*/ 2 w 596"/>
                <a:gd name="T43" fmla="*/ 52 h 140"/>
                <a:gd name="T44" fmla="*/ 9 w 596"/>
                <a:gd name="T45" fmla="*/ 35 h 140"/>
                <a:gd name="T46" fmla="*/ 20 w 596"/>
                <a:gd name="T47" fmla="*/ 21 h 140"/>
                <a:gd name="T48" fmla="*/ 35 w 596"/>
                <a:gd name="T49" fmla="*/ 9 h 140"/>
                <a:gd name="T50" fmla="*/ 51 w 596"/>
                <a:gd name="T51" fmla="*/ 3 h 140"/>
                <a:gd name="T52" fmla="*/ 69 w 596"/>
                <a:gd name="T53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96" h="140">
                  <a:moveTo>
                    <a:pt x="69" y="0"/>
                  </a:moveTo>
                  <a:lnTo>
                    <a:pt x="527" y="0"/>
                  </a:lnTo>
                  <a:lnTo>
                    <a:pt x="545" y="3"/>
                  </a:lnTo>
                  <a:lnTo>
                    <a:pt x="561" y="9"/>
                  </a:lnTo>
                  <a:lnTo>
                    <a:pt x="576" y="21"/>
                  </a:lnTo>
                  <a:lnTo>
                    <a:pt x="587" y="35"/>
                  </a:lnTo>
                  <a:lnTo>
                    <a:pt x="594" y="52"/>
                  </a:lnTo>
                  <a:lnTo>
                    <a:pt x="596" y="71"/>
                  </a:lnTo>
                  <a:lnTo>
                    <a:pt x="594" y="90"/>
                  </a:lnTo>
                  <a:lnTo>
                    <a:pt x="587" y="107"/>
                  </a:lnTo>
                  <a:lnTo>
                    <a:pt x="576" y="120"/>
                  </a:lnTo>
                  <a:lnTo>
                    <a:pt x="561" y="131"/>
                  </a:lnTo>
                  <a:lnTo>
                    <a:pt x="545" y="138"/>
                  </a:lnTo>
                  <a:lnTo>
                    <a:pt x="527" y="140"/>
                  </a:lnTo>
                  <a:lnTo>
                    <a:pt x="69" y="140"/>
                  </a:lnTo>
                  <a:lnTo>
                    <a:pt x="51" y="138"/>
                  </a:lnTo>
                  <a:lnTo>
                    <a:pt x="35" y="131"/>
                  </a:lnTo>
                  <a:lnTo>
                    <a:pt x="20" y="120"/>
                  </a:lnTo>
                  <a:lnTo>
                    <a:pt x="9" y="107"/>
                  </a:lnTo>
                  <a:lnTo>
                    <a:pt x="2" y="90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9" y="35"/>
                  </a:lnTo>
                  <a:lnTo>
                    <a:pt x="20" y="21"/>
                  </a:lnTo>
                  <a:lnTo>
                    <a:pt x="35" y="9"/>
                  </a:lnTo>
                  <a:lnTo>
                    <a:pt x="51" y="3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330"/>
            <p:cNvSpPr>
              <a:spLocks/>
            </p:cNvSpPr>
            <p:nvPr/>
          </p:nvSpPr>
          <p:spPr bwMode="auto">
            <a:xfrm>
              <a:off x="5724526" y="4595813"/>
              <a:ext cx="95250" cy="22225"/>
            </a:xfrm>
            <a:custGeom>
              <a:avLst/>
              <a:gdLst>
                <a:gd name="T0" fmla="*/ 69 w 596"/>
                <a:gd name="T1" fmla="*/ 0 h 141"/>
                <a:gd name="T2" fmla="*/ 527 w 596"/>
                <a:gd name="T3" fmla="*/ 0 h 141"/>
                <a:gd name="T4" fmla="*/ 545 w 596"/>
                <a:gd name="T5" fmla="*/ 3 h 141"/>
                <a:gd name="T6" fmla="*/ 561 w 596"/>
                <a:gd name="T7" fmla="*/ 10 h 141"/>
                <a:gd name="T8" fmla="*/ 576 w 596"/>
                <a:gd name="T9" fmla="*/ 21 h 141"/>
                <a:gd name="T10" fmla="*/ 587 w 596"/>
                <a:gd name="T11" fmla="*/ 35 h 141"/>
                <a:gd name="T12" fmla="*/ 594 w 596"/>
                <a:gd name="T13" fmla="*/ 52 h 141"/>
                <a:gd name="T14" fmla="*/ 596 w 596"/>
                <a:gd name="T15" fmla="*/ 71 h 141"/>
                <a:gd name="T16" fmla="*/ 594 w 596"/>
                <a:gd name="T17" fmla="*/ 90 h 141"/>
                <a:gd name="T18" fmla="*/ 587 w 596"/>
                <a:gd name="T19" fmla="*/ 106 h 141"/>
                <a:gd name="T20" fmla="*/ 576 w 596"/>
                <a:gd name="T21" fmla="*/ 121 h 141"/>
                <a:gd name="T22" fmla="*/ 561 w 596"/>
                <a:gd name="T23" fmla="*/ 131 h 141"/>
                <a:gd name="T24" fmla="*/ 545 w 596"/>
                <a:gd name="T25" fmla="*/ 139 h 141"/>
                <a:gd name="T26" fmla="*/ 527 w 596"/>
                <a:gd name="T27" fmla="*/ 141 h 141"/>
                <a:gd name="T28" fmla="*/ 69 w 596"/>
                <a:gd name="T29" fmla="*/ 141 h 141"/>
                <a:gd name="T30" fmla="*/ 51 w 596"/>
                <a:gd name="T31" fmla="*/ 139 h 141"/>
                <a:gd name="T32" fmla="*/ 35 w 596"/>
                <a:gd name="T33" fmla="*/ 131 h 141"/>
                <a:gd name="T34" fmla="*/ 20 w 596"/>
                <a:gd name="T35" fmla="*/ 121 h 141"/>
                <a:gd name="T36" fmla="*/ 9 w 596"/>
                <a:gd name="T37" fmla="*/ 106 h 141"/>
                <a:gd name="T38" fmla="*/ 2 w 596"/>
                <a:gd name="T39" fmla="*/ 90 h 141"/>
                <a:gd name="T40" fmla="*/ 0 w 596"/>
                <a:gd name="T41" fmla="*/ 71 h 141"/>
                <a:gd name="T42" fmla="*/ 2 w 596"/>
                <a:gd name="T43" fmla="*/ 52 h 141"/>
                <a:gd name="T44" fmla="*/ 9 w 596"/>
                <a:gd name="T45" fmla="*/ 35 h 141"/>
                <a:gd name="T46" fmla="*/ 20 w 596"/>
                <a:gd name="T47" fmla="*/ 21 h 141"/>
                <a:gd name="T48" fmla="*/ 35 w 596"/>
                <a:gd name="T49" fmla="*/ 10 h 141"/>
                <a:gd name="T50" fmla="*/ 51 w 596"/>
                <a:gd name="T51" fmla="*/ 3 h 141"/>
                <a:gd name="T52" fmla="*/ 69 w 596"/>
                <a:gd name="T53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96" h="141">
                  <a:moveTo>
                    <a:pt x="69" y="0"/>
                  </a:moveTo>
                  <a:lnTo>
                    <a:pt x="527" y="0"/>
                  </a:lnTo>
                  <a:lnTo>
                    <a:pt x="545" y="3"/>
                  </a:lnTo>
                  <a:lnTo>
                    <a:pt x="561" y="10"/>
                  </a:lnTo>
                  <a:lnTo>
                    <a:pt x="576" y="21"/>
                  </a:lnTo>
                  <a:lnTo>
                    <a:pt x="587" y="35"/>
                  </a:lnTo>
                  <a:lnTo>
                    <a:pt x="594" y="52"/>
                  </a:lnTo>
                  <a:lnTo>
                    <a:pt x="596" y="71"/>
                  </a:lnTo>
                  <a:lnTo>
                    <a:pt x="594" y="90"/>
                  </a:lnTo>
                  <a:lnTo>
                    <a:pt x="587" y="106"/>
                  </a:lnTo>
                  <a:lnTo>
                    <a:pt x="576" y="121"/>
                  </a:lnTo>
                  <a:lnTo>
                    <a:pt x="561" y="131"/>
                  </a:lnTo>
                  <a:lnTo>
                    <a:pt x="545" y="139"/>
                  </a:lnTo>
                  <a:lnTo>
                    <a:pt x="527" y="141"/>
                  </a:lnTo>
                  <a:lnTo>
                    <a:pt x="69" y="141"/>
                  </a:lnTo>
                  <a:lnTo>
                    <a:pt x="51" y="139"/>
                  </a:lnTo>
                  <a:lnTo>
                    <a:pt x="35" y="131"/>
                  </a:lnTo>
                  <a:lnTo>
                    <a:pt x="20" y="121"/>
                  </a:lnTo>
                  <a:lnTo>
                    <a:pt x="9" y="106"/>
                  </a:lnTo>
                  <a:lnTo>
                    <a:pt x="2" y="90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9" y="35"/>
                  </a:lnTo>
                  <a:lnTo>
                    <a:pt x="20" y="21"/>
                  </a:lnTo>
                  <a:lnTo>
                    <a:pt x="35" y="10"/>
                  </a:lnTo>
                  <a:lnTo>
                    <a:pt x="51" y="3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331"/>
            <p:cNvSpPr>
              <a:spLocks/>
            </p:cNvSpPr>
            <p:nvPr/>
          </p:nvSpPr>
          <p:spPr bwMode="auto">
            <a:xfrm>
              <a:off x="5724526" y="4651375"/>
              <a:ext cx="95250" cy="22225"/>
            </a:xfrm>
            <a:custGeom>
              <a:avLst/>
              <a:gdLst>
                <a:gd name="T0" fmla="*/ 69 w 596"/>
                <a:gd name="T1" fmla="*/ 0 h 142"/>
                <a:gd name="T2" fmla="*/ 527 w 596"/>
                <a:gd name="T3" fmla="*/ 0 h 142"/>
                <a:gd name="T4" fmla="*/ 545 w 596"/>
                <a:gd name="T5" fmla="*/ 3 h 142"/>
                <a:gd name="T6" fmla="*/ 561 w 596"/>
                <a:gd name="T7" fmla="*/ 11 h 142"/>
                <a:gd name="T8" fmla="*/ 576 w 596"/>
                <a:gd name="T9" fmla="*/ 21 h 142"/>
                <a:gd name="T10" fmla="*/ 587 w 596"/>
                <a:gd name="T11" fmla="*/ 35 h 142"/>
                <a:gd name="T12" fmla="*/ 594 w 596"/>
                <a:gd name="T13" fmla="*/ 52 h 142"/>
                <a:gd name="T14" fmla="*/ 596 w 596"/>
                <a:gd name="T15" fmla="*/ 71 h 142"/>
                <a:gd name="T16" fmla="*/ 594 w 596"/>
                <a:gd name="T17" fmla="*/ 90 h 142"/>
                <a:gd name="T18" fmla="*/ 587 w 596"/>
                <a:gd name="T19" fmla="*/ 107 h 142"/>
                <a:gd name="T20" fmla="*/ 576 w 596"/>
                <a:gd name="T21" fmla="*/ 121 h 142"/>
                <a:gd name="T22" fmla="*/ 561 w 596"/>
                <a:gd name="T23" fmla="*/ 131 h 142"/>
                <a:gd name="T24" fmla="*/ 545 w 596"/>
                <a:gd name="T25" fmla="*/ 139 h 142"/>
                <a:gd name="T26" fmla="*/ 527 w 596"/>
                <a:gd name="T27" fmla="*/ 142 h 142"/>
                <a:gd name="T28" fmla="*/ 69 w 596"/>
                <a:gd name="T29" fmla="*/ 142 h 142"/>
                <a:gd name="T30" fmla="*/ 51 w 596"/>
                <a:gd name="T31" fmla="*/ 139 h 142"/>
                <a:gd name="T32" fmla="*/ 35 w 596"/>
                <a:gd name="T33" fmla="*/ 131 h 142"/>
                <a:gd name="T34" fmla="*/ 20 w 596"/>
                <a:gd name="T35" fmla="*/ 121 h 142"/>
                <a:gd name="T36" fmla="*/ 9 w 596"/>
                <a:gd name="T37" fmla="*/ 106 h 142"/>
                <a:gd name="T38" fmla="*/ 2 w 596"/>
                <a:gd name="T39" fmla="*/ 90 h 142"/>
                <a:gd name="T40" fmla="*/ 0 w 596"/>
                <a:gd name="T41" fmla="*/ 71 h 142"/>
                <a:gd name="T42" fmla="*/ 2 w 596"/>
                <a:gd name="T43" fmla="*/ 52 h 142"/>
                <a:gd name="T44" fmla="*/ 9 w 596"/>
                <a:gd name="T45" fmla="*/ 35 h 142"/>
                <a:gd name="T46" fmla="*/ 20 w 596"/>
                <a:gd name="T47" fmla="*/ 21 h 142"/>
                <a:gd name="T48" fmla="*/ 35 w 596"/>
                <a:gd name="T49" fmla="*/ 11 h 142"/>
                <a:gd name="T50" fmla="*/ 51 w 596"/>
                <a:gd name="T51" fmla="*/ 3 h 142"/>
                <a:gd name="T52" fmla="*/ 69 w 596"/>
                <a:gd name="T53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96" h="142">
                  <a:moveTo>
                    <a:pt x="69" y="0"/>
                  </a:moveTo>
                  <a:lnTo>
                    <a:pt x="527" y="0"/>
                  </a:lnTo>
                  <a:lnTo>
                    <a:pt x="545" y="3"/>
                  </a:lnTo>
                  <a:lnTo>
                    <a:pt x="561" y="11"/>
                  </a:lnTo>
                  <a:lnTo>
                    <a:pt x="576" y="21"/>
                  </a:lnTo>
                  <a:lnTo>
                    <a:pt x="587" y="35"/>
                  </a:lnTo>
                  <a:lnTo>
                    <a:pt x="594" y="52"/>
                  </a:lnTo>
                  <a:lnTo>
                    <a:pt x="596" y="71"/>
                  </a:lnTo>
                  <a:lnTo>
                    <a:pt x="594" y="90"/>
                  </a:lnTo>
                  <a:lnTo>
                    <a:pt x="587" y="107"/>
                  </a:lnTo>
                  <a:lnTo>
                    <a:pt x="576" y="121"/>
                  </a:lnTo>
                  <a:lnTo>
                    <a:pt x="561" y="131"/>
                  </a:lnTo>
                  <a:lnTo>
                    <a:pt x="545" y="139"/>
                  </a:lnTo>
                  <a:lnTo>
                    <a:pt x="527" y="142"/>
                  </a:lnTo>
                  <a:lnTo>
                    <a:pt x="69" y="142"/>
                  </a:lnTo>
                  <a:lnTo>
                    <a:pt x="51" y="139"/>
                  </a:lnTo>
                  <a:lnTo>
                    <a:pt x="35" y="131"/>
                  </a:lnTo>
                  <a:lnTo>
                    <a:pt x="20" y="121"/>
                  </a:lnTo>
                  <a:lnTo>
                    <a:pt x="9" y="106"/>
                  </a:lnTo>
                  <a:lnTo>
                    <a:pt x="2" y="90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9" y="35"/>
                  </a:lnTo>
                  <a:lnTo>
                    <a:pt x="20" y="21"/>
                  </a:lnTo>
                  <a:lnTo>
                    <a:pt x="35" y="11"/>
                  </a:lnTo>
                  <a:lnTo>
                    <a:pt x="51" y="3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332"/>
            <p:cNvSpPr>
              <a:spLocks/>
            </p:cNvSpPr>
            <p:nvPr/>
          </p:nvSpPr>
          <p:spPr bwMode="auto">
            <a:xfrm>
              <a:off x="5724526" y="4706938"/>
              <a:ext cx="95250" cy="22225"/>
            </a:xfrm>
            <a:custGeom>
              <a:avLst/>
              <a:gdLst>
                <a:gd name="T0" fmla="*/ 69 w 596"/>
                <a:gd name="T1" fmla="*/ 0 h 141"/>
                <a:gd name="T2" fmla="*/ 527 w 596"/>
                <a:gd name="T3" fmla="*/ 0 h 141"/>
                <a:gd name="T4" fmla="*/ 545 w 596"/>
                <a:gd name="T5" fmla="*/ 4 h 141"/>
                <a:gd name="T6" fmla="*/ 561 w 596"/>
                <a:gd name="T7" fmla="*/ 10 h 141"/>
                <a:gd name="T8" fmla="*/ 576 w 596"/>
                <a:gd name="T9" fmla="*/ 22 h 141"/>
                <a:gd name="T10" fmla="*/ 587 w 596"/>
                <a:gd name="T11" fmla="*/ 35 h 141"/>
                <a:gd name="T12" fmla="*/ 594 w 596"/>
                <a:gd name="T13" fmla="*/ 52 h 141"/>
                <a:gd name="T14" fmla="*/ 596 w 596"/>
                <a:gd name="T15" fmla="*/ 71 h 141"/>
                <a:gd name="T16" fmla="*/ 594 w 596"/>
                <a:gd name="T17" fmla="*/ 90 h 141"/>
                <a:gd name="T18" fmla="*/ 587 w 596"/>
                <a:gd name="T19" fmla="*/ 107 h 141"/>
                <a:gd name="T20" fmla="*/ 576 w 596"/>
                <a:gd name="T21" fmla="*/ 121 h 141"/>
                <a:gd name="T22" fmla="*/ 561 w 596"/>
                <a:gd name="T23" fmla="*/ 132 h 141"/>
                <a:gd name="T24" fmla="*/ 545 w 596"/>
                <a:gd name="T25" fmla="*/ 139 h 141"/>
                <a:gd name="T26" fmla="*/ 527 w 596"/>
                <a:gd name="T27" fmla="*/ 141 h 141"/>
                <a:gd name="T28" fmla="*/ 69 w 596"/>
                <a:gd name="T29" fmla="*/ 141 h 141"/>
                <a:gd name="T30" fmla="*/ 51 w 596"/>
                <a:gd name="T31" fmla="*/ 139 h 141"/>
                <a:gd name="T32" fmla="*/ 35 w 596"/>
                <a:gd name="T33" fmla="*/ 132 h 141"/>
                <a:gd name="T34" fmla="*/ 20 w 596"/>
                <a:gd name="T35" fmla="*/ 121 h 141"/>
                <a:gd name="T36" fmla="*/ 9 w 596"/>
                <a:gd name="T37" fmla="*/ 107 h 141"/>
                <a:gd name="T38" fmla="*/ 2 w 596"/>
                <a:gd name="T39" fmla="*/ 90 h 141"/>
                <a:gd name="T40" fmla="*/ 0 w 596"/>
                <a:gd name="T41" fmla="*/ 71 h 141"/>
                <a:gd name="T42" fmla="*/ 2 w 596"/>
                <a:gd name="T43" fmla="*/ 52 h 141"/>
                <a:gd name="T44" fmla="*/ 9 w 596"/>
                <a:gd name="T45" fmla="*/ 35 h 141"/>
                <a:gd name="T46" fmla="*/ 20 w 596"/>
                <a:gd name="T47" fmla="*/ 22 h 141"/>
                <a:gd name="T48" fmla="*/ 35 w 596"/>
                <a:gd name="T49" fmla="*/ 10 h 141"/>
                <a:gd name="T50" fmla="*/ 51 w 596"/>
                <a:gd name="T51" fmla="*/ 4 h 141"/>
                <a:gd name="T52" fmla="*/ 69 w 596"/>
                <a:gd name="T53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96" h="141">
                  <a:moveTo>
                    <a:pt x="69" y="0"/>
                  </a:moveTo>
                  <a:lnTo>
                    <a:pt x="527" y="0"/>
                  </a:lnTo>
                  <a:lnTo>
                    <a:pt x="545" y="4"/>
                  </a:lnTo>
                  <a:lnTo>
                    <a:pt x="561" y="10"/>
                  </a:lnTo>
                  <a:lnTo>
                    <a:pt x="576" y="22"/>
                  </a:lnTo>
                  <a:lnTo>
                    <a:pt x="587" y="35"/>
                  </a:lnTo>
                  <a:lnTo>
                    <a:pt x="594" y="52"/>
                  </a:lnTo>
                  <a:lnTo>
                    <a:pt x="596" y="71"/>
                  </a:lnTo>
                  <a:lnTo>
                    <a:pt x="594" y="90"/>
                  </a:lnTo>
                  <a:lnTo>
                    <a:pt x="587" y="107"/>
                  </a:lnTo>
                  <a:lnTo>
                    <a:pt x="576" y="121"/>
                  </a:lnTo>
                  <a:lnTo>
                    <a:pt x="561" y="132"/>
                  </a:lnTo>
                  <a:lnTo>
                    <a:pt x="545" y="139"/>
                  </a:lnTo>
                  <a:lnTo>
                    <a:pt x="527" y="141"/>
                  </a:lnTo>
                  <a:lnTo>
                    <a:pt x="69" y="141"/>
                  </a:lnTo>
                  <a:lnTo>
                    <a:pt x="51" y="139"/>
                  </a:lnTo>
                  <a:lnTo>
                    <a:pt x="35" y="132"/>
                  </a:lnTo>
                  <a:lnTo>
                    <a:pt x="20" y="121"/>
                  </a:lnTo>
                  <a:lnTo>
                    <a:pt x="9" y="107"/>
                  </a:lnTo>
                  <a:lnTo>
                    <a:pt x="2" y="90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9" y="35"/>
                  </a:lnTo>
                  <a:lnTo>
                    <a:pt x="20" y="22"/>
                  </a:lnTo>
                  <a:lnTo>
                    <a:pt x="35" y="10"/>
                  </a:lnTo>
                  <a:lnTo>
                    <a:pt x="51" y="4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333"/>
            <p:cNvSpPr>
              <a:spLocks/>
            </p:cNvSpPr>
            <p:nvPr/>
          </p:nvSpPr>
          <p:spPr bwMode="auto">
            <a:xfrm>
              <a:off x="5427663" y="4295775"/>
              <a:ext cx="22225" cy="47625"/>
            </a:xfrm>
            <a:custGeom>
              <a:avLst/>
              <a:gdLst>
                <a:gd name="T0" fmla="*/ 70 w 140"/>
                <a:gd name="T1" fmla="*/ 0 h 297"/>
                <a:gd name="T2" fmla="*/ 89 w 140"/>
                <a:gd name="T3" fmla="*/ 3 h 297"/>
                <a:gd name="T4" fmla="*/ 105 w 140"/>
                <a:gd name="T5" fmla="*/ 10 h 297"/>
                <a:gd name="T6" fmla="*/ 119 w 140"/>
                <a:gd name="T7" fmla="*/ 21 h 297"/>
                <a:gd name="T8" fmla="*/ 131 w 140"/>
                <a:gd name="T9" fmla="*/ 35 h 297"/>
                <a:gd name="T10" fmla="*/ 137 w 140"/>
                <a:gd name="T11" fmla="*/ 52 h 297"/>
                <a:gd name="T12" fmla="*/ 140 w 140"/>
                <a:gd name="T13" fmla="*/ 70 h 297"/>
                <a:gd name="T14" fmla="*/ 140 w 140"/>
                <a:gd name="T15" fmla="*/ 226 h 297"/>
                <a:gd name="T16" fmla="*/ 137 w 140"/>
                <a:gd name="T17" fmla="*/ 245 h 297"/>
                <a:gd name="T18" fmla="*/ 131 w 140"/>
                <a:gd name="T19" fmla="*/ 262 h 297"/>
                <a:gd name="T20" fmla="*/ 119 w 140"/>
                <a:gd name="T21" fmla="*/ 277 h 297"/>
                <a:gd name="T22" fmla="*/ 105 w 140"/>
                <a:gd name="T23" fmla="*/ 287 h 297"/>
                <a:gd name="T24" fmla="*/ 89 w 140"/>
                <a:gd name="T25" fmla="*/ 294 h 297"/>
                <a:gd name="T26" fmla="*/ 70 w 140"/>
                <a:gd name="T27" fmla="*/ 297 h 297"/>
                <a:gd name="T28" fmla="*/ 51 w 140"/>
                <a:gd name="T29" fmla="*/ 294 h 297"/>
                <a:gd name="T30" fmla="*/ 34 w 140"/>
                <a:gd name="T31" fmla="*/ 287 h 297"/>
                <a:gd name="T32" fmla="*/ 20 w 140"/>
                <a:gd name="T33" fmla="*/ 277 h 297"/>
                <a:gd name="T34" fmla="*/ 10 w 140"/>
                <a:gd name="T35" fmla="*/ 262 h 297"/>
                <a:gd name="T36" fmla="*/ 2 w 140"/>
                <a:gd name="T37" fmla="*/ 245 h 297"/>
                <a:gd name="T38" fmla="*/ 0 w 140"/>
                <a:gd name="T39" fmla="*/ 226 h 297"/>
                <a:gd name="T40" fmla="*/ 0 w 140"/>
                <a:gd name="T41" fmla="*/ 70 h 297"/>
                <a:gd name="T42" fmla="*/ 2 w 140"/>
                <a:gd name="T43" fmla="*/ 52 h 297"/>
                <a:gd name="T44" fmla="*/ 10 w 140"/>
                <a:gd name="T45" fmla="*/ 35 h 297"/>
                <a:gd name="T46" fmla="*/ 20 w 140"/>
                <a:gd name="T47" fmla="*/ 21 h 297"/>
                <a:gd name="T48" fmla="*/ 34 w 140"/>
                <a:gd name="T49" fmla="*/ 10 h 297"/>
                <a:gd name="T50" fmla="*/ 51 w 140"/>
                <a:gd name="T51" fmla="*/ 3 h 297"/>
                <a:gd name="T52" fmla="*/ 70 w 140"/>
                <a:gd name="T53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7">
                  <a:moveTo>
                    <a:pt x="70" y="0"/>
                  </a:moveTo>
                  <a:lnTo>
                    <a:pt x="89" y="3"/>
                  </a:lnTo>
                  <a:lnTo>
                    <a:pt x="105" y="10"/>
                  </a:lnTo>
                  <a:lnTo>
                    <a:pt x="119" y="21"/>
                  </a:lnTo>
                  <a:lnTo>
                    <a:pt x="131" y="35"/>
                  </a:lnTo>
                  <a:lnTo>
                    <a:pt x="137" y="52"/>
                  </a:lnTo>
                  <a:lnTo>
                    <a:pt x="140" y="70"/>
                  </a:lnTo>
                  <a:lnTo>
                    <a:pt x="140" y="226"/>
                  </a:lnTo>
                  <a:lnTo>
                    <a:pt x="137" y="245"/>
                  </a:lnTo>
                  <a:lnTo>
                    <a:pt x="131" y="262"/>
                  </a:lnTo>
                  <a:lnTo>
                    <a:pt x="119" y="277"/>
                  </a:lnTo>
                  <a:lnTo>
                    <a:pt x="105" y="287"/>
                  </a:lnTo>
                  <a:lnTo>
                    <a:pt x="89" y="294"/>
                  </a:lnTo>
                  <a:lnTo>
                    <a:pt x="70" y="297"/>
                  </a:lnTo>
                  <a:lnTo>
                    <a:pt x="51" y="294"/>
                  </a:lnTo>
                  <a:lnTo>
                    <a:pt x="34" y="287"/>
                  </a:lnTo>
                  <a:lnTo>
                    <a:pt x="20" y="277"/>
                  </a:lnTo>
                  <a:lnTo>
                    <a:pt x="10" y="262"/>
                  </a:lnTo>
                  <a:lnTo>
                    <a:pt x="2" y="245"/>
                  </a:lnTo>
                  <a:lnTo>
                    <a:pt x="0" y="226"/>
                  </a:lnTo>
                  <a:lnTo>
                    <a:pt x="0" y="70"/>
                  </a:lnTo>
                  <a:lnTo>
                    <a:pt x="2" y="52"/>
                  </a:lnTo>
                  <a:lnTo>
                    <a:pt x="10" y="35"/>
                  </a:lnTo>
                  <a:lnTo>
                    <a:pt x="20" y="21"/>
                  </a:lnTo>
                  <a:lnTo>
                    <a:pt x="34" y="10"/>
                  </a:lnTo>
                  <a:lnTo>
                    <a:pt x="51" y="3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334"/>
            <p:cNvSpPr>
              <a:spLocks/>
            </p:cNvSpPr>
            <p:nvPr/>
          </p:nvSpPr>
          <p:spPr bwMode="auto">
            <a:xfrm>
              <a:off x="5487988" y="4295775"/>
              <a:ext cx="22225" cy="47625"/>
            </a:xfrm>
            <a:custGeom>
              <a:avLst/>
              <a:gdLst>
                <a:gd name="T0" fmla="*/ 71 w 141"/>
                <a:gd name="T1" fmla="*/ 0 h 297"/>
                <a:gd name="T2" fmla="*/ 89 w 141"/>
                <a:gd name="T3" fmla="*/ 3 h 297"/>
                <a:gd name="T4" fmla="*/ 106 w 141"/>
                <a:gd name="T5" fmla="*/ 10 h 297"/>
                <a:gd name="T6" fmla="*/ 121 w 141"/>
                <a:gd name="T7" fmla="*/ 21 h 297"/>
                <a:gd name="T8" fmla="*/ 131 w 141"/>
                <a:gd name="T9" fmla="*/ 35 h 297"/>
                <a:gd name="T10" fmla="*/ 139 w 141"/>
                <a:gd name="T11" fmla="*/ 52 h 297"/>
                <a:gd name="T12" fmla="*/ 141 w 141"/>
                <a:gd name="T13" fmla="*/ 70 h 297"/>
                <a:gd name="T14" fmla="*/ 141 w 141"/>
                <a:gd name="T15" fmla="*/ 226 h 297"/>
                <a:gd name="T16" fmla="*/ 139 w 141"/>
                <a:gd name="T17" fmla="*/ 245 h 297"/>
                <a:gd name="T18" fmla="*/ 131 w 141"/>
                <a:gd name="T19" fmla="*/ 262 h 297"/>
                <a:gd name="T20" fmla="*/ 121 w 141"/>
                <a:gd name="T21" fmla="*/ 277 h 297"/>
                <a:gd name="T22" fmla="*/ 106 w 141"/>
                <a:gd name="T23" fmla="*/ 287 h 297"/>
                <a:gd name="T24" fmla="*/ 89 w 141"/>
                <a:gd name="T25" fmla="*/ 294 h 297"/>
                <a:gd name="T26" fmla="*/ 71 w 141"/>
                <a:gd name="T27" fmla="*/ 297 h 297"/>
                <a:gd name="T28" fmla="*/ 52 w 141"/>
                <a:gd name="T29" fmla="*/ 294 h 297"/>
                <a:gd name="T30" fmla="*/ 35 w 141"/>
                <a:gd name="T31" fmla="*/ 287 h 297"/>
                <a:gd name="T32" fmla="*/ 21 w 141"/>
                <a:gd name="T33" fmla="*/ 277 h 297"/>
                <a:gd name="T34" fmla="*/ 10 w 141"/>
                <a:gd name="T35" fmla="*/ 262 h 297"/>
                <a:gd name="T36" fmla="*/ 3 w 141"/>
                <a:gd name="T37" fmla="*/ 245 h 297"/>
                <a:gd name="T38" fmla="*/ 0 w 141"/>
                <a:gd name="T39" fmla="*/ 226 h 297"/>
                <a:gd name="T40" fmla="*/ 0 w 141"/>
                <a:gd name="T41" fmla="*/ 70 h 297"/>
                <a:gd name="T42" fmla="*/ 3 w 141"/>
                <a:gd name="T43" fmla="*/ 52 h 297"/>
                <a:gd name="T44" fmla="*/ 10 w 141"/>
                <a:gd name="T45" fmla="*/ 35 h 297"/>
                <a:gd name="T46" fmla="*/ 21 w 141"/>
                <a:gd name="T47" fmla="*/ 21 h 297"/>
                <a:gd name="T48" fmla="*/ 35 w 141"/>
                <a:gd name="T49" fmla="*/ 10 h 297"/>
                <a:gd name="T50" fmla="*/ 52 w 141"/>
                <a:gd name="T51" fmla="*/ 3 h 297"/>
                <a:gd name="T52" fmla="*/ 71 w 141"/>
                <a:gd name="T53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1" h="297">
                  <a:moveTo>
                    <a:pt x="71" y="0"/>
                  </a:moveTo>
                  <a:lnTo>
                    <a:pt x="89" y="3"/>
                  </a:lnTo>
                  <a:lnTo>
                    <a:pt x="106" y="10"/>
                  </a:lnTo>
                  <a:lnTo>
                    <a:pt x="121" y="21"/>
                  </a:lnTo>
                  <a:lnTo>
                    <a:pt x="131" y="35"/>
                  </a:lnTo>
                  <a:lnTo>
                    <a:pt x="139" y="52"/>
                  </a:lnTo>
                  <a:lnTo>
                    <a:pt x="141" y="70"/>
                  </a:lnTo>
                  <a:lnTo>
                    <a:pt x="141" y="226"/>
                  </a:lnTo>
                  <a:lnTo>
                    <a:pt x="139" y="245"/>
                  </a:lnTo>
                  <a:lnTo>
                    <a:pt x="131" y="262"/>
                  </a:lnTo>
                  <a:lnTo>
                    <a:pt x="121" y="277"/>
                  </a:lnTo>
                  <a:lnTo>
                    <a:pt x="106" y="287"/>
                  </a:lnTo>
                  <a:lnTo>
                    <a:pt x="89" y="294"/>
                  </a:lnTo>
                  <a:lnTo>
                    <a:pt x="71" y="297"/>
                  </a:lnTo>
                  <a:lnTo>
                    <a:pt x="52" y="294"/>
                  </a:lnTo>
                  <a:lnTo>
                    <a:pt x="35" y="287"/>
                  </a:lnTo>
                  <a:lnTo>
                    <a:pt x="21" y="277"/>
                  </a:lnTo>
                  <a:lnTo>
                    <a:pt x="10" y="262"/>
                  </a:lnTo>
                  <a:lnTo>
                    <a:pt x="3" y="245"/>
                  </a:lnTo>
                  <a:lnTo>
                    <a:pt x="0" y="226"/>
                  </a:lnTo>
                  <a:lnTo>
                    <a:pt x="0" y="70"/>
                  </a:lnTo>
                  <a:lnTo>
                    <a:pt x="3" y="52"/>
                  </a:lnTo>
                  <a:lnTo>
                    <a:pt x="10" y="35"/>
                  </a:lnTo>
                  <a:lnTo>
                    <a:pt x="21" y="21"/>
                  </a:lnTo>
                  <a:lnTo>
                    <a:pt x="35" y="10"/>
                  </a:lnTo>
                  <a:lnTo>
                    <a:pt x="52" y="3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335"/>
            <p:cNvSpPr>
              <a:spLocks/>
            </p:cNvSpPr>
            <p:nvPr/>
          </p:nvSpPr>
          <p:spPr bwMode="auto">
            <a:xfrm>
              <a:off x="5548313" y="4295775"/>
              <a:ext cx="22225" cy="47625"/>
            </a:xfrm>
            <a:custGeom>
              <a:avLst/>
              <a:gdLst>
                <a:gd name="T0" fmla="*/ 69 w 140"/>
                <a:gd name="T1" fmla="*/ 0 h 297"/>
                <a:gd name="T2" fmla="*/ 88 w 140"/>
                <a:gd name="T3" fmla="*/ 3 h 297"/>
                <a:gd name="T4" fmla="*/ 105 w 140"/>
                <a:gd name="T5" fmla="*/ 10 h 297"/>
                <a:gd name="T6" fmla="*/ 119 w 140"/>
                <a:gd name="T7" fmla="*/ 21 h 297"/>
                <a:gd name="T8" fmla="*/ 131 w 140"/>
                <a:gd name="T9" fmla="*/ 35 h 297"/>
                <a:gd name="T10" fmla="*/ 137 w 140"/>
                <a:gd name="T11" fmla="*/ 52 h 297"/>
                <a:gd name="T12" fmla="*/ 140 w 140"/>
                <a:gd name="T13" fmla="*/ 70 h 297"/>
                <a:gd name="T14" fmla="*/ 140 w 140"/>
                <a:gd name="T15" fmla="*/ 226 h 297"/>
                <a:gd name="T16" fmla="*/ 137 w 140"/>
                <a:gd name="T17" fmla="*/ 245 h 297"/>
                <a:gd name="T18" fmla="*/ 131 w 140"/>
                <a:gd name="T19" fmla="*/ 262 h 297"/>
                <a:gd name="T20" fmla="*/ 119 w 140"/>
                <a:gd name="T21" fmla="*/ 277 h 297"/>
                <a:gd name="T22" fmla="*/ 105 w 140"/>
                <a:gd name="T23" fmla="*/ 287 h 297"/>
                <a:gd name="T24" fmla="*/ 88 w 140"/>
                <a:gd name="T25" fmla="*/ 294 h 297"/>
                <a:gd name="T26" fmla="*/ 69 w 140"/>
                <a:gd name="T27" fmla="*/ 297 h 297"/>
                <a:gd name="T28" fmla="*/ 52 w 140"/>
                <a:gd name="T29" fmla="*/ 294 h 297"/>
                <a:gd name="T30" fmla="*/ 35 w 140"/>
                <a:gd name="T31" fmla="*/ 287 h 297"/>
                <a:gd name="T32" fmla="*/ 20 w 140"/>
                <a:gd name="T33" fmla="*/ 277 h 297"/>
                <a:gd name="T34" fmla="*/ 9 w 140"/>
                <a:gd name="T35" fmla="*/ 262 h 297"/>
                <a:gd name="T36" fmla="*/ 2 w 140"/>
                <a:gd name="T37" fmla="*/ 245 h 297"/>
                <a:gd name="T38" fmla="*/ 0 w 140"/>
                <a:gd name="T39" fmla="*/ 226 h 297"/>
                <a:gd name="T40" fmla="*/ 0 w 140"/>
                <a:gd name="T41" fmla="*/ 70 h 297"/>
                <a:gd name="T42" fmla="*/ 2 w 140"/>
                <a:gd name="T43" fmla="*/ 52 h 297"/>
                <a:gd name="T44" fmla="*/ 9 w 140"/>
                <a:gd name="T45" fmla="*/ 35 h 297"/>
                <a:gd name="T46" fmla="*/ 20 w 140"/>
                <a:gd name="T47" fmla="*/ 21 h 297"/>
                <a:gd name="T48" fmla="*/ 35 w 140"/>
                <a:gd name="T49" fmla="*/ 10 h 297"/>
                <a:gd name="T50" fmla="*/ 50 w 140"/>
                <a:gd name="T51" fmla="*/ 3 h 297"/>
                <a:gd name="T52" fmla="*/ 69 w 140"/>
                <a:gd name="T53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7">
                  <a:moveTo>
                    <a:pt x="69" y="0"/>
                  </a:moveTo>
                  <a:lnTo>
                    <a:pt x="88" y="3"/>
                  </a:lnTo>
                  <a:lnTo>
                    <a:pt x="105" y="10"/>
                  </a:lnTo>
                  <a:lnTo>
                    <a:pt x="119" y="21"/>
                  </a:lnTo>
                  <a:lnTo>
                    <a:pt x="131" y="35"/>
                  </a:lnTo>
                  <a:lnTo>
                    <a:pt x="137" y="52"/>
                  </a:lnTo>
                  <a:lnTo>
                    <a:pt x="140" y="70"/>
                  </a:lnTo>
                  <a:lnTo>
                    <a:pt x="140" y="226"/>
                  </a:lnTo>
                  <a:lnTo>
                    <a:pt x="137" y="245"/>
                  </a:lnTo>
                  <a:lnTo>
                    <a:pt x="131" y="262"/>
                  </a:lnTo>
                  <a:lnTo>
                    <a:pt x="119" y="277"/>
                  </a:lnTo>
                  <a:lnTo>
                    <a:pt x="105" y="287"/>
                  </a:lnTo>
                  <a:lnTo>
                    <a:pt x="88" y="294"/>
                  </a:lnTo>
                  <a:lnTo>
                    <a:pt x="69" y="297"/>
                  </a:lnTo>
                  <a:lnTo>
                    <a:pt x="52" y="294"/>
                  </a:lnTo>
                  <a:lnTo>
                    <a:pt x="35" y="287"/>
                  </a:lnTo>
                  <a:lnTo>
                    <a:pt x="20" y="277"/>
                  </a:lnTo>
                  <a:lnTo>
                    <a:pt x="9" y="262"/>
                  </a:lnTo>
                  <a:lnTo>
                    <a:pt x="2" y="245"/>
                  </a:lnTo>
                  <a:lnTo>
                    <a:pt x="0" y="226"/>
                  </a:lnTo>
                  <a:lnTo>
                    <a:pt x="0" y="70"/>
                  </a:lnTo>
                  <a:lnTo>
                    <a:pt x="2" y="52"/>
                  </a:lnTo>
                  <a:lnTo>
                    <a:pt x="9" y="35"/>
                  </a:lnTo>
                  <a:lnTo>
                    <a:pt x="20" y="21"/>
                  </a:lnTo>
                  <a:lnTo>
                    <a:pt x="35" y="10"/>
                  </a:lnTo>
                  <a:lnTo>
                    <a:pt x="50" y="3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336"/>
            <p:cNvSpPr>
              <a:spLocks/>
            </p:cNvSpPr>
            <p:nvPr/>
          </p:nvSpPr>
          <p:spPr bwMode="auto">
            <a:xfrm>
              <a:off x="5608638" y="4295775"/>
              <a:ext cx="22225" cy="47625"/>
            </a:xfrm>
            <a:custGeom>
              <a:avLst/>
              <a:gdLst>
                <a:gd name="T0" fmla="*/ 71 w 140"/>
                <a:gd name="T1" fmla="*/ 0 h 297"/>
                <a:gd name="T2" fmla="*/ 89 w 140"/>
                <a:gd name="T3" fmla="*/ 3 h 297"/>
                <a:gd name="T4" fmla="*/ 106 w 140"/>
                <a:gd name="T5" fmla="*/ 10 h 297"/>
                <a:gd name="T6" fmla="*/ 120 w 140"/>
                <a:gd name="T7" fmla="*/ 21 h 297"/>
                <a:gd name="T8" fmla="*/ 131 w 140"/>
                <a:gd name="T9" fmla="*/ 35 h 297"/>
                <a:gd name="T10" fmla="*/ 138 w 140"/>
                <a:gd name="T11" fmla="*/ 52 h 297"/>
                <a:gd name="T12" fmla="*/ 140 w 140"/>
                <a:gd name="T13" fmla="*/ 70 h 297"/>
                <a:gd name="T14" fmla="*/ 140 w 140"/>
                <a:gd name="T15" fmla="*/ 226 h 297"/>
                <a:gd name="T16" fmla="*/ 138 w 140"/>
                <a:gd name="T17" fmla="*/ 245 h 297"/>
                <a:gd name="T18" fmla="*/ 131 w 140"/>
                <a:gd name="T19" fmla="*/ 262 h 297"/>
                <a:gd name="T20" fmla="*/ 120 w 140"/>
                <a:gd name="T21" fmla="*/ 277 h 297"/>
                <a:gd name="T22" fmla="*/ 106 w 140"/>
                <a:gd name="T23" fmla="*/ 287 h 297"/>
                <a:gd name="T24" fmla="*/ 89 w 140"/>
                <a:gd name="T25" fmla="*/ 294 h 297"/>
                <a:gd name="T26" fmla="*/ 71 w 140"/>
                <a:gd name="T27" fmla="*/ 297 h 297"/>
                <a:gd name="T28" fmla="*/ 52 w 140"/>
                <a:gd name="T29" fmla="*/ 294 h 297"/>
                <a:gd name="T30" fmla="*/ 35 w 140"/>
                <a:gd name="T31" fmla="*/ 287 h 297"/>
                <a:gd name="T32" fmla="*/ 21 w 140"/>
                <a:gd name="T33" fmla="*/ 277 h 297"/>
                <a:gd name="T34" fmla="*/ 10 w 140"/>
                <a:gd name="T35" fmla="*/ 262 h 297"/>
                <a:gd name="T36" fmla="*/ 2 w 140"/>
                <a:gd name="T37" fmla="*/ 245 h 297"/>
                <a:gd name="T38" fmla="*/ 0 w 140"/>
                <a:gd name="T39" fmla="*/ 226 h 297"/>
                <a:gd name="T40" fmla="*/ 0 w 140"/>
                <a:gd name="T41" fmla="*/ 70 h 297"/>
                <a:gd name="T42" fmla="*/ 2 w 140"/>
                <a:gd name="T43" fmla="*/ 52 h 297"/>
                <a:gd name="T44" fmla="*/ 10 w 140"/>
                <a:gd name="T45" fmla="*/ 35 h 297"/>
                <a:gd name="T46" fmla="*/ 21 w 140"/>
                <a:gd name="T47" fmla="*/ 21 h 297"/>
                <a:gd name="T48" fmla="*/ 35 w 140"/>
                <a:gd name="T49" fmla="*/ 10 h 297"/>
                <a:gd name="T50" fmla="*/ 52 w 140"/>
                <a:gd name="T51" fmla="*/ 3 h 297"/>
                <a:gd name="T52" fmla="*/ 71 w 140"/>
                <a:gd name="T53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7">
                  <a:moveTo>
                    <a:pt x="71" y="0"/>
                  </a:moveTo>
                  <a:lnTo>
                    <a:pt x="89" y="3"/>
                  </a:lnTo>
                  <a:lnTo>
                    <a:pt x="106" y="10"/>
                  </a:lnTo>
                  <a:lnTo>
                    <a:pt x="120" y="21"/>
                  </a:lnTo>
                  <a:lnTo>
                    <a:pt x="131" y="35"/>
                  </a:lnTo>
                  <a:lnTo>
                    <a:pt x="138" y="52"/>
                  </a:lnTo>
                  <a:lnTo>
                    <a:pt x="140" y="70"/>
                  </a:lnTo>
                  <a:lnTo>
                    <a:pt x="140" y="226"/>
                  </a:lnTo>
                  <a:lnTo>
                    <a:pt x="138" y="245"/>
                  </a:lnTo>
                  <a:lnTo>
                    <a:pt x="131" y="262"/>
                  </a:lnTo>
                  <a:lnTo>
                    <a:pt x="120" y="277"/>
                  </a:lnTo>
                  <a:lnTo>
                    <a:pt x="106" y="287"/>
                  </a:lnTo>
                  <a:lnTo>
                    <a:pt x="89" y="294"/>
                  </a:lnTo>
                  <a:lnTo>
                    <a:pt x="71" y="297"/>
                  </a:lnTo>
                  <a:lnTo>
                    <a:pt x="52" y="294"/>
                  </a:lnTo>
                  <a:lnTo>
                    <a:pt x="35" y="287"/>
                  </a:lnTo>
                  <a:lnTo>
                    <a:pt x="21" y="277"/>
                  </a:lnTo>
                  <a:lnTo>
                    <a:pt x="10" y="262"/>
                  </a:lnTo>
                  <a:lnTo>
                    <a:pt x="2" y="245"/>
                  </a:lnTo>
                  <a:lnTo>
                    <a:pt x="0" y="226"/>
                  </a:lnTo>
                  <a:lnTo>
                    <a:pt x="0" y="70"/>
                  </a:lnTo>
                  <a:lnTo>
                    <a:pt x="2" y="52"/>
                  </a:lnTo>
                  <a:lnTo>
                    <a:pt x="10" y="35"/>
                  </a:lnTo>
                  <a:lnTo>
                    <a:pt x="21" y="21"/>
                  </a:lnTo>
                  <a:lnTo>
                    <a:pt x="35" y="10"/>
                  </a:lnTo>
                  <a:lnTo>
                    <a:pt x="52" y="3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337"/>
            <p:cNvSpPr>
              <a:spLocks/>
            </p:cNvSpPr>
            <p:nvPr/>
          </p:nvSpPr>
          <p:spPr bwMode="auto">
            <a:xfrm>
              <a:off x="5427663" y="4373563"/>
              <a:ext cx="22225" cy="46037"/>
            </a:xfrm>
            <a:custGeom>
              <a:avLst/>
              <a:gdLst>
                <a:gd name="T0" fmla="*/ 70 w 140"/>
                <a:gd name="T1" fmla="*/ 0 h 296"/>
                <a:gd name="T2" fmla="*/ 89 w 140"/>
                <a:gd name="T3" fmla="*/ 2 h 296"/>
                <a:gd name="T4" fmla="*/ 105 w 140"/>
                <a:gd name="T5" fmla="*/ 9 h 296"/>
                <a:gd name="T6" fmla="*/ 119 w 140"/>
                <a:gd name="T7" fmla="*/ 20 h 296"/>
                <a:gd name="T8" fmla="*/ 131 w 140"/>
                <a:gd name="T9" fmla="*/ 34 h 296"/>
                <a:gd name="T10" fmla="*/ 137 w 140"/>
                <a:gd name="T11" fmla="*/ 50 h 296"/>
                <a:gd name="T12" fmla="*/ 140 w 140"/>
                <a:gd name="T13" fmla="*/ 69 h 296"/>
                <a:gd name="T14" fmla="*/ 140 w 140"/>
                <a:gd name="T15" fmla="*/ 226 h 296"/>
                <a:gd name="T16" fmla="*/ 137 w 140"/>
                <a:gd name="T17" fmla="*/ 245 h 296"/>
                <a:gd name="T18" fmla="*/ 131 w 140"/>
                <a:gd name="T19" fmla="*/ 262 h 296"/>
                <a:gd name="T20" fmla="*/ 119 w 140"/>
                <a:gd name="T21" fmla="*/ 276 h 296"/>
                <a:gd name="T22" fmla="*/ 105 w 140"/>
                <a:gd name="T23" fmla="*/ 286 h 296"/>
                <a:gd name="T24" fmla="*/ 89 w 140"/>
                <a:gd name="T25" fmla="*/ 294 h 296"/>
                <a:gd name="T26" fmla="*/ 70 w 140"/>
                <a:gd name="T27" fmla="*/ 296 h 296"/>
                <a:gd name="T28" fmla="*/ 51 w 140"/>
                <a:gd name="T29" fmla="*/ 294 h 296"/>
                <a:gd name="T30" fmla="*/ 34 w 140"/>
                <a:gd name="T31" fmla="*/ 286 h 296"/>
                <a:gd name="T32" fmla="*/ 20 w 140"/>
                <a:gd name="T33" fmla="*/ 276 h 296"/>
                <a:gd name="T34" fmla="*/ 10 w 140"/>
                <a:gd name="T35" fmla="*/ 261 h 296"/>
                <a:gd name="T36" fmla="*/ 2 w 140"/>
                <a:gd name="T37" fmla="*/ 244 h 296"/>
                <a:gd name="T38" fmla="*/ 0 w 140"/>
                <a:gd name="T39" fmla="*/ 226 h 296"/>
                <a:gd name="T40" fmla="*/ 0 w 140"/>
                <a:gd name="T41" fmla="*/ 69 h 296"/>
                <a:gd name="T42" fmla="*/ 2 w 140"/>
                <a:gd name="T43" fmla="*/ 50 h 296"/>
                <a:gd name="T44" fmla="*/ 10 w 140"/>
                <a:gd name="T45" fmla="*/ 34 h 296"/>
                <a:gd name="T46" fmla="*/ 20 w 140"/>
                <a:gd name="T47" fmla="*/ 20 h 296"/>
                <a:gd name="T48" fmla="*/ 34 w 140"/>
                <a:gd name="T49" fmla="*/ 9 h 296"/>
                <a:gd name="T50" fmla="*/ 51 w 140"/>
                <a:gd name="T51" fmla="*/ 2 h 296"/>
                <a:gd name="T52" fmla="*/ 70 w 140"/>
                <a:gd name="T53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6">
                  <a:moveTo>
                    <a:pt x="70" y="0"/>
                  </a:moveTo>
                  <a:lnTo>
                    <a:pt x="89" y="2"/>
                  </a:lnTo>
                  <a:lnTo>
                    <a:pt x="105" y="9"/>
                  </a:lnTo>
                  <a:lnTo>
                    <a:pt x="119" y="20"/>
                  </a:lnTo>
                  <a:lnTo>
                    <a:pt x="131" y="34"/>
                  </a:lnTo>
                  <a:lnTo>
                    <a:pt x="137" y="50"/>
                  </a:lnTo>
                  <a:lnTo>
                    <a:pt x="140" y="69"/>
                  </a:lnTo>
                  <a:lnTo>
                    <a:pt x="140" y="226"/>
                  </a:lnTo>
                  <a:lnTo>
                    <a:pt x="137" y="245"/>
                  </a:lnTo>
                  <a:lnTo>
                    <a:pt x="131" y="262"/>
                  </a:lnTo>
                  <a:lnTo>
                    <a:pt x="119" y="276"/>
                  </a:lnTo>
                  <a:lnTo>
                    <a:pt x="105" y="286"/>
                  </a:lnTo>
                  <a:lnTo>
                    <a:pt x="89" y="294"/>
                  </a:lnTo>
                  <a:lnTo>
                    <a:pt x="70" y="296"/>
                  </a:lnTo>
                  <a:lnTo>
                    <a:pt x="51" y="294"/>
                  </a:lnTo>
                  <a:lnTo>
                    <a:pt x="34" y="286"/>
                  </a:lnTo>
                  <a:lnTo>
                    <a:pt x="20" y="276"/>
                  </a:lnTo>
                  <a:lnTo>
                    <a:pt x="10" y="261"/>
                  </a:lnTo>
                  <a:lnTo>
                    <a:pt x="2" y="244"/>
                  </a:lnTo>
                  <a:lnTo>
                    <a:pt x="0" y="226"/>
                  </a:lnTo>
                  <a:lnTo>
                    <a:pt x="0" y="69"/>
                  </a:lnTo>
                  <a:lnTo>
                    <a:pt x="2" y="50"/>
                  </a:lnTo>
                  <a:lnTo>
                    <a:pt x="10" y="34"/>
                  </a:lnTo>
                  <a:lnTo>
                    <a:pt x="20" y="20"/>
                  </a:lnTo>
                  <a:lnTo>
                    <a:pt x="34" y="9"/>
                  </a:lnTo>
                  <a:lnTo>
                    <a:pt x="51" y="2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338"/>
            <p:cNvSpPr>
              <a:spLocks/>
            </p:cNvSpPr>
            <p:nvPr/>
          </p:nvSpPr>
          <p:spPr bwMode="auto">
            <a:xfrm>
              <a:off x="5487988" y="4373563"/>
              <a:ext cx="22225" cy="46037"/>
            </a:xfrm>
            <a:custGeom>
              <a:avLst/>
              <a:gdLst>
                <a:gd name="T0" fmla="*/ 71 w 141"/>
                <a:gd name="T1" fmla="*/ 0 h 296"/>
                <a:gd name="T2" fmla="*/ 89 w 141"/>
                <a:gd name="T3" fmla="*/ 2 h 296"/>
                <a:gd name="T4" fmla="*/ 106 w 141"/>
                <a:gd name="T5" fmla="*/ 9 h 296"/>
                <a:gd name="T6" fmla="*/ 121 w 141"/>
                <a:gd name="T7" fmla="*/ 20 h 296"/>
                <a:gd name="T8" fmla="*/ 131 w 141"/>
                <a:gd name="T9" fmla="*/ 34 h 296"/>
                <a:gd name="T10" fmla="*/ 139 w 141"/>
                <a:gd name="T11" fmla="*/ 50 h 296"/>
                <a:gd name="T12" fmla="*/ 141 w 141"/>
                <a:gd name="T13" fmla="*/ 69 h 296"/>
                <a:gd name="T14" fmla="*/ 141 w 141"/>
                <a:gd name="T15" fmla="*/ 226 h 296"/>
                <a:gd name="T16" fmla="*/ 139 w 141"/>
                <a:gd name="T17" fmla="*/ 245 h 296"/>
                <a:gd name="T18" fmla="*/ 131 w 141"/>
                <a:gd name="T19" fmla="*/ 262 h 296"/>
                <a:gd name="T20" fmla="*/ 121 w 141"/>
                <a:gd name="T21" fmla="*/ 276 h 296"/>
                <a:gd name="T22" fmla="*/ 106 w 141"/>
                <a:gd name="T23" fmla="*/ 286 h 296"/>
                <a:gd name="T24" fmla="*/ 89 w 141"/>
                <a:gd name="T25" fmla="*/ 294 h 296"/>
                <a:gd name="T26" fmla="*/ 71 w 141"/>
                <a:gd name="T27" fmla="*/ 296 h 296"/>
                <a:gd name="T28" fmla="*/ 52 w 141"/>
                <a:gd name="T29" fmla="*/ 294 h 296"/>
                <a:gd name="T30" fmla="*/ 35 w 141"/>
                <a:gd name="T31" fmla="*/ 286 h 296"/>
                <a:gd name="T32" fmla="*/ 21 w 141"/>
                <a:gd name="T33" fmla="*/ 276 h 296"/>
                <a:gd name="T34" fmla="*/ 10 w 141"/>
                <a:gd name="T35" fmla="*/ 261 h 296"/>
                <a:gd name="T36" fmla="*/ 3 w 141"/>
                <a:gd name="T37" fmla="*/ 244 h 296"/>
                <a:gd name="T38" fmla="*/ 0 w 141"/>
                <a:gd name="T39" fmla="*/ 226 h 296"/>
                <a:gd name="T40" fmla="*/ 0 w 141"/>
                <a:gd name="T41" fmla="*/ 69 h 296"/>
                <a:gd name="T42" fmla="*/ 3 w 141"/>
                <a:gd name="T43" fmla="*/ 50 h 296"/>
                <a:gd name="T44" fmla="*/ 10 w 141"/>
                <a:gd name="T45" fmla="*/ 34 h 296"/>
                <a:gd name="T46" fmla="*/ 21 w 141"/>
                <a:gd name="T47" fmla="*/ 20 h 296"/>
                <a:gd name="T48" fmla="*/ 35 w 141"/>
                <a:gd name="T49" fmla="*/ 9 h 296"/>
                <a:gd name="T50" fmla="*/ 52 w 141"/>
                <a:gd name="T51" fmla="*/ 2 h 296"/>
                <a:gd name="T52" fmla="*/ 71 w 141"/>
                <a:gd name="T53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1" h="296">
                  <a:moveTo>
                    <a:pt x="71" y="0"/>
                  </a:moveTo>
                  <a:lnTo>
                    <a:pt x="89" y="2"/>
                  </a:lnTo>
                  <a:lnTo>
                    <a:pt x="106" y="9"/>
                  </a:lnTo>
                  <a:lnTo>
                    <a:pt x="121" y="20"/>
                  </a:lnTo>
                  <a:lnTo>
                    <a:pt x="131" y="34"/>
                  </a:lnTo>
                  <a:lnTo>
                    <a:pt x="139" y="50"/>
                  </a:lnTo>
                  <a:lnTo>
                    <a:pt x="141" y="69"/>
                  </a:lnTo>
                  <a:lnTo>
                    <a:pt x="141" y="226"/>
                  </a:lnTo>
                  <a:lnTo>
                    <a:pt x="139" y="245"/>
                  </a:lnTo>
                  <a:lnTo>
                    <a:pt x="131" y="262"/>
                  </a:lnTo>
                  <a:lnTo>
                    <a:pt x="121" y="276"/>
                  </a:lnTo>
                  <a:lnTo>
                    <a:pt x="106" y="286"/>
                  </a:lnTo>
                  <a:lnTo>
                    <a:pt x="89" y="294"/>
                  </a:lnTo>
                  <a:lnTo>
                    <a:pt x="71" y="296"/>
                  </a:lnTo>
                  <a:lnTo>
                    <a:pt x="52" y="294"/>
                  </a:lnTo>
                  <a:lnTo>
                    <a:pt x="35" y="286"/>
                  </a:lnTo>
                  <a:lnTo>
                    <a:pt x="21" y="276"/>
                  </a:lnTo>
                  <a:lnTo>
                    <a:pt x="10" y="261"/>
                  </a:lnTo>
                  <a:lnTo>
                    <a:pt x="3" y="244"/>
                  </a:lnTo>
                  <a:lnTo>
                    <a:pt x="0" y="226"/>
                  </a:lnTo>
                  <a:lnTo>
                    <a:pt x="0" y="69"/>
                  </a:lnTo>
                  <a:lnTo>
                    <a:pt x="3" y="50"/>
                  </a:lnTo>
                  <a:lnTo>
                    <a:pt x="10" y="34"/>
                  </a:lnTo>
                  <a:lnTo>
                    <a:pt x="21" y="20"/>
                  </a:lnTo>
                  <a:lnTo>
                    <a:pt x="35" y="9"/>
                  </a:lnTo>
                  <a:lnTo>
                    <a:pt x="52" y="2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339"/>
            <p:cNvSpPr>
              <a:spLocks/>
            </p:cNvSpPr>
            <p:nvPr/>
          </p:nvSpPr>
          <p:spPr bwMode="auto">
            <a:xfrm>
              <a:off x="5548313" y="4373563"/>
              <a:ext cx="22225" cy="46037"/>
            </a:xfrm>
            <a:custGeom>
              <a:avLst/>
              <a:gdLst>
                <a:gd name="T0" fmla="*/ 69 w 140"/>
                <a:gd name="T1" fmla="*/ 0 h 296"/>
                <a:gd name="T2" fmla="*/ 88 w 140"/>
                <a:gd name="T3" fmla="*/ 2 h 296"/>
                <a:gd name="T4" fmla="*/ 105 w 140"/>
                <a:gd name="T5" fmla="*/ 9 h 296"/>
                <a:gd name="T6" fmla="*/ 119 w 140"/>
                <a:gd name="T7" fmla="*/ 20 h 296"/>
                <a:gd name="T8" fmla="*/ 131 w 140"/>
                <a:gd name="T9" fmla="*/ 34 h 296"/>
                <a:gd name="T10" fmla="*/ 137 w 140"/>
                <a:gd name="T11" fmla="*/ 50 h 296"/>
                <a:gd name="T12" fmla="*/ 140 w 140"/>
                <a:gd name="T13" fmla="*/ 69 h 296"/>
                <a:gd name="T14" fmla="*/ 140 w 140"/>
                <a:gd name="T15" fmla="*/ 226 h 296"/>
                <a:gd name="T16" fmla="*/ 137 w 140"/>
                <a:gd name="T17" fmla="*/ 245 h 296"/>
                <a:gd name="T18" fmla="*/ 131 w 140"/>
                <a:gd name="T19" fmla="*/ 262 h 296"/>
                <a:gd name="T20" fmla="*/ 119 w 140"/>
                <a:gd name="T21" fmla="*/ 276 h 296"/>
                <a:gd name="T22" fmla="*/ 105 w 140"/>
                <a:gd name="T23" fmla="*/ 286 h 296"/>
                <a:gd name="T24" fmla="*/ 88 w 140"/>
                <a:gd name="T25" fmla="*/ 294 h 296"/>
                <a:gd name="T26" fmla="*/ 69 w 140"/>
                <a:gd name="T27" fmla="*/ 296 h 296"/>
                <a:gd name="T28" fmla="*/ 52 w 140"/>
                <a:gd name="T29" fmla="*/ 294 h 296"/>
                <a:gd name="T30" fmla="*/ 35 w 140"/>
                <a:gd name="T31" fmla="*/ 286 h 296"/>
                <a:gd name="T32" fmla="*/ 20 w 140"/>
                <a:gd name="T33" fmla="*/ 276 h 296"/>
                <a:gd name="T34" fmla="*/ 9 w 140"/>
                <a:gd name="T35" fmla="*/ 261 h 296"/>
                <a:gd name="T36" fmla="*/ 2 w 140"/>
                <a:gd name="T37" fmla="*/ 244 h 296"/>
                <a:gd name="T38" fmla="*/ 0 w 140"/>
                <a:gd name="T39" fmla="*/ 226 h 296"/>
                <a:gd name="T40" fmla="*/ 0 w 140"/>
                <a:gd name="T41" fmla="*/ 69 h 296"/>
                <a:gd name="T42" fmla="*/ 2 w 140"/>
                <a:gd name="T43" fmla="*/ 50 h 296"/>
                <a:gd name="T44" fmla="*/ 9 w 140"/>
                <a:gd name="T45" fmla="*/ 34 h 296"/>
                <a:gd name="T46" fmla="*/ 20 w 140"/>
                <a:gd name="T47" fmla="*/ 20 h 296"/>
                <a:gd name="T48" fmla="*/ 35 w 140"/>
                <a:gd name="T49" fmla="*/ 9 h 296"/>
                <a:gd name="T50" fmla="*/ 50 w 140"/>
                <a:gd name="T51" fmla="*/ 2 h 296"/>
                <a:gd name="T52" fmla="*/ 69 w 140"/>
                <a:gd name="T53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6">
                  <a:moveTo>
                    <a:pt x="69" y="0"/>
                  </a:moveTo>
                  <a:lnTo>
                    <a:pt x="88" y="2"/>
                  </a:lnTo>
                  <a:lnTo>
                    <a:pt x="105" y="9"/>
                  </a:lnTo>
                  <a:lnTo>
                    <a:pt x="119" y="20"/>
                  </a:lnTo>
                  <a:lnTo>
                    <a:pt x="131" y="34"/>
                  </a:lnTo>
                  <a:lnTo>
                    <a:pt x="137" y="50"/>
                  </a:lnTo>
                  <a:lnTo>
                    <a:pt x="140" y="69"/>
                  </a:lnTo>
                  <a:lnTo>
                    <a:pt x="140" y="226"/>
                  </a:lnTo>
                  <a:lnTo>
                    <a:pt x="137" y="245"/>
                  </a:lnTo>
                  <a:lnTo>
                    <a:pt x="131" y="262"/>
                  </a:lnTo>
                  <a:lnTo>
                    <a:pt x="119" y="276"/>
                  </a:lnTo>
                  <a:lnTo>
                    <a:pt x="105" y="286"/>
                  </a:lnTo>
                  <a:lnTo>
                    <a:pt x="88" y="294"/>
                  </a:lnTo>
                  <a:lnTo>
                    <a:pt x="69" y="296"/>
                  </a:lnTo>
                  <a:lnTo>
                    <a:pt x="52" y="294"/>
                  </a:lnTo>
                  <a:lnTo>
                    <a:pt x="35" y="286"/>
                  </a:lnTo>
                  <a:lnTo>
                    <a:pt x="20" y="276"/>
                  </a:lnTo>
                  <a:lnTo>
                    <a:pt x="9" y="261"/>
                  </a:lnTo>
                  <a:lnTo>
                    <a:pt x="2" y="244"/>
                  </a:lnTo>
                  <a:lnTo>
                    <a:pt x="0" y="226"/>
                  </a:lnTo>
                  <a:lnTo>
                    <a:pt x="0" y="69"/>
                  </a:lnTo>
                  <a:lnTo>
                    <a:pt x="2" y="50"/>
                  </a:lnTo>
                  <a:lnTo>
                    <a:pt x="9" y="34"/>
                  </a:lnTo>
                  <a:lnTo>
                    <a:pt x="20" y="20"/>
                  </a:lnTo>
                  <a:lnTo>
                    <a:pt x="35" y="9"/>
                  </a:lnTo>
                  <a:lnTo>
                    <a:pt x="50" y="2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340"/>
            <p:cNvSpPr>
              <a:spLocks/>
            </p:cNvSpPr>
            <p:nvPr/>
          </p:nvSpPr>
          <p:spPr bwMode="auto">
            <a:xfrm>
              <a:off x="5608638" y="4373563"/>
              <a:ext cx="22225" cy="46037"/>
            </a:xfrm>
            <a:custGeom>
              <a:avLst/>
              <a:gdLst>
                <a:gd name="T0" fmla="*/ 71 w 140"/>
                <a:gd name="T1" fmla="*/ 0 h 296"/>
                <a:gd name="T2" fmla="*/ 89 w 140"/>
                <a:gd name="T3" fmla="*/ 2 h 296"/>
                <a:gd name="T4" fmla="*/ 106 w 140"/>
                <a:gd name="T5" fmla="*/ 9 h 296"/>
                <a:gd name="T6" fmla="*/ 120 w 140"/>
                <a:gd name="T7" fmla="*/ 20 h 296"/>
                <a:gd name="T8" fmla="*/ 131 w 140"/>
                <a:gd name="T9" fmla="*/ 34 h 296"/>
                <a:gd name="T10" fmla="*/ 138 w 140"/>
                <a:gd name="T11" fmla="*/ 50 h 296"/>
                <a:gd name="T12" fmla="*/ 140 w 140"/>
                <a:gd name="T13" fmla="*/ 69 h 296"/>
                <a:gd name="T14" fmla="*/ 140 w 140"/>
                <a:gd name="T15" fmla="*/ 226 h 296"/>
                <a:gd name="T16" fmla="*/ 138 w 140"/>
                <a:gd name="T17" fmla="*/ 245 h 296"/>
                <a:gd name="T18" fmla="*/ 131 w 140"/>
                <a:gd name="T19" fmla="*/ 262 h 296"/>
                <a:gd name="T20" fmla="*/ 120 w 140"/>
                <a:gd name="T21" fmla="*/ 276 h 296"/>
                <a:gd name="T22" fmla="*/ 106 w 140"/>
                <a:gd name="T23" fmla="*/ 286 h 296"/>
                <a:gd name="T24" fmla="*/ 89 w 140"/>
                <a:gd name="T25" fmla="*/ 294 h 296"/>
                <a:gd name="T26" fmla="*/ 71 w 140"/>
                <a:gd name="T27" fmla="*/ 296 h 296"/>
                <a:gd name="T28" fmla="*/ 52 w 140"/>
                <a:gd name="T29" fmla="*/ 294 h 296"/>
                <a:gd name="T30" fmla="*/ 35 w 140"/>
                <a:gd name="T31" fmla="*/ 286 h 296"/>
                <a:gd name="T32" fmla="*/ 21 w 140"/>
                <a:gd name="T33" fmla="*/ 276 h 296"/>
                <a:gd name="T34" fmla="*/ 10 w 140"/>
                <a:gd name="T35" fmla="*/ 261 h 296"/>
                <a:gd name="T36" fmla="*/ 2 w 140"/>
                <a:gd name="T37" fmla="*/ 244 h 296"/>
                <a:gd name="T38" fmla="*/ 0 w 140"/>
                <a:gd name="T39" fmla="*/ 226 h 296"/>
                <a:gd name="T40" fmla="*/ 0 w 140"/>
                <a:gd name="T41" fmla="*/ 69 h 296"/>
                <a:gd name="T42" fmla="*/ 2 w 140"/>
                <a:gd name="T43" fmla="*/ 50 h 296"/>
                <a:gd name="T44" fmla="*/ 10 w 140"/>
                <a:gd name="T45" fmla="*/ 34 h 296"/>
                <a:gd name="T46" fmla="*/ 21 w 140"/>
                <a:gd name="T47" fmla="*/ 20 h 296"/>
                <a:gd name="T48" fmla="*/ 35 w 140"/>
                <a:gd name="T49" fmla="*/ 9 h 296"/>
                <a:gd name="T50" fmla="*/ 52 w 140"/>
                <a:gd name="T51" fmla="*/ 2 h 296"/>
                <a:gd name="T52" fmla="*/ 71 w 140"/>
                <a:gd name="T53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6">
                  <a:moveTo>
                    <a:pt x="71" y="0"/>
                  </a:moveTo>
                  <a:lnTo>
                    <a:pt x="89" y="2"/>
                  </a:lnTo>
                  <a:lnTo>
                    <a:pt x="106" y="9"/>
                  </a:lnTo>
                  <a:lnTo>
                    <a:pt x="120" y="20"/>
                  </a:lnTo>
                  <a:lnTo>
                    <a:pt x="131" y="34"/>
                  </a:lnTo>
                  <a:lnTo>
                    <a:pt x="138" y="50"/>
                  </a:lnTo>
                  <a:lnTo>
                    <a:pt x="140" y="69"/>
                  </a:lnTo>
                  <a:lnTo>
                    <a:pt x="140" y="226"/>
                  </a:lnTo>
                  <a:lnTo>
                    <a:pt x="138" y="245"/>
                  </a:lnTo>
                  <a:lnTo>
                    <a:pt x="131" y="262"/>
                  </a:lnTo>
                  <a:lnTo>
                    <a:pt x="120" y="276"/>
                  </a:lnTo>
                  <a:lnTo>
                    <a:pt x="106" y="286"/>
                  </a:lnTo>
                  <a:lnTo>
                    <a:pt x="89" y="294"/>
                  </a:lnTo>
                  <a:lnTo>
                    <a:pt x="71" y="296"/>
                  </a:lnTo>
                  <a:lnTo>
                    <a:pt x="52" y="294"/>
                  </a:lnTo>
                  <a:lnTo>
                    <a:pt x="35" y="286"/>
                  </a:lnTo>
                  <a:lnTo>
                    <a:pt x="21" y="276"/>
                  </a:lnTo>
                  <a:lnTo>
                    <a:pt x="10" y="261"/>
                  </a:lnTo>
                  <a:lnTo>
                    <a:pt x="2" y="244"/>
                  </a:lnTo>
                  <a:lnTo>
                    <a:pt x="0" y="226"/>
                  </a:lnTo>
                  <a:lnTo>
                    <a:pt x="0" y="69"/>
                  </a:lnTo>
                  <a:lnTo>
                    <a:pt x="2" y="50"/>
                  </a:lnTo>
                  <a:lnTo>
                    <a:pt x="10" y="34"/>
                  </a:lnTo>
                  <a:lnTo>
                    <a:pt x="21" y="20"/>
                  </a:lnTo>
                  <a:lnTo>
                    <a:pt x="35" y="9"/>
                  </a:lnTo>
                  <a:lnTo>
                    <a:pt x="52" y="2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341"/>
            <p:cNvSpPr>
              <a:spLocks/>
            </p:cNvSpPr>
            <p:nvPr/>
          </p:nvSpPr>
          <p:spPr bwMode="auto">
            <a:xfrm>
              <a:off x="5427663" y="4449763"/>
              <a:ext cx="22225" cy="46037"/>
            </a:xfrm>
            <a:custGeom>
              <a:avLst/>
              <a:gdLst>
                <a:gd name="T0" fmla="*/ 70 w 140"/>
                <a:gd name="T1" fmla="*/ 0 h 296"/>
                <a:gd name="T2" fmla="*/ 89 w 140"/>
                <a:gd name="T3" fmla="*/ 2 h 296"/>
                <a:gd name="T4" fmla="*/ 105 w 140"/>
                <a:gd name="T5" fmla="*/ 9 h 296"/>
                <a:gd name="T6" fmla="*/ 119 w 140"/>
                <a:gd name="T7" fmla="*/ 20 h 296"/>
                <a:gd name="T8" fmla="*/ 131 w 140"/>
                <a:gd name="T9" fmla="*/ 35 h 296"/>
                <a:gd name="T10" fmla="*/ 137 w 140"/>
                <a:gd name="T11" fmla="*/ 52 h 296"/>
                <a:gd name="T12" fmla="*/ 140 w 140"/>
                <a:gd name="T13" fmla="*/ 71 h 296"/>
                <a:gd name="T14" fmla="*/ 140 w 140"/>
                <a:gd name="T15" fmla="*/ 226 h 296"/>
                <a:gd name="T16" fmla="*/ 137 w 140"/>
                <a:gd name="T17" fmla="*/ 244 h 296"/>
                <a:gd name="T18" fmla="*/ 131 w 140"/>
                <a:gd name="T19" fmla="*/ 261 h 296"/>
                <a:gd name="T20" fmla="*/ 119 w 140"/>
                <a:gd name="T21" fmla="*/ 276 h 296"/>
                <a:gd name="T22" fmla="*/ 105 w 140"/>
                <a:gd name="T23" fmla="*/ 286 h 296"/>
                <a:gd name="T24" fmla="*/ 89 w 140"/>
                <a:gd name="T25" fmla="*/ 294 h 296"/>
                <a:gd name="T26" fmla="*/ 70 w 140"/>
                <a:gd name="T27" fmla="*/ 296 h 296"/>
                <a:gd name="T28" fmla="*/ 51 w 140"/>
                <a:gd name="T29" fmla="*/ 294 h 296"/>
                <a:gd name="T30" fmla="*/ 34 w 140"/>
                <a:gd name="T31" fmla="*/ 286 h 296"/>
                <a:gd name="T32" fmla="*/ 20 w 140"/>
                <a:gd name="T33" fmla="*/ 276 h 296"/>
                <a:gd name="T34" fmla="*/ 10 w 140"/>
                <a:gd name="T35" fmla="*/ 261 h 296"/>
                <a:gd name="T36" fmla="*/ 2 w 140"/>
                <a:gd name="T37" fmla="*/ 244 h 296"/>
                <a:gd name="T38" fmla="*/ 0 w 140"/>
                <a:gd name="T39" fmla="*/ 226 h 296"/>
                <a:gd name="T40" fmla="*/ 0 w 140"/>
                <a:gd name="T41" fmla="*/ 71 h 296"/>
                <a:gd name="T42" fmla="*/ 2 w 140"/>
                <a:gd name="T43" fmla="*/ 52 h 296"/>
                <a:gd name="T44" fmla="*/ 10 w 140"/>
                <a:gd name="T45" fmla="*/ 35 h 296"/>
                <a:gd name="T46" fmla="*/ 20 w 140"/>
                <a:gd name="T47" fmla="*/ 20 h 296"/>
                <a:gd name="T48" fmla="*/ 34 w 140"/>
                <a:gd name="T49" fmla="*/ 9 h 296"/>
                <a:gd name="T50" fmla="*/ 51 w 140"/>
                <a:gd name="T51" fmla="*/ 2 h 296"/>
                <a:gd name="T52" fmla="*/ 70 w 140"/>
                <a:gd name="T53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6">
                  <a:moveTo>
                    <a:pt x="70" y="0"/>
                  </a:moveTo>
                  <a:lnTo>
                    <a:pt x="89" y="2"/>
                  </a:lnTo>
                  <a:lnTo>
                    <a:pt x="105" y="9"/>
                  </a:lnTo>
                  <a:lnTo>
                    <a:pt x="119" y="20"/>
                  </a:lnTo>
                  <a:lnTo>
                    <a:pt x="131" y="35"/>
                  </a:lnTo>
                  <a:lnTo>
                    <a:pt x="137" y="52"/>
                  </a:lnTo>
                  <a:lnTo>
                    <a:pt x="140" y="71"/>
                  </a:lnTo>
                  <a:lnTo>
                    <a:pt x="140" y="226"/>
                  </a:lnTo>
                  <a:lnTo>
                    <a:pt x="137" y="244"/>
                  </a:lnTo>
                  <a:lnTo>
                    <a:pt x="131" y="261"/>
                  </a:lnTo>
                  <a:lnTo>
                    <a:pt x="119" y="276"/>
                  </a:lnTo>
                  <a:lnTo>
                    <a:pt x="105" y="286"/>
                  </a:lnTo>
                  <a:lnTo>
                    <a:pt x="89" y="294"/>
                  </a:lnTo>
                  <a:lnTo>
                    <a:pt x="70" y="296"/>
                  </a:lnTo>
                  <a:lnTo>
                    <a:pt x="51" y="294"/>
                  </a:lnTo>
                  <a:lnTo>
                    <a:pt x="34" y="286"/>
                  </a:lnTo>
                  <a:lnTo>
                    <a:pt x="20" y="276"/>
                  </a:lnTo>
                  <a:lnTo>
                    <a:pt x="10" y="261"/>
                  </a:lnTo>
                  <a:lnTo>
                    <a:pt x="2" y="244"/>
                  </a:lnTo>
                  <a:lnTo>
                    <a:pt x="0" y="226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10" y="35"/>
                  </a:lnTo>
                  <a:lnTo>
                    <a:pt x="20" y="20"/>
                  </a:lnTo>
                  <a:lnTo>
                    <a:pt x="34" y="9"/>
                  </a:lnTo>
                  <a:lnTo>
                    <a:pt x="51" y="2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342"/>
            <p:cNvSpPr>
              <a:spLocks/>
            </p:cNvSpPr>
            <p:nvPr/>
          </p:nvSpPr>
          <p:spPr bwMode="auto">
            <a:xfrm>
              <a:off x="5487988" y="4449763"/>
              <a:ext cx="22225" cy="46037"/>
            </a:xfrm>
            <a:custGeom>
              <a:avLst/>
              <a:gdLst>
                <a:gd name="T0" fmla="*/ 71 w 141"/>
                <a:gd name="T1" fmla="*/ 0 h 296"/>
                <a:gd name="T2" fmla="*/ 89 w 141"/>
                <a:gd name="T3" fmla="*/ 2 h 296"/>
                <a:gd name="T4" fmla="*/ 106 w 141"/>
                <a:gd name="T5" fmla="*/ 9 h 296"/>
                <a:gd name="T6" fmla="*/ 121 w 141"/>
                <a:gd name="T7" fmla="*/ 20 h 296"/>
                <a:gd name="T8" fmla="*/ 131 w 141"/>
                <a:gd name="T9" fmla="*/ 35 h 296"/>
                <a:gd name="T10" fmla="*/ 139 w 141"/>
                <a:gd name="T11" fmla="*/ 52 h 296"/>
                <a:gd name="T12" fmla="*/ 141 w 141"/>
                <a:gd name="T13" fmla="*/ 71 h 296"/>
                <a:gd name="T14" fmla="*/ 141 w 141"/>
                <a:gd name="T15" fmla="*/ 226 h 296"/>
                <a:gd name="T16" fmla="*/ 139 w 141"/>
                <a:gd name="T17" fmla="*/ 244 h 296"/>
                <a:gd name="T18" fmla="*/ 131 w 141"/>
                <a:gd name="T19" fmla="*/ 261 h 296"/>
                <a:gd name="T20" fmla="*/ 121 w 141"/>
                <a:gd name="T21" fmla="*/ 276 h 296"/>
                <a:gd name="T22" fmla="*/ 106 w 141"/>
                <a:gd name="T23" fmla="*/ 286 h 296"/>
                <a:gd name="T24" fmla="*/ 89 w 141"/>
                <a:gd name="T25" fmla="*/ 294 h 296"/>
                <a:gd name="T26" fmla="*/ 71 w 141"/>
                <a:gd name="T27" fmla="*/ 296 h 296"/>
                <a:gd name="T28" fmla="*/ 52 w 141"/>
                <a:gd name="T29" fmla="*/ 294 h 296"/>
                <a:gd name="T30" fmla="*/ 35 w 141"/>
                <a:gd name="T31" fmla="*/ 286 h 296"/>
                <a:gd name="T32" fmla="*/ 21 w 141"/>
                <a:gd name="T33" fmla="*/ 276 h 296"/>
                <a:gd name="T34" fmla="*/ 10 w 141"/>
                <a:gd name="T35" fmla="*/ 261 h 296"/>
                <a:gd name="T36" fmla="*/ 3 w 141"/>
                <a:gd name="T37" fmla="*/ 244 h 296"/>
                <a:gd name="T38" fmla="*/ 0 w 141"/>
                <a:gd name="T39" fmla="*/ 226 h 296"/>
                <a:gd name="T40" fmla="*/ 0 w 141"/>
                <a:gd name="T41" fmla="*/ 71 h 296"/>
                <a:gd name="T42" fmla="*/ 3 w 141"/>
                <a:gd name="T43" fmla="*/ 52 h 296"/>
                <a:gd name="T44" fmla="*/ 10 w 141"/>
                <a:gd name="T45" fmla="*/ 35 h 296"/>
                <a:gd name="T46" fmla="*/ 21 w 141"/>
                <a:gd name="T47" fmla="*/ 20 h 296"/>
                <a:gd name="T48" fmla="*/ 35 w 141"/>
                <a:gd name="T49" fmla="*/ 9 h 296"/>
                <a:gd name="T50" fmla="*/ 52 w 141"/>
                <a:gd name="T51" fmla="*/ 2 h 296"/>
                <a:gd name="T52" fmla="*/ 71 w 141"/>
                <a:gd name="T53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1" h="296">
                  <a:moveTo>
                    <a:pt x="71" y="0"/>
                  </a:moveTo>
                  <a:lnTo>
                    <a:pt x="89" y="2"/>
                  </a:lnTo>
                  <a:lnTo>
                    <a:pt x="106" y="9"/>
                  </a:lnTo>
                  <a:lnTo>
                    <a:pt x="121" y="20"/>
                  </a:lnTo>
                  <a:lnTo>
                    <a:pt x="131" y="35"/>
                  </a:lnTo>
                  <a:lnTo>
                    <a:pt x="139" y="52"/>
                  </a:lnTo>
                  <a:lnTo>
                    <a:pt x="141" y="71"/>
                  </a:lnTo>
                  <a:lnTo>
                    <a:pt x="141" y="226"/>
                  </a:lnTo>
                  <a:lnTo>
                    <a:pt x="139" y="244"/>
                  </a:lnTo>
                  <a:lnTo>
                    <a:pt x="131" y="261"/>
                  </a:lnTo>
                  <a:lnTo>
                    <a:pt x="121" y="276"/>
                  </a:lnTo>
                  <a:lnTo>
                    <a:pt x="106" y="286"/>
                  </a:lnTo>
                  <a:lnTo>
                    <a:pt x="89" y="294"/>
                  </a:lnTo>
                  <a:lnTo>
                    <a:pt x="71" y="296"/>
                  </a:lnTo>
                  <a:lnTo>
                    <a:pt x="52" y="294"/>
                  </a:lnTo>
                  <a:lnTo>
                    <a:pt x="35" y="286"/>
                  </a:lnTo>
                  <a:lnTo>
                    <a:pt x="21" y="276"/>
                  </a:lnTo>
                  <a:lnTo>
                    <a:pt x="10" y="261"/>
                  </a:lnTo>
                  <a:lnTo>
                    <a:pt x="3" y="244"/>
                  </a:lnTo>
                  <a:lnTo>
                    <a:pt x="0" y="226"/>
                  </a:lnTo>
                  <a:lnTo>
                    <a:pt x="0" y="71"/>
                  </a:lnTo>
                  <a:lnTo>
                    <a:pt x="3" y="52"/>
                  </a:lnTo>
                  <a:lnTo>
                    <a:pt x="10" y="35"/>
                  </a:lnTo>
                  <a:lnTo>
                    <a:pt x="21" y="20"/>
                  </a:lnTo>
                  <a:lnTo>
                    <a:pt x="35" y="9"/>
                  </a:lnTo>
                  <a:lnTo>
                    <a:pt x="52" y="2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343"/>
            <p:cNvSpPr>
              <a:spLocks/>
            </p:cNvSpPr>
            <p:nvPr/>
          </p:nvSpPr>
          <p:spPr bwMode="auto">
            <a:xfrm>
              <a:off x="5548313" y="4449763"/>
              <a:ext cx="22225" cy="46037"/>
            </a:xfrm>
            <a:custGeom>
              <a:avLst/>
              <a:gdLst>
                <a:gd name="T0" fmla="*/ 69 w 140"/>
                <a:gd name="T1" fmla="*/ 0 h 296"/>
                <a:gd name="T2" fmla="*/ 88 w 140"/>
                <a:gd name="T3" fmla="*/ 2 h 296"/>
                <a:gd name="T4" fmla="*/ 105 w 140"/>
                <a:gd name="T5" fmla="*/ 9 h 296"/>
                <a:gd name="T6" fmla="*/ 119 w 140"/>
                <a:gd name="T7" fmla="*/ 20 h 296"/>
                <a:gd name="T8" fmla="*/ 131 w 140"/>
                <a:gd name="T9" fmla="*/ 35 h 296"/>
                <a:gd name="T10" fmla="*/ 137 w 140"/>
                <a:gd name="T11" fmla="*/ 52 h 296"/>
                <a:gd name="T12" fmla="*/ 140 w 140"/>
                <a:gd name="T13" fmla="*/ 71 h 296"/>
                <a:gd name="T14" fmla="*/ 140 w 140"/>
                <a:gd name="T15" fmla="*/ 226 h 296"/>
                <a:gd name="T16" fmla="*/ 137 w 140"/>
                <a:gd name="T17" fmla="*/ 244 h 296"/>
                <a:gd name="T18" fmla="*/ 131 w 140"/>
                <a:gd name="T19" fmla="*/ 261 h 296"/>
                <a:gd name="T20" fmla="*/ 119 w 140"/>
                <a:gd name="T21" fmla="*/ 276 h 296"/>
                <a:gd name="T22" fmla="*/ 105 w 140"/>
                <a:gd name="T23" fmla="*/ 286 h 296"/>
                <a:gd name="T24" fmla="*/ 88 w 140"/>
                <a:gd name="T25" fmla="*/ 294 h 296"/>
                <a:gd name="T26" fmla="*/ 69 w 140"/>
                <a:gd name="T27" fmla="*/ 296 h 296"/>
                <a:gd name="T28" fmla="*/ 52 w 140"/>
                <a:gd name="T29" fmla="*/ 294 h 296"/>
                <a:gd name="T30" fmla="*/ 35 w 140"/>
                <a:gd name="T31" fmla="*/ 286 h 296"/>
                <a:gd name="T32" fmla="*/ 20 w 140"/>
                <a:gd name="T33" fmla="*/ 276 h 296"/>
                <a:gd name="T34" fmla="*/ 9 w 140"/>
                <a:gd name="T35" fmla="*/ 261 h 296"/>
                <a:gd name="T36" fmla="*/ 2 w 140"/>
                <a:gd name="T37" fmla="*/ 244 h 296"/>
                <a:gd name="T38" fmla="*/ 0 w 140"/>
                <a:gd name="T39" fmla="*/ 226 h 296"/>
                <a:gd name="T40" fmla="*/ 0 w 140"/>
                <a:gd name="T41" fmla="*/ 71 h 296"/>
                <a:gd name="T42" fmla="*/ 2 w 140"/>
                <a:gd name="T43" fmla="*/ 52 h 296"/>
                <a:gd name="T44" fmla="*/ 9 w 140"/>
                <a:gd name="T45" fmla="*/ 35 h 296"/>
                <a:gd name="T46" fmla="*/ 20 w 140"/>
                <a:gd name="T47" fmla="*/ 20 h 296"/>
                <a:gd name="T48" fmla="*/ 35 w 140"/>
                <a:gd name="T49" fmla="*/ 9 h 296"/>
                <a:gd name="T50" fmla="*/ 50 w 140"/>
                <a:gd name="T51" fmla="*/ 2 h 296"/>
                <a:gd name="T52" fmla="*/ 69 w 140"/>
                <a:gd name="T53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6">
                  <a:moveTo>
                    <a:pt x="69" y="0"/>
                  </a:moveTo>
                  <a:lnTo>
                    <a:pt x="88" y="2"/>
                  </a:lnTo>
                  <a:lnTo>
                    <a:pt x="105" y="9"/>
                  </a:lnTo>
                  <a:lnTo>
                    <a:pt x="119" y="20"/>
                  </a:lnTo>
                  <a:lnTo>
                    <a:pt x="131" y="35"/>
                  </a:lnTo>
                  <a:lnTo>
                    <a:pt x="137" y="52"/>
                  </a:lnTo>
                  <a:lnTo>
                    <a:pt x="140" y="71"/>
                  </a:lnTo>
                  <a:lnTo>
                    <a:pt x="140" y="226"/>
                  </a:lnTo>
                  <a:lnTo>
                    <a:pt x="137" y="244"/>
                  </a:lnTo>
                  <a:lnTo>
                    <a:pt x="131" y="261"/>
                  </a:lnTo>
                  <a:lnTo>
                    <a:pt x="119" y="276"/>
                  </a:lnTo>
                  <a:lnTo>
                    <a:pt x="105" y="286"/>
                  </a:lnTo>
                  <a:lnTo>
                    <a:pt x="88" y="294"/>
                  </a:lnTo>
                  <a:lnTo>
                    <a:pt x="69" y="296"/>
                  </a:lnTo>
                  <a:lnTo>
                    <a:pt x="52" y="294"/>
                  </a:lnTo>
                  <a:lnTo>
                    <a:pt x="35" y="286"/>
                  </a:lnTo>
                  <a:lnTo>
                    <a:pt x="20" y="276"/>
                  </a:lnTo>
                  <a:lnTo>
                    <a:pt x="9" y="261"/>
                  </a:lnTo>
                  <a:lnTo>
                    <a:pt x="2" y="244"/>
                  </a:lnTo>
                  <a:lnTo>
                    <a:pt x="0" y="226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9" y="35"/>
                  </a:lnTo>
                  <a:lnTo>
                    <a:pt x="20" y="20"/>
                  </a:lnTo>
                  <a:lnTo>
                    <a:pt x="35" y="9"/>
                  </a:lnTo>
                  <a:lnTo>
                    <a:pt x="50" y="2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344"/>
            <p:cNvSpPr>
              <a:spLocks/>
            </p:cNvSpPr>
            <p:nvPr/>
          </p:nvSpPr>
          <p:spPr bwMode="auto">
            <a:xfrm>
              <a:off x="5608638" y="4449763"/>
              <a:ext cx="22225" cy="46037"/>
            </a:xfrm>
            <a:custGeom>
              <a:avLst/>
              <a:gdLst>
                <a:gd name="T0" fmla="*/ 71 w 140"/>
                <a:gd name="T1" fmla="*/ 0 h 296"/>
                <a:gd name="T2" fmla="*/ 89 w 140"/>
                <a:gd name="T3" fmla="*/ 2 h 296"/>
                <a:gd name="T4" fmla="*/ 106 w 140"/>
                <a:gd name="T5" fmla="*/ 9 h 296"/>
                <a:gd name="T6" fmla="*/ 120 w 140"/>
                <a:gd name="T7" fmla="*/ 20 h 296"/>
                <a:gd name="T8" fmla="*/ 131 w 140"/>
                <a:gd name="T9" fmla="*/ 35 h 296"/>
                <a:gd name="T10" fmla="*/ 138 w 140"/>
                <a:gd name="T11" fmla="*/ 52 h 296"/>
                <a:gd name="T12" fmla="*/ 140 w 140"/>
                <a:gd name="T13" fmla="*/ 71 h 296"/>
                <a:gd name="T14" fmla="*/ 140 w 140"/>
                <a:gd name="T15" fmla="*/ 226 h 296"/>
                <a:gd name="T16" fmla="*/ 138 w 140"/>
                <a:gd name="T17" fmla="*/ 244 h 296"/>
                <a:gd name="T18" fmla="*/ 131 w 140"/>
                <a:gd name="T19" fmla="*/ 261 h 296"/>
                <a:gd name="T20" fmla="*/ 120 w 140"/>
                <a:gd name="T21" fmla="*/ 276 h 296"/>
                <a:gd name="T22" fmla="*/ 106 w 140"/>
                <a:gd name="T23" fmla="*/ 286 h 296"/>
                <a:gd name="T24" fmla="*/ 89 w 140"/>
                <a:gd name="T25" fmla="*/ 294 h 296"/>
                <a:gd name="T26" fmla="*/ 71 w 140"/>
                <a:gd name="T27" fmla="*/ 296 h 296"/>
                <a:gd name="T28" fmla="*/ 52 w 140"/>
                <a:gd name="T29" fmla="*/ 294 h 296"/>
                <a:gd name="T30" fmla="*/ 35 w 140"/>
                <a:gd name="T31" fmla="*/ 286 h 296"/>
                <a:gd name="T32" fmla="*/ 21 w 140"/>
                <a:gd name="T33" fmla="*/ 276 h 296"/>
                <a:gd name="T34" fmla="*/ 10 w 140"/>
                <a:gd name="T35" fmla="*/ 261 h 296"/>
                <a:gd name="T36" fmla="*/ 2 w 140"/>
                <a:gd name="T37" fmla="*/ 244 h 296"/>
                <a:gd name="T38" fmla="*/ 0 w 140"/>
                <a:gd name="T39" fmla="*/ 226 h 296"/>
                <a:gd name="T40" fmla="*/ 0 w 140"/>
                <a:gd name="T41" fmla="*/ 71 h 296"/>
                <a:gd name="T42" fmla="*/ 2 w 140"/>
                <a:gd name="T43" fmla="*/ 52 h 296"/>
                <a:gd name="T44" fmla="*/ 10 w 140"/>
                <a:gd name="T45" fmla="*/ 35 h 296"/>
                <a:gd name="T46" fmla="*/ 21 w 140"/>
                <a:gd name="T47" fmla="*/ 20 h 296"/>
                <a:gd name="T48" fmla="*/ 35 w 140"/>
                <a:gd name="T49" fmla="*/ 9 h 296"/>
                <a:gd name="T50" fmla="*/ 52 w 140"/>
                <a:gd name="T51" fmla="*/ 2 h 296"/>
                <a:gd name="T52" fmla="*/ 71 w 140"/>
                <a:gd name="T53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6">
                  <a:moveTo>
                    <a:pt x="71" y="0"/>
                  </a:moveTo>
                  <a:lnTo>
                    <a:pt x="89" y="2"/>
                  </a:lnTo>
                  <a:lnTo>
                    <a:pt x="106" y="9"/>
                  </a:lnTo>
                  <a:lnTo>
                    <a:pt x="120" y="20"/>
                  </a:lnTo>
                  <a:lnTo>
                    <a:pt x="131" y="35"/>
                  </a:lnTo>
                  <a:lnTo>
                    <a:pt x="138" y="52"/>
                  </a:lnTo>
                  <a:lnTo>
                    <a:pt x="140" y="71"/>
                  </a:lnTo>
                  <a:lnTo>
                    <a:pt x="140" y="226"/>
                  </a:lnTo>
                  <a:lnTo>
                    <a:pt x="138" y="244"/>
                  </a:lnTo>
                  <a:lnTo>
                    <a:pt x="131" y="261"/>
                  </a:lnTo>
                  <a:lnTo>
                    <a:pt x="120" y="276"/>
                  </a:lnTo>
                  <a:lnTo>
                    <a:pt x="106" y="286"/>
                  </a:lnTo>
                  <a:lnTo>
                    <a:pt x="89" y="294"/>
                  </a:lnTo>
                  <a:lnTo>
                    <a:pt x="71" y="296"/>
                  </a:lnTo>
                  <a:lnTo>
                    <a:pt x="52" y="294"/>
                  </a:lnTo>
                  <a:lnTo>
                    <a:pt x="35" y="286"/>
                  </a:lnTo>
                  <a:lnTo>
                    <a:pt x="21" y="276"/>
                  </a:lnTo>
                  <a:lnTo>
                    <a:pt x="10" y="261"/>
                  </a:lnTo>
                  <a:lnTo>
                    <a:pt x="2" y="244"/>
                  </a:lnTo>
                  <a:lnTo>
                    <a:pt x="0" y="226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10" y="35"/>
                  </a:lnTo>
                  <a:lnTo>
                    <a:pt x="21" y="20"/>
                  </a:lnTo>
                  <a:lnTo>
                    <a:pt x="35" y="9"/>
                  </a:lnTo>
                  <a:lnTo>
                    <a:pt x="52" y="2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345"/>
            <p:cNvSpPr>
              <a:spLocks/>
            </p:cNvSpPr>
            <p:nvPr/>
          </p:nvSpPr>
          <p:spPr bwMode="auto">
            <a:xfrm>
              <a:off x="5427663" y="4525963"/>
              <a:ext cx="22225" cy="47625"/>
            </a:xfrm>
            <a:custGeom>
              <a:avLst/>
              <a:gdLst>
                <a:gd name="T0" fmla="*/ 70 w 140"/>
                <a:gd name="T1" fmla="*/ 0 h 297"/>
                <a:gd name="T2" fmla="*/ 89 w 140"/>
                <a:gd name="T3" fmla="*/ 3 h 297"/>
                <a:gd name="T4" fmla="*/ 105 w 140"/>
                <a:gd name="T5" fmla="*/ 11 h 297"/>
                <a:gd name="T6" fmla="*/ 119 w 140"/>
                <a:gd name="T7" fmla="*/ 21 h 297"/>
                <a:gd name="T8" fmla="*/ 131 w 140"/>
                <a:gd name="T9" fmla="*/ 35 h 297"/>
                <a:gd name="T10" fmla="*/ 137 w 140"/>
                <a:gd name="T11" fmla="*/ 52 h 297"/>
                <a:gd name="T12" fmla="*/ 140 w 140"/>
                <a:gd name="T13" fmla="*/ 71 h 297"/>
                <a:gd name="T14" fmla="*/ 140 w 140"/>
                <a:gd name="T15" fmla="*/ 226 h 297"/>
                <a:gd name="T16" fmla="*/ 137 w 140"/>
                <a:gd name="T17" fmla="*/ 245 h 297"/>
                <a:gd name="T18" fmla="*/ 131 w 140"/>
                <a:gd name="T19" fmla="*/ 262 h 297"/>
                <a:gd name="T20" fmla="*/ 119 w 140"/>
                <a:gd name="T21" fmla="*/ 276 h 297"/>
                <a:gd name="T22" fmla="*/ 105 w 140"/>
                <a:gd name="T23" fmla="*/ 288 h 297"/>
                <a:gd name="T24" fmla="*/ 89 w 140"/>
                <a:gd name="T25" fmla="*/ 294 h 297"/>
                <a:gd name="T26" fmla="*/ 70 w 140"/>
                <a:gd name="T27" fmla="*/ 297 h 297"/>
                <a:gd name="T28" fmla="*/ 51 w 140"/>
                <a:gd name="T29" fmla="*/ 294 h 297"/>
                <a:gd name="T30" fmla="*/ 34 w 140"/>
                <a:gd name="T31" fmla="*/ 287 h 297"/>
                <a:gd name="T32" fmla="*/ 20 w 140"/>
                <a:gd name="T33" fmla="*/ 276 h 297"/>
                <a:gd name="T34" fmla="*/ 10 w 140"/>
                <a:gd name="T35" fmla="*/ 261 h 297"/>
                <a:gd name="T36" fmla="*/ 2 w 140"/>
                <a:gd name="T37" fmla="*/ 245 h 297"/>
                <a:gd name="T38" fmla="*/ 0 w 140"/>
                <a:gd name="T39" fmla="*/ 226 h 297"/>
                <a:gd name="T40" fmla="*/ 0 w 140"/>
                <a:gd name="T41" fmla="*/ 71 h 297"/>
                <a:gd name="T42" fmla="*/ 2 w 140"/>
                <a:gd name="T43" fmla="*/ 52 h 297"/>
                <a:gd name="T44" fmla="*/ 10 w 140"/>
                <a:gd name="T45" fmla="*/ 35 h 297"/>
                <a:gd name="T46" fmla="*/ 20 w 140"/>
                <a:gd name="T47" fmla="*/ 21 h 297"/>
                <a:gd name="T48" fmla="*/ 34 w 140"/>
                <a:gd name="T49" fmla="*/ 11 h 297"/>
                <a:gd name="T50" fmla="*/ 51 w 140"/>
                <a:gd name="T51" fmla="*/ 3 h 297"/>
                <a:gd name="T52" fmla="*/ 70 w 140"/>
                <a:gd name="T53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7">
                  <a:moveTo>
                    <a:pt x="70" y="0"/>
                  </a:moveTo>
                  <a:lnTo>
                    <a:pt x="89" y="3"/>
                  </a:lnTo>
                  <a:lnTo>
                    <a:pt x="105" y="11"/>
                  </a:lnTo>
                  <a:lnTo>
                    <a:pt x="119" y="21"/>
                  </a:lnTo>
                  <a:lnTo>
                    <a:pt x="131" y="35"/>
                  </a:lnTo>
                  <a:lnTo>
                    <a:pt x="137" y="52"/>
                  </a:lnTo>
                  <a:lnTo>
                    <a:pt x="140" y="71"/>
                  </a:lnTo>
                  <a:lnTo>
                    <a:pt x="140" y="226"/>
                  </a:lnTo>
                  <a:lnTo>
                    <a:pt x="137" y="245"/>
                  </a:lnTo>
                  <a:lnTo>
                    <a:pt x="131" y="262"/>
                  </a:lnTo>
                  <a:lnTo>
                    <a:pt x="119" y="276"/>
                  </a:lnTo>
                  <a:lnTo>
                    <a:pt x="105" y="288"/>
                  </a:lnTo>
                  <a:lnTo>
                    <a:pt x="89" y="294"/>
                  </a:lnTo>
                  <a:lnTo>
                    <a:pt x="70" y="297"/>
                  </a:lnTo>
                  <a:lnTo>
                    <a:pt x="51" y="294"/>
                  </a:lnTo>
                  <a:lnTo>
                    <a:pt x="34" y="287"/>
                  </a:lnTo>
                  <a:lnTo>
                    <a:pt x="20" y="276"/>
                  </a:lnTo>
                  <a:lnTo>
                    <a:pt x="10" y="261"/>
                  </a:lnTo>
                  <a:lnTo>
                    <a:pt x="2" y="245"/>
                  </a:lnTo>
                  <a:lnTo>
                    <a:pt x="0" y="226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10" y="35"/>
                  </a:lnTo>
                  <a:lnTo>
                    <a:pt x="20" y="21"/>
                  </a:lnTo>
                  <a:lnTo>
                    <a:pt x="34" y="11"/>
                  </a:lnTo>
                  <a:lnTo>
                    <a:pt x="51" y="3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346"/>
            <p:cNvSpPr>
              <a:spLocks/>
            </p:cNvSpPr>
            <p:nvPr/>
          </p:nvSpPr>
          <p:spPr bwMode="auto">
            <a:xfrm>
              <a:off x="5487988" y="4525963"/>
              <a:ext cx="22225" cy="47625"/>
            </a:xfrm>
            <a:custGeom>
              <a:avLst/>
              <a:gdLst>
                <a:gd name="T0" fmla="*/ 71 w 141"/>
                <a:gd name="T1" fmla="*/ 0 h 297"/>
                <a:gd name="T2" fmla="*/ 89 w 141"/>
                <a:gd name="T3" fmla="*/ 3 h 297"/>
                <a:gd name="T4" fmla="*/ 106 w 141"/>
                <a:gd name="T5" fmla="*/ 11 h 297"/>
                <a:gd name="T6" fmla="*/ 121 w 141"/>
                <a:gd name="T7" fmla="*/ 21 h 297"/>
                <a:gd name="T8" fmla="*/ 131 w 141"/>
                <a:gd name="T9" fmla="*/ 35 h 297"/>
                <a:gd name="T10" fmla="*/ 139 w 141"/>
                <a:gd name="T11" fmla="*/ 52 h 297"/>
                <a:gd name="T12" fmla="*/ 141 w 141"/>
                <a:gd name="T13" fmla="*/ 71 h 297"/>
                <a:gd name="T14" fmla="*/ 141 w 141"/>
                <a:gd name="T15" fmla="*/ 226 h 297"/>
                <a:gd name="T16" fmla="*/ 139 w 141"/>
                <a:gd name="T17" fmla="*/ 245 h 297"/>
                <a:gd name="T18" fmla="*/ 131 w 141"/>
                <a:gd name="T19" fmla="*/ 262 h 297"/>
                <a:gd name="T20" fmla="*/ 121 w 141"/>
                <a:gd name="T21" fmla="*/ 276 h 297"/>
                <a:gd name="T22" fmla="*/ 106 w 141"/>
                <a:gd name="T23" fmla="*/ 288 h 297"/>
                <a:gd name="T24" fmla="*/ 89 w 141"/>
                <a:gd name="T25" fmla="*/ 294 h 297"/>
                <a:gd name="T26" fmla="*/ 71 w 141"/>
                <a:gd name="T27" fmla="*/ 297 h 297"/>
                <a:gd name="T28" fmla="*/ 52 w 141"/>
                <a:gd name="T29" fmla="*/ 294 h 297"/>
                <a:gd name="T30" fmla="*/ 35 w 141"/>
                <a:gd name="T31" fmla="*/ 287 h 297"/>
                <a:gd name="T32" fmla="*/ 21 w 141"/>
                <a:gd name="T33" fmla="*/ 276 h 297"/>
                <a:gd name="T34" fmla="*/ 10 w 141"/>
                <a:gd name="T35" fmla="*/ 261 h 297"/>
                <a:gd name="T36" fmla="*/ 3 w 141"/>
                <a:gd name="T37" fmla="*/ 245 h 297"/>
                <a:gd name="T38" fmla="*/ 0 w 141"/>
                <a:gd name="T39" fmla="*/ 226 h 297"/>
                <a:gd name="T40" fmla="*/ 0 w 141"/>
                <a:gd name="T41" fmla="*/ 71 h 297"/>
                <a:gd name="T42" fmla="*/ 3 w 141"/>
                <a:gd name="T43" fmla="*/ 52 h 297"/>
                <a:gd name="T44" fmla="*/ 10 w 141"/>
                <a:gd name="T45" fmla="*/ 35 h 297"/>
                <a:gd name="T46" fmla="*/ 21 w 141"/>
                <a:gd name="T47" fmla="*/ 21 h 297"/>
                <a:gd name="T48" fmla="*/ 35 w 141"/>
                <a:gd name="T49" fmla="*/ 11 h 297"/>
                <a:gd name="T50" fmla="*/ 52 w 141"/>
                <a:gd name="T51" fmla="*/ 3 h 297"/>
                <a:gd name="T52" fmla="*/ 71 w 141"/>
                <a:gd name="T53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1" h="297">
                  <a:moveTo>
                    <a:pt x="71" y="0"/>
                  </a:moveTo>
                  <a:lnTo>
                    <a:pt x="89" y="3"/>
                  </a:lnTo>
                  <a:lnTo>
                    <a:pt x="106" y="11"/>
                  </a:lnTo>
                  <a:lnTo>
                    <a:pt x="121" y="21"/>
                  </a:lnTo>
                  <a:lnTo>
                    <a:pt x="131" y="35"/>
                  </a:lnTo>
                  <a:lnTo>
                    <a:pt x="139" y="52"/>
                  </a:lnTo>
                  <a:lnTo>
                    <a:pt x="141" y="71"/>
                  </a:lnTo>
                  <a:lnTo>
                    <a:pt x="141" y="226"/>
                  </a:lnTo>
                  <a:lnTo>
                    <a:pt x="139" y="245"/>
                  </a:lnTo>
                  <a:lnTo>
                    <a:pt x="131" y="262"/>
                  </a:lnTo>
                  <a:lnTo>
                    <a:pt x="121" y="276"/>
                  </a:lnTo>
                  <a:lnTo>
                    <a:pt x="106" y="288"/>
                  </a:lnTo>
                  <a:lnTo>
                    <a:pt x="89" y="294"/>
                  </a:lnTo>
                  <a:lnTo>
                    <a:pt x="71" y="297"/>
                  </a:lnTo>
                  <a:lnTo>
                    <a:pt x="52" y="294"/>
                  </a:lnTo>
                  <a:lnTo>
                    <a:pt x="35" y="287"/>
                  </a:lnTo>
                  <a:lnTo>
                    <a:pt x="21" y="276"/>
                  </a:lnTo>
                  <a:lnTo>
                    <a:pt x="10" y="261"/>
                  </a:lnTo>
                  <a:lnTo>
                    <a:pt x="3" y="245"/>
                  </a:lnTo>
                  <a:lnTo>
                    <a:pt x="0" y="226"/>
                  </a:lnTo>
                  <a:lnTo>
                    <a:pt x="0" y="71"/>
                  </a:lnTo>
                  <a:lnTo>
                    <a:pt x="3" y="52"/>
                  </a:lnTo>
                  <a:lnTo>
                    <a:pt x="10" y="35"/>
                  </a:lnTo>
                  <a:lnTo>
                    <a:pt x="21" y="21"/>
                  </a:lnTo>
                  <a:lnTo>
                    <a:pt x="35" y="11"/>
                  </a:lnTo>
                  <a:lnTo>
                    <a:pt x="52" y="3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47"/>
            <p:cNvSpPr>
              <a:spLocks/>
            </p:cNvSpPr>
            <p:nvPr/>
          </p:nvSpPr>
          <p:spPr bwMode="auto">
            <a:xfrm>
              <a:off x="5548313" y="4525963"/>
              <a:ext cx="22225" cy="47625"/>
            </a:xfrm>
            <a:custGeom>
              <a:avLst/>
              <a:gdLst>
                <a:gd name="T0" fmla="*/ 69 w 140"/>
                <a:gd name="T1" fmla="*/ 0 h 297"/>
                <a:gd name="T2" fmla="*/ 88 w 140"/>
                <a:gd name="T3" fmla="*/ 3 h 297"/>
                <a:gd name="T4" fmla="*/ 105 w 140"/>
                <a:gd name="T5" fmla="*/ 11 h 297"/>
                <a:gd name="T6" fmla="*/ 119 w 140"/>
                <a:gd name="T7" fmla="*/ 21 h 297"/>
                <a:gd name="T8" fmla="*/ 131 w 140"/>
                <a:gd name="T9" fmla="*/ 35 h 297"/>
                <a:gd name="T10" fmla="*/ 137 w 140"/>
                <a:gd name="T11" fmla="*/ 52 h 297"/>
                <a:gd name="T12" fmla="*/ 140 w 140"/>
                <a:gd name="T13" fmla="*/ 71 h 297"/>
                <a:gd name="T14" fmla="*/ 140 w 140"/>
                <a:gd name="T15" fmla="*/ 226 h 297"/>
                <a:gd name="T16" fmla="*/ 137 w 140"/>
                <a:gd name="T17" fmla="*/ 245 h 297"/>
                <a:gd name="T18" fmla="*/ 131 w 140"/>
                <a:gd name="T19" fmla="*/ 262 h 297"/>
                <a:gd name="T20" fmla="*/ 119 w 140"/>
                <a:gd name="T21" fmla="*/ 276 h 297"/>
                <a:gd name="T22" fmla="*/ 105 w 140"/>
                <a:gd name="T23" fmla="*/ 288 h 297"/>
                <a:gd name="T24" fmla="*/ 88 w 140"/>
                <a:gd name="T25" fmla="*/ 294 h 297"/>
                <a:gd name="T26" fmla="*/ 69 w 140"/>
                <a:gd name="T27" fmla="*/ 297 h 297"/>
                <a:gd name="T28" fmla="*/ 52 w 140"/>
                <a:gd name="T29" fmla="*/ 294 h 297"/>
                <a:gd name="T30" fmla="*/ 35 w 140"/>
                <a:gd name="T31" fmla="*/ 287 h 297"/>
                <a:gd name="T32" fmla="*/ 20 w 140"/>
                <a:gd name="T33" fmla="*/ 276 h 297"/>
                <a:gd name="T34" fmla="*/ 9 w 140"/>
                <a:gd name="T35" fmla="*/ 261 h 297"/>
                <a:gd name="T36" fmla="*/ 2 w 140"/>
                <a:gd name="T37" fmla="*/ 245 h 297"/>
                <a:gd name="T38" fmla="*/ 0 w 140"/>
                <a:gd name="T39" fmla="*/ 226 h 297"/>
                <a:gd name="T40" fmla="*/ 0 w 140"/>
                <a:gd name="T41" fmla="*/ 71 h 297"/>
                <a:gd name="T42" fmla="*/ 2 w 140"/>
                <a:gd name="T43" fmla="*/ 52 h 297"/>
                <a:gd name="T44" fmla="*/ 9 w 140"/>
                <a:gd name="T45" fmla="*/ 35 h 297"/>
                <a:gd name="T46" fmla="*/ 20 w 140"/>
                <a:gd name="T47" fmla="*/ 21 h 297"/>
                <a:gd name="T48" fmla="*/ 35 w 140"/>
                <a:gd name="T49" fmla="*/ 11 h 297"/>
                <a:gd name="T50" fmla="*/ 50 w 140"/>
                <a:gd name="T51" fmla="*/ 3 h 297"/>
                <a:gd name="T52" fmla="*/ 69 w 140"/>
                <a:gd name="T53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7">
                  <a:moveTo>
                    <a:pt x="69" y="0"/>
                  </a:moveTo>
                  <a:lnTo>
                    <a:pt x="88" y="3"/>
                  </a:lnTo>
                  <a:lnTo>
                    <a:pt x="105" y="11"/>
                  </a:lnTo>
                  <a:lnTo>
                    <a:pt x="119" y="21"/>
                  </a:lnTo>
                  <a:lnTo>
                    <a:pt x="131" y="35"/>
                  </a:lnTo>
                  <a:lnTo>
                    <a:pt x="137" y="52"/>
                  </a:lnTo>
                  <a:lnTo>
                    <a:pt x="140" y="71"/>
                  </a:lnTo>
                  <a:lnTo>
                    <a:pt x="140" y="226"/>
                  </a:lnTo>
                  <a:lnTo>
                    <a:pt x="137" y="245"/>
                  </a:lnTo>
                  <a:lnTo>
                    <a:pt x="131" y="262"/>
                  </a:lnTo>
                  <a:lnTo>
                    <a:pt x="119" y="276"/>
                  </a:lnTo>
                  <a:lnTo>
                    <a:pt x="105" y="288"/>
                  </a:lnTo>
                  <a:lnTo>
                    <a:pt x="88" y="294"/>
                  </a:lnTo>
                  <a:lnTo>
                    <a:pt x="69" y="297"/>
                  </a:lnTo>
                  <a:lnTo>
                    <a:pt x="52" y="294"/>
                  </a:lnTo>
                  <a:lnTo>
                    <a:pt x="35" y="287"/>
                  </a:lnTo>
                  <a:lnTo>
                    <a:pt x="20" y="276"/>
                  </a:lnTo>
                  <a:lnTo>
                    <a:pt x="9" y="261"/>
                  </a:lnTo>
                  <a:lnTo>
                    <a:pt x="2" y="245"/>
                  </a:lnTo>
                  <a:lnTo>
                    <a:pt x="0" y="226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9" y="35"/>
                  </a:lnTo>
                  <a:lnTo>
                    <a:pt x="20" y="21"/>
                  </a:lnTo>
                  <a:lnTo>
                    <a:pt x="35" y="11"/>
                  </a:lnTo>
                  <a:lnTo>
                    <a:pt x="50" y="3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48"/>
            <p:cNvSpPr>
              <a:spLocks/>
            </p:cNvSpPr>
            <p:nvPr/>
          </p:nvSpPr>
          <p:spPr bwMode="auto">
            <a:xfrm>
              <a:off x="5608638" y="4525963"/>
              <a:ext cx="22225" cy="47625"/>
            </a:xfrm>
            <a:custGeom>
              <a:avLst/>
              <a:gdLst>
                <a:gd name="T0" fmla="*/ 71 w 140"/>
                <a:gd name="T1" fmla="*/ 0 h 297"/>
                <a:gd name="T2" fmla="*/ 89 w 140"/>
                <a:gd name="T3" fmla="*/ 3 h 297"/>
                <a:gd name="T4" fmla="*/ 106 w 140"/>
                <a:gd name="T5" fmla="*/ 11 h 297"/>
                <a:gd name="T6" fmla="*/ 120 w 140"/>
                <a:gd name="T7" fmla="*/ 21 h 297"/>
                <a:gd name="T8" fmla="*/ 131 w 140"/>
                <a:gd name="T9" fmla="*/ 35 h 297"/>
                <a:gd name="T10" fmla="*/ 138 w 140"/>
                <a:gd name="T11" fmla="*/ 52 h 297"/>
                <a:gd name="T12" fmla="*/ 140 w 140"/>
                <a:gd name="T13" fmla="*/ 71 h 297"/>
                <a:gd name="T14" fmla="*/ 140 w 140"/>
                <a:gd name="T15" fmla="*/ 226 h 297"/>
                <a:gd name="T16" fmla="*/ 138 w 140"/>
                <a:gd name="T17" fmla="*/ 245 h 297"/>
                <a:gd name="T18" fmla="*/ 131 w 140"/>
                <a:gd name="T19" fmla="*/ 262 h 297"/>
                <a:gd name="T20" fmla="*/ 120 w 140"/>
                <a:gd name="T21" fmla="*/ 276 h 297"/>
                <a:gd name="T22" fmla="*/ 106 w 140"/>
                <a:gd name="T23" fmla="*/ 288 h 297"/>
                <a:gd name="T24" fmla="*/ 89 w 140"/>
                <a:gd name="T25" fmla="*/ 294 h 297"/>
                <a:gd name="T26" fmla="*/ 71 w 140"/>
                <a:gd name="T27" fmla="*/ 297 h 297"/>
                <a:gd name="T28" fmla="*/ 52 w 140"/>
                <a:gd name="T29" fmla="*/ 294 h 297"/>
                <a:gd name="T30" fmla="*/ 35 w 140"/>
                <a:gd name="T31" fmla="*/ 287 h 297"/>
                <a:gd name="T32" fmla="*/ 21 w 140"/>
                <a:gd name="T33" fmla="*/ 276 h 297"/>
                <a:gd name="T34" fmla="*/ 10 w 140"/>
                <a:gd name="T35" fmla="*/ 261 h 297"/>
                <a:gd name="T36" fmla="*/ 2 w 140"/>
                <a:gd name="T37" fmla="*/ 245 h 297"/>
                <a:gd name="T38" fmla="*/ 0 w 140"/>
                <a:gd name="T39" fmla="*/ 226 h 297"/>
                <a:gd name="T40" fmla="*/ 0 w 140"/>
                <a:gd name="T41" fmla="*/ 71 h 297"/>
                <a:gd name="T42" fmla="*/ 2 w 140"/>
                <a:gd name="T43" fmla="*/ 52 h 297"/>
                <a:gd name="T44" fmla="*/ 10 w 140"/>
                <a:gd name="T45" fmla="*/ 35 h 297"/>
                <a:gd name="T46" fmla="*/ 21 w 140"/>
                <a:gd name="T47" fmla="*/ 21 h 297"/>
                <a:gd name="T48" fmla="*/ 35 w 140"/>
                <a:gd name="T49" fmla="*/ 11 h 297"/>
                <a:gd name="T50" fmla="*/ 52 w 140"/>
                <a:gd name="T51" fmla="*/ 3 h 297"/>
                <a:gd name="T52" fmla="*/ 71 w 140"/>
                <a:gd name="T53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7">
                  <a:moveTo>
                    <a:pt x="71" y="0"/>
                  </a:moveTo>
                  <a:lnTo>
                    <a:pt x="89" y="3"/>
                  </a:lnTo>
                  <a:lnTo>
                    <a:pt x="106" y="11"/>
                  </a:lnTo>
                  <a:lnTo>
                    <a:pt x="120" y="21"/>
                  </a:lnTo>
                  <a:lnTo>
                    <a:pt x="131" y="35"/>
                  </a:lnTo>
                  <a:lnTo>
                    <a:pt x="138" y="52"/>
                  </a:lnTo>
                  <a:lnTo>
                    <a:pt x="140" y="71"/>
                  </a:lnTo>
                  <a:lnTo>
                    <a:pt x="140" y="226"/>
                  </a:lnTo>
                  <a:lnTo>
                    <a:pt x="138" y="245"/>
                  </a:lnTo>
                  <a:lnTo>
                    <a:pt x="131" y="262"/>
                  </a:lnTo>
                  <a:lnTo>
                    <a:pt x="120" y="276"/>
                  </a:lnTo>
                  <a:lnTo>
                    <a:pt x="106" y="288"/>
                  </a:lnTo>
                  <a:lnTo>
                    <a:pt x="89" y="294"/>
                  </a:lnTo>
                  <a:lnTo>
                    <a:pt x="71" y="297"/>
                  </a:lnTo>
                  <a:lnTo>
                    <a:pt x="52" y="294"/>
                  </a:lnTo>
                  <a:lnTo>
                    <a:pt x="35" y="287"/>
                  </a:lnTo>
                  <a:lnTo>
                    <a:pt x="21" y="276"/>
                  </a:lnTo>
                  <a:lnTo>
                    <a:pt x="10" y="261"/>
                  </a:lnTo>
                  <a:lnTo>
                    <a:pt x="2" y="245"/>
                  </a:lnTo>
                  <a:lnTo>
                    <a:pt x="0" y="226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10" y="35"/>
                  </a:lnTo>
                  <a:lnTo>
                    <a:pt x="21" y="21"/>
                  </a:lnTo>
                  <a:lnTo>
                    <a:pt x="35" y="11"/>
                  </a:lnTo>
                  <a:lnTo>
                    <a:pt x="52" y="3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49"/>
            <p:cNvSpPr>
              <a:spLocks/>
            </p:cNvSpPr>
            <p:nvPr/>
          </p:nvSpPr>
          <p:spPr bwMode="auto">
            <a:xfrm>
              <a:off x="5427663" y="4602163"/>
              <a:ext cx="22225" cy="47625"/>
            </a:xfrm>
            <a:custGeom>
              <a:avLst/>
              <a:gdLst>
                <a:gd name="T0" fmla="*/ 70 w 140"/>
                <a:gd name="T1" fmla="*/ 0 h 296"/>
                <a:gd name="T2" fmla="*/ 89 w 140"/>
                <a:gd name="T3" fmla="*/ 3 h 296"/>
                <a:gd name="T4" fmla="*/ 105 w 140"/>
                <a:gd name="T5" fmla="*/ 10 h 296"/>
                <a:gd name="T6" fmla="*/ 119 w 140"/>
                <a:gd name="T7" fmla="*/ 21 h 296"/>
                <a:gd name="T8" fmla="*/ 131 w 140"/>
                <a:gd name="T9" fmla="*/ 35 h 296"/>
                <a:gd name="T10" fmla="*/ 137 w 140"/>
                <a:gd name="T11" fmla="*/ 52 h 296"/>
                <a:gd name="T12" fmla="*/ 140 w 140"/>
                <a:gd name="T13" fmla="*/ 71 h 296"/>
                <a:gd name="T14" fmla="*/ 140 w 140"/>
                <a:gd name="T15" fmla="*/ 227 h 296"/>
                <a:gd name="T16" fmla="*/ 137 w 140"/>
                <a:gd name="T17" fmla="*/ 246 h 296"/>
                <a:gd name="T18" fmla="*/ 131 w 140"/>
                <a:gd name="T19" fmla="*/ 263 h 296"/>
                <a:gd name="T20" fmla="*/ 119 w 140"/>
                <a:gd name="T21" fmla="*/ 276 h 296"/>
                <a:gd name="T22" fmla="*/ 105 w 140"/>
                <a:gd name="T23" fmla="*/ 287 h 296"/>
                <a:gd name="T24" fmla="*/ 89 w 140"/>
                <a:gd name="T25" fmla="*/ 294 h 296"/>
                <a:gd name="T26" fmla="*/ 70 w 140"/>
                <a:gd name="T27" fmla="*/ 296 h 296"/>
                <a:gd name="T28" fmla="*/ 51 w 140"/>
                <a:gd name="T29" fmla="*/ 294 h 296"/>
                <a:gd name="T30" fmla="*/ 34 w 140"/>
                <a:gd name="T31" fmla="*/ 287 h 296"/>
                <a:gd name="T32" fmla="*/ 20 w 140"/>
                <a:gd name="T33" fmla="*/ 276 h 296"/>
                <a:gd name="T34" fmla="*/ 10 w 140"/>
                <a:gd name="T35" fmla="*/ 263 h 296"/>
                <a:gd name="T36" fmla="*/ 2 w 140"/>
                <a:gd name="T37" fmla="*/ 246 h 296"/>
                <a:gd name="T38" fmla="*/ 0 w 140"/>
                <a:gd name="T39" fmla="*/ 227 h 296"/>
                <a:gd name="T40" fmla="*/ 0 w 140"/>
                <a:gd name="T41" fmla="*/ 71 h 296"/>
                <a:gd name="T42" fmla="*/ 2 w 140"/>
                <a:gd name="T43" fmla="*/ 52 h 296"/>
                <a:gd name="T44" fmla="*/ 10 w 140"/>
                <a:gd name="T45" fmla="*/ 35 h 296"/>
                <a:gd name="T46" fmla="*/ 20 w 140"/>
                <a:gd name="T47" fmla="*/ 21 h 296"/>
                <a:gd name="T48" fmla="*/ 34 w 140"/>
                <a:gd name="T49" fmla="*/ 10 h 296"/>
                <a:gd name="T50" fmla="*/ 51 w 140"/>
                <a:gd name="T51" fmla="*/ 3 h 296"/>
                <a:gd name="T52" fmla="*/ 70 w 140"/>
                <a:gd name="T53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6">
                  <a:moveTo>
                    <a:pt x="70" y="0"/>
                  </a:moveTo>
                  <a:lnTo>
                    <a:pt x="89" y="3"/>
                  </a:lnTo>
                  <a:lnTo>
                    <a:pt x="105" y="10"/>
                  </a:lnTo>
                  <a:lnTo>
                    <a:pt x="119" y="21"/>
                  </a:lnTo>
                  <a:lnTo>
                    <a:pt x="131" y="35"/>
                  </a:lnTo>
                  <a:lnTo>
                    <a:pt x="137" y="52"/>
                  </a:lnTo>
                  <a:lnTo>
                    <a:pt x="140" y="71"/>
                  </a:lnTo>
                  <a:lnTo>
                    <a:pt x="140" y="227"/>
                  </a:lnTo>
                  <a:lnTo>
                    <a:pt x="137" y="246"/>
                  </a:lnTo>
                  <a:lnTo>
                    <a:pt x="131" y="263"/>
                  </a:lnTo>
                  <a:lnTo>
                    <a:pt x="119" y="276"/>
                  </a:lnTo>
                  <a:lnTo>
                    <a:pt x="105" y="287"/>
                  </a:lnTo>
                  <a:lnTo>
                    <a:pt x="89" y="294"/>
                  </a:lnTo>
                  <a:lnTo>
                    <a:pt x="70" y="296"/>
                  </a:lnTo>
                  <a:lnTo>
                    <a:pt x="51" y="294"/>
                  </a:lnTo>
                  <a:lnTo>
                    <a:pt x="34" y="287"/>
                  </a:lnTo>
                  <a:lnTo>
                    <a:pt x="20" y="276"/>
                  </a:lnTo>
                  <a:lnTo>
                    <a:pt x="10" y="263"/>
                  </a:lnTo>
                  <a:lnTo>
                    <a:pt x="2" y="246"/>
                  </a:lnTo>
                  <a:lnTo>
                    <a:pt x="0" y="227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10" y="35"/>
                  </a:lnTo>
                  <a:lnTo>
                    <a:pt x="20" y="21"/>
                  </a:lnTo>
                  <a:lnTo>
                    <a:pt x="34" y="10"/>
                  </a:lnTo>
                  <a:lnTo>
                    <a:pt x="51" y="3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50"/>
            <p:cNvSpPr>
              <a:spLocks/>
            </p:cNvSpPr>
            <p:nvPr/>
          </p:nvSpPr>
          <p:spPr bwMode="auto">
            <a:xfrm>
              <a:off x="5487988" y="4602163"/>
              <a:ext cx="22225" cy="47625"/>
            </a:xfrm>
            <a:custGeom>
              <a:avLst/>
              <a:gdLst>
                <a:gd name="T0" fmla="*/ 71 w 141"/>
                <a:gd name="T1" fmla="*/ 0 h 296"/>
                <a:gd name="T2" fmla="*/ 89 w 141"/>
                <a:gd name="T3" fmla="*/ 3 h 296"/>
                <a:gd name="T4" fmla="*/ 106 w 141"/>
                <a:gd name="T5" fmla="*/ 10 h 296"/>
                <a:gd name="T6" fmla="*/ 121 w 141"/>
                <a:gd name="T7" fmla="*/ 21 h 296"/>
                <a:gd name="T8" fmla="*/ 131 w 141"/>
                <a:gd name="T9" fmla="*/ 35 h 296"/>
                <a:gd name="T10" fmla="*/ 139 w 141"/>
                <a:gd name="T11" fmla="*/ 52 h 296"/>
                <a:gd name="T12" fmla="*/ 141 w 141"/>
                <a:gd name="T13" fmla="*/ 71 h 296"/>
                <a:gd name="T14" fmla="*/ 141 w 141"/>
                <a:gd name="T15" fmla="*/ 227 h 296"/>
                <a:gd name="T16" fmla="*/ 139 w 141"/>
                <a:gd name="T17" fmla="*/ 246 h 296"/>
                <a:gd name="T18" fmla="*/ 131 w 141"/>
                <a:gd name="T19" fmla="*/ 263 h 296"/>
                <a:gd name="T20" fmla="*/ 121 w 141"/>
                <a:gd name="T21" fmla="*/ 276 h 296"/>
                <a:gd name="T22" fmla="*/ 106 w 141"/>
                <a:gd name="T23" fmla="*/ 287 h 296"/>
                <a:gd name="T24" fmla="*/ 89 w 141"/>
                <a:gd name="T25" fmla="*/ 294 h 296"/>
                <a:gd name="T26" fmla="*/ 71 w 141"/>
                <a:gd name="T27" fmla="*/ 296 h 296"/>
                <a:gd name="T28" fmla="*/ 52 w 141"/>
                <a:gd name="T29" fmla="*/ 294 h 296"/>
                <a:gd name="T30" fmla="*/ 35 w 141"/>
                <a:gd name="T31" fmla="*/ 287 h 296"/>
                <a:gd name="T32" fmla="*/ 21 w 141"/>
                <a:gd name="T33" fmla="*/ 276 h 296"/>
                <a:gd name="T34" fmla="*/ 10 w 141"/>
                <a:gd name="T35" fmla="*/ 263 h 296"/>
                <a:gd name="T36" fmla="*/ 3 w 141"/>
                <a:gd name="T37" fmla="*/ 246 h 296"/>
                <a:gd name="T38" fmla="*/ 0 w 141"/>
                <a:gd name="T39" fmla="*/ 227 h 296"/>
                <a:gd name="T40" fmla="*/ 0 w 141"/>
                <a:gd name="T41" fmla="*/ 71 h 296"/>
                <a:gd name="T42" fmla="*/ 3 w 141"/>
                <a:gd name="T43" fmla="*/ 52 h 296"/>
                <a:gd name="T44" fmla="*/ 10 w 141"/>
                <a:gd name="T45" fmla="*/ 35 h 296"/>
                <a:gd name="T46" fmla="*/ 21 w 141"/>
                <a:gd name="T47" fmla="*/ 21 h 296"/>
                <a:gd name="T48" fmla="*/ 35 w 141"/>
                <a:gd name="T49" fmla="*/ 10 h 296"/>
                <a:gd name="T50" fmla="*/ 52 w 141"/>
                <a:gd name="T51" fmla="*/ 3 h 296"/>
                <a:gd name="T52" fmla="*/ 71 w 141"/>
                <a:gd name="T53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1" h="296">
                  <a:moveTo>
                    <a:pt x="71" y="0"/>
                  </a:moveTo>
                  <a:lnTo>
                    <a:pt x="89" y="3"/>
                  </a:lnTo>
                  <a:lnTo>
                    <a:pt x="106" y="10"/>
                  </a:lnTo>
                  <a:lnTo>
                    <a:pt x="121" y="21"/>
                  </a:lnTo>
                  <a:lnTo>
                    <a:pt x="131" y="35"/>
                  </a:lnTo>
                  <a:lnTo>
                    <a:pt x="139" y="52"/>
                  </a:lnTo>
                  <a:lnTo>
                    <a:pt x="141" y="71"/>
                  </a:lnTo>
                  <a:lnTo>
                    <a:pt x="141" y="227"/>
                  </a:lnTo>
                  <a:lnTo>
                    <a:pt x="139" y="246"/>
                  </a:lnTo>
                  <a:lnTo>
                    <a:pt x="131" y="263"/>
                  </a:lnTo>
                  <a:lnTo>
                    <a:pt x="121" y="276"/>
                  </a:lnTo>
                  <a:lnTo>
                    <a:pt x="106" y="287"/>
                  </a:lnTo>
                  <a:lnTo>
                    <a:pt x="89" y="294"/>
                  </a:lnTo>
                  <a:lnTo>
                    <a:pt x="71" y="296"/>
                  </a:lnTo>
                  <a:lnTo>
                    <a:pt x="52" y="294"/>
                  </a:lnTo>
                  <a:lnTo>
                    <a:pt x="35" y="287"/>
                  </a:lnTo>
                  <a:lnTo>
                    <a:pt x="21" y="276"/>
                  </a:lnTo>
                  <a:lnTo>
                    <a:pt x="10" y="263"/>
                  </a:lnTo>
                  <a:lnTo>
                    <a:pt x="3" y="246"/>
                  </a:lnTo>
                  <a:lnTo>
                    <a:pt x="0" y="227"/>
                  </a:lnTo>
                  <a:lnTo>
                    <a:pt x="0" y="71"/>
                  </a:lnTo>
                  <a:lnTo>
                    <a:pt x="3" y="52"/>
                  </a:lnTo>
                  <a:lnTo>
                    <a:pt x="10" y="35"/>
                  </a:lnTo>
                  <a:lnTo>
                    <a:pt x="21" y="21"/>
                  </a:lnTo>
                  <a:lnTo>
                    <a:pt x="35" y="10"/>
                  </a:lnTo>
                  <a:lnTo>
                    <a:pt x="52" y="3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51"/>
            <p:cNvSpPr>
              <a:spLocks/>
            </p:cNvSpPr>
            <p:nvPr/>
          </p:nvSpPr>
          <p:spPr bwMode="auto">
            <a:xfrm>
              <a:off x="5548313" y="4602163"/>
              <a:ext cx="22225" cy="47625"/>
            </a:xfrm>
            <a:custGeom>
              <a:avLst/>
              <a:gdLst>
                <a:gd name="T0" fmla="*/ 69 w 140"/>
                <a:gd name="T1" fmla="*/ 0 h 296"/>
                <a:gd name="T2" fmla="*/ 88 w 140"/>
                <a:gd name="T3" fmla="*/ 3 h 296"/>
                <a:gd name="T4" fmla="*/ 105 w 140"/>
                <a:gd name="T5" fmla="*/ 10 h 296"/>
                <a:gd name="T6" fmla="*/ 119 w 140"/>
                <a:gd name="T7" fmla="*/ 21 h 296"/>
                <a:gd name="T8" fmla="*/ 131 w 140"/>
                <a:gd name="T9" fmla="*/ 35 h 296"/>
                <a:gd name="T10" fmla="*/ 137 w 140"/>
                <a:gd name="T11" fmla="*/ 52 h 296"/>
                <a:gd name="T12" fmla="*/ 140 w 140"/>
                <a:gd name="T13" fmla="*/ 71 h 296"/>
                <a:gd name="T14" fmla="*/ 140 w 140"/>
                <a:gd name="T15" fmla="*/ 227 h 296"/>
                <a:gd name="T16" fmla="*/ 137 w 140"/>
                <a:gd name="T17" fmla="*/ 246 h 296"/>
                <a:gd name="T18" fmla="*/ 131 w 140"/>
                <a:gd name="T19" fmla="*/ 263 h 296"/>
                <a:gd name="T20" fmla="*/ 119 w 140"/>
                <a:gd name="T21" fmla="*/ 276 h 296"/>
                <a:gd name="T22" fmla="*/ 105 w 140"/>
                <a:gd name="T23" fmla="*/ 287 h 296"/>
                <a:gd name="T24" fmla="*/ 88 w 140"/>
                <a:gd name="T25" fmla="*/ 294 h 296"/>
                <a:gd name="T26" fmla="*/ 69 w 140"/>
                <a:gd name="T27" fmla="*/ 296 h 296"/>
                <a:gd name="T28" fmla="*/ 52 w 140"/>
                <a:gd name="T29" fmla="*/ 294 h 296"/>
                <a:gd name="T30" fmla="*/ 35 w 140"/>
                <a:gd name="T31" fmla="*/ 287 h 296"/>
                <a:gd name="T32" fmla="*/ 20 w 140"/>
                <a:gd name="T33" fmla="*/ 276 h 296"/>
                <a:gd name="T34" fmla="*/ 9 w 140"/>
                <a:gd name="T35" fmla="*/ 263 h 296"/>
                <a:gd name="T36" fmla="*/ 2 w 140"/>
                <a:gd name="T37" fmla="*/ 246 h 296"/>
                <a:gd name="T38" fmla="*/ 0 w 140"/>
                <a:gd name="T39" fmla="*/ 227 h 296"/>
                <a:gd name="T40" fmla="*/ 0 w 140"/>
                <a:gd name="T41" fmla="*/ 71 h 296"/>
                <a:gd name="T42" fmla="*/ 2 w 140"/>
                <a:gd name="T43" fmla="*/ 52 h 296"/>
                <a:gd name="T44" fmla="*/ 9 w 140"/>
                <a:gd name="T45" fmla="*/ 35 h 296"/>
                <a:gd name="T46" fmla="*/ 20 w 140"/>
                <a:gd name="T47" fmla="*/ 21 h 296"/>
                <a:gd name="T48" fmla="*/ 35 w 140"/>
                <a:gd name="T49" fmla="*/ 10 h 296"/>
                <a:gd name="T50" fmla="*/ 50 w 140"/>
                <a:gd name="T51" fmla="*/ 3 h 296"/>
                <a:gd name="T52" fmla="*/ 69 w 140"/>
                <a:gd name="T53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6">
                  <a:moveTo>
                    <a:pt x="69" y="0"/>
                  </a:moveTo>
                  <a:lnTo>
                    <a:pt x="88" y="3"/>
                  </a:lnTo>
                  <a:lnTo>
                    <a:pt x="105" y="10"/>
                  </a:lnTo>
                  <a:lnTo>
                    <a:pt x="119" y="21"/>
                  </a:lnTo>
                  <a:lnTo>
                    <a:pt x="131" y="35"/>
                  </a:lnTo>
                  <a:lnTo>
                    <a:pt x="137" y="52"/>
                  </a:lnTo>
                  <a:lnTo>
                    <a:pt x="140" y="71"/>
                  </a:lnTo>
                  <a:lnTo>
                    <a:pt x="140" y="227"/>
                  </a:lnTo>
                  <a:lnTo>
                    <a:pt x="137" y="246"/>
                  </a:lnTo>
                  <a:lnTo>
                    <a:pt x="131" y="263"/>
                  </a:lnTo>
                  <a:lnTo>
                    <a:pt x="119" y="276"/>
                  </a:lnTo>
                  <a:lnTo>
                    <a:pt x="105" y="287"/>
                  </a:lnTo>
                  <a:lnTo>
                    <a:pt x="88" y="294"/>
                  </a:lnTo>
                  <a:lnTo>
                    <a:pt x="69" y="296"/>
                  </a:lnTo>
                  <a:lnTo>
                    <a:pt x="52" y="294"/>
                  </a:lnTo>
                  <a:lnTo>
                    <a:pt x="35" y="287"/>
                  </a:lnTo>
                  <a:lnTo>
                    <a:pt x="20" y="276"/>
                  </a:lnTo>
                  <a:lnTo>
                    <a:pt x="9" y="263"/>
                  </a:lnTo>
                  <a:lnTo>
                    <a:pt x="2" y="246"/>
                  </a:lnTo>
                  <a:lnTo>
                    <a:pt x="0" y="227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9" y="35"/>
                  </a:lnTo>
                  <a:lnTo>
                    <a:pt x="20" y="21"/>
                  </a:lnTo>
                  <a:lnTo>
                    <a:pt x="35" y="10"/>
                  </a:lnTo>
                  <a:lnTo>
                    <a:pt x="50" y="3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2"/>
            <p:cNvSpPr>
              <a:spLocks/>
            </p:cNvSpPr>
            <p:nvPr/>
          </p:nvSpPr>
          <p:spPr bwMode="auto">
            <a:xfrm>
              <a:off x="5608638" y="4602163"/>
              <a:ext cx="22225" cy="47625"/>
            </a:xfrm>
            <a:custGeom>
              <a:avLst/>
              <a:gdLst>
                <a:gd name="T0" fmla="*/ 71 w 140"/>
                <a:gd name="T1" fmla="*/ 0 h 296"/>
                <a:gd name="T2" fmla="*/ 89 w 140"/>
                <a:gd name="T3" fmla="*/ 3 h 296"/>
                <a:gd name="T4" fmla="*/ 106 w 140"/>
                <a:gd name="T5" fmla="*/ 10 h 296"/>
                <a:gd name="T6" fmla="*/ 120 w 140"/>
                <a:gd name="T7" fmla="*/ 21 h 296"/>
                <a:gd name="T8" fmla="*/ 131 w 140"/>
                <a:gd name="T9" fmla="*/ 35 h 296"/>
                <a:gd name="T10" fmla="*/ 138 w 140"/>
                <a:gd name="T11" fmla="*/ 52 h 296"/>
                <a:gd name="T12" fmla="*/ 140 w 140"/>
                <a:gd name="T13" fmla="*/ 71 h 296"/>
                <a:gd name="T14" fmla="*/ 140 w 140"/>
                <a:gd name="T15" fmla="*/ 227 h 296"/>
                <a:gd name="T16" fmla="*/ 138 w 140"/>
                <a:gd name="T17" fmla="*/ 246 h 296"/>
                <a:gd name="T18" fmla="*/ 131 w 140"/>
                <a:gd name="T19" fmla="*/ 263 h 296"/>
                <a:gd name="T20" fmla="*/ 120 w 140"/>
                <a:gd name="T21" fmla="*/ 276 h 296"/>
                <a:gd name="T22" fmla="*/ 106 w 140"/>
                <a:gd name="T23" fmla="*/ 287 h 296"/>
                <a:gd name="T24" fmla="*/ 89 w 140"/>
                <a:gd name="T25" fmla="*/ 294 h 296"/>
                <a:gd name="T26" fmla="*/ 71 w 140"/>
                <a:gd name="T27" fmla="*/ 296 h 296"/>
                <a:gd name="T28" fmla="*/ 52 w 140"/>
                <a:gd name="T29" fmla="*/ 294 h 296"/>
                <a:gd name="T30" fmla="*/ 35 w 140"/>
                <a:gd name="T31" fmla="*/ 287 h 296"/>
                <a:gd name="T32" fmla="*/ 21 w 140"/>
                <a:gd name="T33" fmla="*/ 276 h 296"/>
                <a:gd name="T34" fmla="*/ 10 w 140"/>
                <a:gd name="T35" fmla="*/ 263 h 296"/>
                <a:gd name="T36" fmla="*/ 2 w 140"/>
                <a:gd name="T37" fmla="*/ 246 h 296"/>
                <a:gd name="T38" fmla="*/ 0 w 140"/>
                <a:gd name="T39" fmla="*/ 227 h 296"/>
                <a:gd name="T40" fmla="*/ 0 w 140"/>
                <a:gd name="T41" fmla="*/ 71 h 296"/>
                <a:gd name="T42" fmla="*/ 2 w 140"/>
                <a:gd name="T43" fmla="*/ 52 h 296"/>
                <a:gd name="T44" fmla="*/ 10 w 140"/>
                <a:gd name="T45" fmla="*/ 35 h 296"/>
                <a:gd name="T46" fmla="*/ 21 w 140"/>
                <a:gd name="T47" fmla="*/ 21 h 296"/>
                <a:gd name="T48" fmla="*/ 35 w 140"/>
                <a:gd name="T49" fmla="*/ 10 h 296"/>
                <a:gd name="T50" fmla="*/ 52 w 140"/>
                <a:gd name="T51" fmla="*/ 3 h 296"/>
                <a:gd name="T52" fmla="*/ 71 w 140"/>
                <a:gd name="T53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6">
                  <a:moveTo>
                    <a:pt x="71" y="0"/>
                  </a:moveTo>
                  <a:lnTo>
                    <a:pt x="89" y="3"/>
                  </a:lnTo>
                  <a:lnTo>
                    <a:pt x="106" y="10"/>
                  </a:lnTo>
                  <a:lnTo>
                    <a:pt x="120" y="21"/>
                  </a:lnTo>
                  <a:lnTo>
                    <a:pt x="131" y="35"/>
                  </a:lnTo>
                  <a:lnTo>
                    <a:pt x="138" y="52"/>
                  </a:lnTo>
                  <a:lnTo>
                    <a:pt x="140" y="71"/>
                  </a:lnTo>
                  <a:lnTo>
                    <a:pt x="140" y="227"/>
                  </a:lnTo>
                  <a:lnTo>
                    <a:pt x="138" y="246"/>
                  </a:lnTo>
                  <a:lnTo>
                    <a:pt x="131" y="263"/>
                  </a:lnTo>
                  <a:lnTo>
                    <a:pt x="120" y="276"/>
                  </a:lnTo>
                  <a:lnTo>
                    <a:pt x="106" y="287"/>
                  </a:lnTo>
                  <a:lnTo>
                    <a:pt x="89" y="294"/>
                  </a:lnTo>
                  <a:lnTo>
                    <a:pt x="71" y="296"/>
                  </a:lnTo>
                  <a:lnTo>
                    <a:pt x="52" y="294"/>
                  </a:lnTo>
                  <a:lnTo>
                    <a:pt x="35" y="287"/>
                  </a:lnTo>
                  <a:lnTo>
                    <a:pt x="21" y="276"/>
                  </a:lnTo>
                  <a:lnTo>
                    <a:pt x="10" y="263"/>
                  </a:lnTo>
                  <a:lnTo>
                    <a:pt x="2" y="246"/>
                  </a:lnTo>
                  <a:lnTo>
                    <a:pt x="0" y="227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10" y="35"/>
                  </a:lnTo>
                  <a:lnTo>
                    <a:pt x="21" y="21"/>
                  </a:lnTo>
                  <a:lnTo>
                    <a:pt x="35" y="10"/>
                  </a:lnTo>
                  <a:lnTo>
                    <a:pt x="52" y="3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53"/>
            <p:cNvSpPr>
              <a:spLocks/>
            </p:cNvSpPr>
            <p:nvPr/>
          </p:nvSpPr>
          <p:spPr bwMode="auto">
            <a:xfrm>
              <a:off x="5427663" y="4678363"/>
              <a:ext cx="22225" cy="47625"/>
            </a:xfrm>
            <a:custGeom>
              <a:avLst/>
              <a:gdLst>
                <a:gd name="T0" fmla="*/ 70 w 140"/>
                <a:gd name="T1" fmla="*/ 0 h 298"/>
                <a:gd name="T2" fmla="*/ 89 w 140"/>
                <a:gd name="T3" fmla="*/ 3 h 298"/>
                <a:gd name="T4" fmla="*/ 105 w 140"/>
                <a:gd name="T5" fmla="*/ 10 h 298"/>
                <a:gd name="T6" fmla="*/ 119 w 140"/>
                <a:gd name="T7" fmla="*/ 21 h 298"/>
                <a:gd name="T8" fmla="*/ 131 w 140"/>
                <a:gd name="T9" fmla="*/ 35 h 298"/>
                <a:gd name="T10" fmla="*/ 137 w 140"/>
                <a:gd name="T11" fmla="*/ 52 h 298"/>
                <a:gd name="T12" fmla="*/ 140 w 140"/>
                <a:gd name="T13" fmla="*/ 71 h 298"/>
                <a:gd name="T14" fmla="*/ 140 w 140"/>
                <a:gd name="T15" fmla="*/ 227 h 298"/>
                <a:gd name="T16" fmla="*/ 137 w 140"/>
                <a:gd name="T17" fmla="*/ 246 h 298"/>
                <a:gd name="T18" fmla="*/ 131 w 140"/>
                <a:gd name="T19" fmla="*/ 263 h 298"/>
                <a:gd name="T20" fmla="*/ 119 w 140"/>
                <a:gd name="T21" fmla="*/ 276 h 298"/>
                <a:gd name="T22" fmla="*/ 105 w 140"/>
                <a:gd name="T23" fmla="*/ 288 h 298"/>
                <a:gd name="T24" fmla="*/ 89 w 140"/>
                <a:gd name="T25" fmla="*/ 296 h 298"/>
                <a:gd name="T26" fmla="*/ 70 w 140"/>
                <a:gd name="T27" fmla="*/ 298 h 298"/>
                <a:gd name="T28" fmla="*/ 51 w 140"/>
                <a:gd name="T29" fmla="*/ 294 h 298"/>
                <a:gd name="T30" fmla="*/ 34 w 140"/>
                <a:gd name="T31" fmla="*/ 288 h 298"/>
                <a:gd name="T32" fmla="*/ 20 w 140"/>
                <a:gd name="T33" fmla="*/ 276 h 298"/>
                <a:gd name="T34" fmla="*/ 10 w 140"/>
                <a:gd name="T35" fmla="*/ 263 h 298"/>
                <a:gd name="T36" fmla="*/ 2 w 140"/>
                <a:gd name="T37" fmla="*/ 246 h 298"/>
                <a:gd name="T38" fmla="*/ 0 w 140"/>
                <a:gd name="T39" fmla="*/ 227 h 298"/>
                <a:gd name="T40" fmla="*/ 0 w 140"/>
                <a:gd name="T41" fmla="*/ 71 h 298"/>
                <a:gd name="T42" fmla="*/ 2 w 140"/>
                <a:gd name="T43" fmla="*/ 52 h 298"/>
                <a:gd name="T44" fmla="*/ 10 w 140"/>
                <a:gd name="T45" fmla="*/ 35 h 298"/>
                <a:gd name="T46" fmla="*/ 20 w 140"/>
                <a:gd name="T47" fmla="*/ 21 h 298"/>
                <a:gd name="T48" fmla="*/ 34 w 140"/>
                <a:gd name="T49" fmla="*/ 10 h 298"/>
                <a:gd name="T50" fmla="*/ 51 w 140"/>
                <a:gd name="T51" fmla="*/ 3 h 298"/>
                <a:gd name="T52" fmla="*/ 70 w 140"/>
                <a:gd name="T53" fmla="*/ 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8">
                  <a:moveTo>
                    <a:pt x="70" y="0"/>
                  </a:moveTo>
                  <a:lnTo>
                    <a:pt x="89" y="3"/>
                  </a:lnTo>
                  <a:lnTo>
                    <a:pt x="105" y="10"/>
                  </a:lnTo>
                  <a:lnTo>
                    <a:pt x="119" y="21"/>
                  </a:lnTo>
                  <a:lnTo>
                    <a:pt x="131" y="35"/>
                  </a:lnTo>
                  <a:lnTo>
                    <a:pt x="137" y="52"/>
                  </a:lnTo>
                  <a:lnTo>
                    <a:pt x="140" y="71"/>
                  </a:lnTo>
                  <a:lnTo>
                    <a:pt x="140" y="227"/>
                  </a:lnTo>
                  <a:lnTo>
                    <a:pt x="137" y="246"/>
                  </a:lnTo>
                  <a:lnTo>
                    <a:pt x="131" y="263"/>
                  </a:lnTo>
                  <a:lnTo>
                    <a:pt x="119" y="276"/>
                  </a:lnTo>
                  <a:lnTo>
                    <a:pt x="105" y="288"/>
                  </a:lnTo>
                  <a:lnTo>
                    <a:pt x="89" y="296"/>
                  </a:lnTo>
                  <a:lnTo>
                    <a:pt x="70" y="298"/>
                  </a:lnTo>
                  <a:lnTo>
                    <a:pt x="51" y="294"/>
                  </a:lnTo>
                  <a:lnTo>
                    <a:pt x="34" y="288"/>
                  </a:lnTo>
                  <a:lnTo>
                    <a:pt x="20" y="276"/>
                  </a:lnTo>
                  <a:lnTo>
                    <a:pt x="10" y="263"/>
                  </a:lnTo>
                  <a:lnTo>
                    <a:pt x="2" y="246"/>
                  </a:lnTo>
                  <a:lnTo>
                    <a:pt x="0" y="227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10" y="35"/>
                  </a:lnTo>
                  <a:lnTo>
                    <a:pt x="20" y="21"/>
                  </a:lnTo>
                  <a:lnTo>
                    <a:pt x="34" y="10"/>
                  </a:lnTo>
                  <a:lnTo>
                    <a:pt x="51" y="3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54"/>
            <p:cNvSpPr>
              <a:spLocks/>
            </p:cNvSpPr>
            <p:nvPr/>
          </p:nvSpPr>
          <p:spPr bwMode="auto">
            <a:xfrm>
              <a:off x="5487988" y="4678363"/>
              <a:ext cx="22225" cy="47625"/>
            </a:xfrm>
            <a:custGeom>
              <a:avLst/>
              <a:gdLst>
                <a:gd name="T0" fmla="*/ 71 w 141"/>
                <a:gd name="T1" fmla="*/ 0 h 298"/>
                <a:gd name="T2" fmla="*/ 89 w 141"/>
                <a:gd name="T3" fmla="*/ 3 h 298"/>
                <a:gd name="T4" fmla="*/ 106 w 141"/>
                <a:gd name="T5" fmla="*/ 10 h 298"/>
                <a:gd name="T6" fmla="*/ 121 w 141"/>
                <a:gd name="T7" fmla="*/ 21 h 298"/>
                <a:gd name="T8" fmla="*/ 131 w 141"/>
                <a:gd name="T9" fmla="*/ 35 h 298"/>
                <a:gd name="T10" fmla="*/ 139 w 141"/>
                <a:gd name="T11" fmla="*/ 52 h 298"/>
                <a:gd name="T12" fmla="*/ 141 w 141"/>
                <a:gd name="T13" fmla="*/ 71 h 298"/>
                <a:gd name="T14" fmla="*/ 141 w 141"/>
                <a:gd name="T15" fmla="*/ 227 h 298"/>
                <a:gd name="T16" fmla="*/ 139 w 141"/>
                <a:gd name="T17" fmla="*/ 246 h 298"/>
                <a:gd name="T18" fmla="*/ 131 w 141"/>
                <a:gd name="T19" fmla="*/ 263 h 298"/>
                <a:gd name="T20" fmla="*/ 121 w 141"/>
                <a:gd name="T21" fmla="*/ 276 h 298"/>
                <a:gd name="T22" fmla="*/ 106 w 141"/>
                <a:gd name="T23" fmla="*/ 288 h 298"/>
                <a:gd name="T24" fmla="*/ 89 w 141"/>
                <a:gd name="T25" fmla="*/ 296 h 298"/>
                <a:gd name="T26" fmla="*/ 71 w 141"/>
                <a:gd name="T27" fmla="*/ 298 h 298"/>
                <a:gd name="T28" fmla="*/ 52 w 141"/>
                <a:gd name="T29" fmla="*/ 294 h 298"/>
                <a:gd name="T30" fmla="*/ 35 w 141"/>
                <a:gd name="T31" fmla="*/ 288 h 298"/>
                <a:gd name="T32" fmla="*/ 21 w 141"/>
                <a:gd name="T33" fmla="*/ 276 h 298"/>
                <a:gd name="T34" fmla="*/ 10 w 141"/>
                <a:gd name="T35" fmla="*/ 263 h 298"/>
                <a:gd name="T36" fmla="*/ 3 w 141"/>
                <a:gd name="T37" fmla="*/ 246 h 298"/>
                <a:gd name="T38" fmla="*/ 0 w 141"/>
                <a:gd name="T39" fmla="*/ 227 h 298"/>
                <a:gd name="T40" fmla="*/ 0 w 141"/>
                <a:gd name="T41" fmla="*/ 71 h 298"/>
                <a:gd name="T42" fmla="*/ 3 w 141"/>
                <a:gd name="T43" fmla="*/ 52 h 298"/>
                <a:gd name="T44" fmla="*/ 10 w 141"/>
                <a:gd name="T45" fmla="*/ 35 h 298"/>
                <a:gd name="T46" fmla="*/ 21 w 141"/>
                <a:gd name="T47" fmla="*/ 21 h 298"/>
                <a:gd name="T48" fmla="*/ 35 w 141"/>
                <a:gd name="T49" fmla="*/ 10 h 298"/>
                <a:gd name="T50" fmla="*/ 52 w 141"/>
                <a:gd name="T51" fmla="*/ 3 h 298"/>
                <a:gd name="T52" fmla="*/ 71 w 141"/>
                <a:gd name="T53" fmla="*/ 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1" h="298">
                  <a:moveTo>
                    <a:pt x="71" y="0"/>
                  </a:moveTo>
                  <a:lnTo>
                    <a:pt x="89" y="3"/>
                  </a:lnTo>
                  <a:lnTo>
                    <a:pt x="106" y="10"/>
                  </a:lnTo>
                  <a:lnTo>
                    <a:pt x="121" y="21"/>
                  </a:lnTo>
                  <a:lnTo>
                    <a:pt x="131" y="35"/>
                  </a:lnTo>
                  <a:lnTo>
                    <a:pt x="139" y="52"/>
                  </a:lnTo>
                  <a:lnTo>
                    <a:pt x="141" y="71"/>
                  </a:lnTo>
                  <a:lnTo>
                    <a:pt x="141" y="227"/>
                  </a:lnTo>
                  <a:lnTo>
                    <a:pt x="139" y="246"/>
                  </a:lnTo>
                  <a:lnTo>
                    <a:pt x="131" y="263"/>
                  </a:lnTo>
                  <a:lnTo>
                    <a:pt x="121" y="276"/>
                  </a:lnTo>
                  <a:lnTo>
                    <a:pt x="106" y="288"/>
                  </a:lnTo>
                  <a:lnTo>
                    <a:pt x="89" y="296"/>
                  </a:lnTo>
                  <a:lnTo>
                    <a:pt x="71" y="298"/>
                  </a:lnTo>
                  <a:lnTo>
                    <a:pt x="52" y="294"/>
                  </a:lnTo>
                  <a:lnTo>
                    <a:pt x="35" y="288"/>
                  </a:lnTo>
                  <a:lnTo>
                    <a:pt x="21" y="276"/>
                  </a:lnTo>
                  <a:lnTo>
                    <a:pt x="10" y="263"/>
                  </a:lnTo>
                  <a:lnTo>
                    <a:pt x="3" y="246"/>
                  </a:lnTo>
                  <a:lnTo>
                    <a:pt x="0" y="227"/>
                  </a:lnTo>
                  <a:lnTo>
                    <a:pt x="0" y="71"/>
                  </a:lnTo>
                  <a:lnTo>
                    <a:pt x="3" y="52"/>
                  </a:lnTo>
                  <a:lnTo>
                    <a:pt x="10" y="35"/>
                  </a:lnTo>
                  <a:lnTo>
                    <a:pt x="21" y="21"/>
                  </a:lnTo>
                  <a:lnTo>
                    <a:pt x="35" y="10"/>
                  </a:lnTo>
                  <a:lnTo>
                    <a:pt x="52" y="3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55"/>
            <p:cNvSpPr>
              <a:spLocks/>
            </p:cNvSpPr>
            <p:nvPr/>
          </p:nvSpPr>
          <p:spPr bwMode="auto">
            <a:xfrm>
              <a:off x="5548313" y="4678363"/>
              <a:ext cx="22225" cy="47625"/>
            </a:xfrm>
            <a:custGeom>
              <a:avLst/>
              <a:gdLst>
                <a:gd name="T0" fmla="*/ 69 w 140"/>
                <a:gd name="T1" fmla="*/ 0 h 298"/>
                <a:gd name="T2" fmla="*/ 88 w 140"/>
                <a:gd name="T3" fmla="*/ 3 h 298"/>
                <a:gd name="T4" fmla="*/ 105 w 140"/>
                <a:gd name="T5" fmla="*/ 10 h 298"/>
                <a:gd name="T6" fmla="*/ 119 w 140"/>
                <a:gd name="T7" fmla="*/ 21 h 298"/>
                <a:gd name="T8" fmla="*/ 131 w 140"/>
                <a:gd name="T9" fmla="*/ 35 h 298"/>
                <a:gd name="T10" fmla="*/ 137 w 140"/>
                <a:gd name="T11" fmla="*/ 52 h 298"/>
                <a:gd name="T12" fmla="*/ 140 w 140"/>
                <a:gd name="T13" fmla="*/ 71 h 298"/>
                <a:gd name="T14" fmla="*/ 140 w 140"/>
                <a:gd name="T15" fmla="*/ 227 h 298"/>
                <a:gd name="T16" fmla="*/ 137 w 140"/>
                <a:gd name="T17" fmla="*/ 246 h 298"/>
                <a:gd name="T18" fmla="*/ 131 w 140"/>
                <a:gd name="T19" fmla="*/ 263 h 298"/>
                <a:gd name="T20" fmla="*/ 119 w 140"/>
                <a:gd name="T21" fmla="*/ 276 h 298"/>
                <a:gd name="T22" fmla="*/ 105 w 140"/>
                <a:gd name="T23" fmla="*/ 288 h 298"/>
                <a:gd name="T24" fmla="*/ 88 w 140"/>
                <a:gd name="T25" fmla="*/ 296 h 298"/>
                <a:gd name="T26" fmla="*/ 69 w 140"/>
                <a:gd name="T27" fmla="*/ 298 h 298"/>
                <a:gd name="T28" fmla="*/ 52 w 140"/>
                <a:gd name="T29" fmla="*/ 294 h 298"/>
                <a:gd name="T30" fmla="*/ 35 w 140"/>
                <a:gd name="T31" fmla="*/ 288 h 298"/>
                <a:gd name="T32" fmla="*/ 20 w 140"/>
                <a:gd name="T33" fmla="*/ 276 h 298"/>
                <a:gd name="T34" fmla="*/ 9 w 140"/>
                <a:gd name="T35" fmla="*/ 263 h 298"/>
                <a:gd name="T36" fmla="*/ 2 w 140"/>
                <a:gd name="T37" fmla="*/ 246 h 298"/>
                <a:gd name="T38" fmla="*/ 0 w 140"/>
                <a:gd name="T39" fmla="*/ 227 h 298"/>
                <a:gd name="T40" fmla="*/ 0 w 140"/>
                <a:gd name="T41" fmla="*/ 71 h 298"/>
                <a:gd name="T42" fmla="*/ 2 w 140"/>
                <a:gd name="T43" fmla="*/ 52 h 298"/>
                <a:gd name="T44" fmla="*/ 9 w 140"/>
                <a:gd name="T45" fmla="*/ 35 h 298"/>
                <a:gd name="T46" fmla="*/ 20 w 140"/>
                <a:gd name="T47" fmla="*/ 21 h 298"/>
                <a:gd name="T48" fmla="*/ 35 w 140"/>
                <a:gd name="T49" fmla="*/ 10 h 298"/>
                <a:gd name="T50" fmla="*/ 50 w 140"/>
                <a:gd name="T51" fmla="*/ 3 h 298"/>
                <a:gd name="T52" fmla="*/ 69 w 140"/>
                <a:gd name="T53" fmla="*/ 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8">
                  <a:moveTo>
                    <a:pt x="69" y="0"/>
                  </a:moveTo>
                  <a:lnTo>
                    <a:pt x="88" y="3"/>
                  </a:lnTo>
                  <a:lnTo>
                    <a:pt x="105" y="10"/>
                  </a:lnTo>
                  <a:lnTo>
                    <a:pt x="119" y="21"/>
                  </a:lnTo>
                  <a:lnTo>
                    <a:pt x="131" y="35"/>
                  </a:lnTo>
                  <a:lnTo>
                    <a:pt x="137" y="52"/>
                  </a:lnTo>
                  <a:lnTo>
                    <a:pt x="140" y="71"/>
                  </a:lnTo>
                  <a:lnTo>
                    <a:pt x="140" y="227"/>
                  </a:lnTo>
                  <a:lnTo>
                    <a:pt x="137" y="246"/>
                  </a:lnTo>
                  <a:lnTo>
                    <a:pt x="131" y="263"/>
                  </a:lnTo>
                  <a:lnTo>
                    <a:pt x="119" y="276"/>
                  </a:lnTo>
                  <a:lnTo>
                    <a:pt x="105" y="288"/>
                  </a:lnTo>
                  <a:lnTo>
                    <a:pt x="88" y="296"/>
                  </a:lnTo>
                  <a:lnTo>
                    <a:pt x="69" y="298"/>
                  </a:lnTo>
                  <a:lnTo>
                    <a:pt x="52" y="294"/>
                  </a:lnTo>
                  <a:lnTo>
                    <a:pt x="35" y="288"/>
                  </a:lnTo>
                  <a:lnTo>
                    <a:pt x="20" y="276"/>
                  </a:lnTo>
                  <a:lnTo>
                    <a:pt x="9" y="263"/>
                  </a:lnTo>
                  <a:lnTo>
                    <a:pt x="2" y="246"/>
                  </a:lnTo>
                  <a:lnTo>
                    <a:pt x="0" y="227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9" y="35"/>
                  </a:lnTo>
                  <a:lnTo>
                    <a:pt x="20" y="21"/>
                  </a:lnTo>
                  <a:lnTo>
                    <a:pt x="35" y="10"/>
                  </a:lnTo>
                  <a:lnTo>
                    <a:pt x="50" y="3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56"/>
            <p:cNvSpPr>
              <a:spLocks/>
            </p:cNvSpPr>
            <p:nvPr/>
          </p:nvSpPr>
          <p:spPr bwMode="auto">
            <a:xfrm>
              <a:off x="5608638" y="4678363"/>
              <a:ext cx="22225" cy="47625"/>
            </a:xfrm>
            <a:custGeom>
              <a:avLst/>
              <a:gdLst>
                <a:gd name="T0" fmla="*/ 71 w 140"/>
                <a:gd name="T1" fmla="*/ 0 h 298"/>
                <a:gd name="T2" fmla="*/ 89 w 140"/>
                <a:gd name="T3" fmla="*/ 3 h 298"/>
                <a:gd name="T4" fmla="*/ 106 w 140"/>
                <a:gd name="T5" fmla="*/ 10 h 298"/>
                <a:gd name="T6" fmla="*/ 120 w 140"/>
                <a:gd name="T7" fmla="*/ 21 h 298"/>
                <a:gd name="T8" fmla="*/ 131 w 140"/>
                <a:gd name="T9" fmla="*/ 35 h 298"/>
                <a:gd name="T10" fmla="*/ 138 w 140"/>
                <a:gd name="T11" fmla="*/ 52 h 298"/>
                <a:gd name="T12" fmla="*/ 140 w 140"/>
                <a:gd name="T13" fmla="*/ 71 h 298"/>
                <a:gd name="T14" fmla="*/ 140 w 140"/>
                <a:gd name="T15" fmla="*/ 227 h 298"/>
                <a:gd name="T16" fmla="*/ 138 w 140"/>
                <a:gd name="T17" fmla="*/ 246 h 298"/>
                <a:gd name="T18" fmla="*/ 131 w 140"/>
                <a:gd name="T19" fmla="*/ 263 h 298"/>
                <a:gd name="T20" fmla="*/ 120 w 140"/>
                <a:gd name="T21" fmla="*/ 276 h 298"/>
                <a:gd name="T22" fmla="*/ 106 w 140"/>
                <a:gd name="T23" fmla="*/ 288 h 298"/>
                <a:gd name="T24" fmla="*/ 89 w 140"/>
                <a:gd name="T25" fmla="*/ 296 h 298"/>
                <a:gd name="T26" fmla="*/ 71 w 140"/>
                <a:gd name="T27" fmla="*/ 298 h 298"/>
                <a:gd name="T28" fmla="*/ 52 w 140"/>
                <a:gd name="T29" fmla="*/ 294 h 298"/>
                <a:gd name="T30" fmla="*/ 35 w 140"/>
                <a:gd name="T31" fmla="*/ 288 h 298"/>
                <a:gd name="T32" fmla="*/ 21 w 140"/>
                <a:gd name="T33" fmla="*/ 276 h 298"/>
                <a:gd name="T34" fmla="*/ 10 w 140"/>
                <a:gd name="T35" fmla="*/ 263 h 298"/>
                <a:gd name="T36" fmla="*/ 2 w 140"/>
                <a:gd name="T37" fmla="*/ 246 h 298"/>
                <a:gd name="T38" fmla="*/ 0 w 140"/>
                <a:gd name="T39" fmla="*/ 227 h 298"/>
                <a:gd name="T40" fmla="*/ 0 w 140"/>
                <a:gd name="T41" fmla="*/ 71 h 298"/>
                <a:gd name="T42" fmla="*/ 2 w 140"/>
                <a:gd name="T43" fmla="*/ 52 h 298"/>
                <a:gd name="T44" fmla="*/ 10 w 140"/>
                <a:gd name="T45" fmla="*/ 35 h 298"/>
                <a:gd name="T46" fmla="*/ 21 w 140"/>
                <a:gd name="T47" fmla="*/ 21 h 298"/>
                <a:gd name="T48" fmla="*/ 35 w 140"/>
                <a:gd name="T49" fmla="*/ 10 h 298"/>
                <a:gd name="T50" fmla="*/ 52 w 140"/>
                <a:gd name="T51" fmla="*/ 3 h 298"/>
                <a:gd name="T52" fmla="*/ 71 w 140"/>
                <a:gd name="T53" fmla="*/ 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8">
                  <a:moveTo>
                    <a:pt x="71" y="0"/>
                  </a:moveTo>
                  <a:lnTo>
                    <a:pt x="89" y="3"/>
                  </a:lnTo>
                  <a:lnTo>
                    <a:pt x="106" y="10"/>
                  </a:lnTo>
                  <a:lnTo>
                    <a:pt x="120" y="21"/>
                  </a:lnTo>
                  <a:lnTo>
                    <a:pt x="131" y="35"/>
                  </a:lnTo>
                  <a:lnTo>
                    <a:pt x="138" y="52"/>
                  </a:lnTo>
                  <a:lnTo>
                    <a:pt x="140" y="71"/>
                  </a:lnTo>
                  <a:lnTo>
                    <a:pt x="140" y="227"/>
                  </a:lnTo>
                  <a:lnTo>
                    <a:pt x="138" y="246"/>
                  </a:lnTo>
                  <a:lnTo>
                    <a:pt x="131" y="263"/>
                  </a:lnTo>
                  <a:lnTo>
                    <a:pt x="120" y="276"/>
                  </a:lnTo>
                  <a:lnTo>
                    <a:pt x="106" y="288"/>
                  </a:lnTo>
                  <a:lnTo>
                    <a:pt x="89" y="296"/>
                  </a:lnTo>
                  <a:lnTo>
                    <a:pt x="71" y="298"/>
                  </a:lnTo>
                  <a:lnTo>
                    <a:pt x="52" y="294"/>
                  </a:lnTo>
                  <a:lnTo>
                    <a:pt x="35" y="288"/>
                  </a:lnTo>
                  <a:lnTo>
                    <a:pt x="21" y="276"/>
                  </a:lnTo>
                  <a:lnTo>
                    <a:pt x="10" y="263"/>
                  </a:lnTo>
                  <a:lnTo>
                    <a:pt x="2" y="246"/>
                  </a:lnTo>
                  <a:lnTo>
                    <a:pt x="0" y="227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10" y="35"/>
                  </a:lnTo>
                  <a:lnTo>
                    <a:pt x="21" y="21"/>
                  </a:lnTo>
                  <a:lnTo>
                    <a:pt x="35" y="10"/>
                  </a:lnTo>
                  <a:lnTo>
                    <a:pt x="52" y="3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1" name="Group 381"/>
          <p:cNvGrpSpPr/>
          <p:nvPr/>
        </p:nvGrpSpPr>
        <p:grpSpPr>
          <a:xfrm>
            <a:off x="886706" y="5079903"/>
            <a:ext cx="777061" cy="696608"/>
            <a:chOff x="5373688" y="3495675"/>
            <a:chExt cx="525462" cy="477838"/>
          </a:xfrm>
          <a:solidFill>
            <a:srgbClr val="343467"/>
          </a:solidFill>
        </p:grpSpPr>
        <p:sp>
          <p:nvSpPr>
            <p:cNvPr id="42" name="Freeform 326"/>
            <p:cNvSpPr>
              <a:spLocks noEditPoints="1"/>
            </p:cNvSpPr>
            <p:nvPr/>
          </p:nvSpPr>
          <p:spPr bwMode="auto">
            <a:xfrm>
              <a:off x="5373688" y="3606800"/>
              <a:ext cx="525462" cy="366713"/>
            </a:xfrm>
            <a:custGeom>
              <a:avLst/>
              <a:gdLst>
                <a:gd name="T0" fmla="*/ 118 w 3315"/>
                <a:gd name="T1" fmla="*/ 117 h 2303"/>
                <a:gd name="T2" fmla="*/ 118 w 3315"/>
                <a:gd name="T3" fmla="*/ 2184 h 2303"/>
                <a:gd name="T4" fmla="*/ 3197 w 3315"/>
                <a:gd name="T5" fmla="*/ 2184 h 2303"/>
                <a:gd name="T6" fmla="*/ 3197 w 3315"/>
                <a:gd name="T7" fmla="*/ 117 h 2303"/>
                <a:gd name="T8" fmla="*/ 118 w 3315"/>
                <a:gd name="T9" fmla="*/ 117 h 2303"/>
                <a:gd name="T10" fmla="*/ 0 w 3315"/>
                <a:gd name="T11" fmla="*/ 0 h 2303"/>
                <a:gd name="T12" fmla="*/ 3315 w 3315"/>
                <a:gd name="T13" fmla="*/ 0 h 2303"/>
                <a:gd name="T14" fmla="*/ 3315 w 3315"/>
                <a:gd name="T15" fmla="*/ 2303 h 2303"/>
                <a:gd name="T16" fmla="*/ 0 w 3315"/>
                <a:gd name="T17" fmla="*/ 2303 h 2303"/>
                <a:gd name="T18" fmla="*/ 0 w 3315"/>
                <a:gd name="T19" fmla="*/ 0 h 2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15" h="2303">
                  <a:moveTo>
                    <a:pt x="118" y="117"/>
                  </a:moveTo>
                  <a:lnTo>
                    <a:pt x="118" y="2184"/>
                  </a:lnTo>
                  <a:lnTo>
                    <a:pt x="3197" y="2184"/>
                  </a:lnTo>
                  <a:lnTo>
                    <a:pt x="3197" y="117"/>
                  </a:lnTo>
                  <a:lnTo>
                    <a:pt x="118" y="117"/>
                  </a:lnTo>
                  <a:close/>
                  <a:moveTo>
                    <a:pt x="0" y="0"/>
                  </a:moveTo>
                  <a:lnTo>
                    <a:pt x="3315" y="0"/>
                  </a:lnTo>
                  <a:lnTo>
                    <a:pt x="3315" y="2303"/>
                  </a:lnTo>
                  <a:lnTo>
                    <a:pt x="0" y="230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27"/>
            <p:cNvSpPr>
              <a:spLocks/>
            </p:cNvSpPr>
            <p:nvPr/>
          </p:nvSpPr>
          <p:spPr bwMode="auto">
            <a:xfrm>
              <a:off x="5392738" y="3570288"/>
              <a:ext cx="488950" cy="17463"/>
            </a:xfrm>
            <a:custGeom>
              <a:avLst/>
              <a:gdLst>
                <a:gd name="T0" fmla="*/ 60 w 3079"/>
                <a:gd name="T1" fmla="*/ 0 h 118"/>
                <a:gd name="T2" fmla="*/ 3019 w 3079"/>
                <a:gd name="T3" fmla="*/ 0 h 118"/>
                <a:gd name="T4" fmla="*/ 3038 w 3079"/>
                <a:gd name="T5" fmla="*/ 3 h 118"/>
                <a:gd name="T6" fmla="*/ 3055 w 3079"/>
                <a:gd name="T7" fmla="*/ 11 h 118"/>
                <a:gd name="T8" fmla="*/ 3068 w 3079"/>
                <a:gd name="T9" fmla="*/ 24 h 118"/>
                <a:gd name="T10" fmla="*/ 3076 w 3079"/>
                <a:gd name="T11" fmla="*/ 40 h 118"/>
                <a:gd name="T12" fmla="*/ 3079 w 3079"/>
                <a:gd name="T13" fmla="*/ 60 h 118"/>
                <a:gd name="T14" fmla="*/ 3076 w 3079"/>
                <a:gd name="T15" fmla="*/ 78 h 118"/>
                <a:gd name="T16" fmla="*/ 3068 w 3079"/>
                <a:gd name="T17" fmla="*/ 94 h 118"/>
                <a:gd name="T18" fmla="*/ 3055 w 3079"/>
                <a:gd name="T19" fmla="*/ 107 h 118"/>
                <a:gd name="T20" fmla="*/ 3038 w 3079"/>
                <a:gd name="T21" fmla="*/ 115 h 118"/>
                <a:gd name="T22" fmla="*/ 3019 w 3079"/>
                <a:gd name="T23" fmla="*/ 118 h 118"/>
                <a:gd name="T24" fmla="*/ 60 w 3079"/>
                <a:gd name="T25" fmla="*/ 118 h 118"/>
                <a:gd name="T26" fmla="*/ 40 w 3079"/>
                <a:gd name="T27" fmla="*/ 115 h 118"/>
                <a:gd name="T28" fmla="*/ 24 w 3079"/>
                <a:gd name="T29" fmla="*/ 107 h 118"/>
                <a:gd name="T30" fmla="*/ 12 w 3079"/>
                <a:gd name="T31" fmla="*/ 94 h 118"/>
                <a:gd name="T32" fmla="*/ 3 w 3079"/>
                <a:gd name="T33" fmla="*/ 78 h 118"/>
                <a:gd name="T34" fmla="*/ 0 w 3079"/>
                <a:gd name="T35" fmla="*/ 60 h 118"/>
                <a:gd name="T36" fmla="*/ 3 w 3079"/>
                <a:gd name="T37" fmla="*/ 40 h 118"/>
                <a:gd name="T38" fmla="*/ 12 w 3079"/>
                <a:gd name="T39" fmla="*/ 24 h 118"/>
                <a:gd name="T40" fmla="*/ 24 w 3079"/>
                <a:gd name="T41" fmla="*/ 11 h 118"/>
                <a:gd name="T42" fmla="*/ 40 w 3079"/>
                <a:gd name="T43" fmla="*/ 3 h 118"/>
                <a:gd name="T44" fmla="*/ 60 w 3079"/>
                <a:gd name="T45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079" h="118">
                  <a:moveTo>
                    <a:pt x="60" y="0"/>
                  </a:moveTo>
                  <a:lnTo>
                    <a:pt x="3019" y="0"/>
                  </a:lnTo>
                  <a:lnTo>
                    <a:pt x="3038" y="3"/>
                  </a:lnTo>
                  <a:lnTo>
                    <a:pt x="3055" y="11"/>
                  </a:lnTo>
                  <a:lnTo>
                    <a:pt x="3068" y="24"/>
                  </a:lnTo>
                  <a:lnTo>
                    <a:pt x="3076" y="40"/>
                  </a:lnTo>
                  <a:lnTo>
                    <a:pt x="3079" y="60"/>
                  </a:lnTo>
                  <a:lnTo>
                    <a:pt x="3076" y="78"/>
                  </a:lnTo>
                  <a:lnTo>
                    <a:pt x="3068" y="94"/>
                  </a:lnTo>
                  <a:lnTo>
                    <a:pt x="3055" y="107"/>
                  </a:lnTo>
                  <a:lnTo>
                    <a:pt x="3038" y="115"/>
                  </a:lnTo>
                  <a:lnTo>
                    <a:pt x="3019" y="118"/>
                  </a:lnTo>
                  <a:lnTo>
                    <a:pt x="60" y="118"/>
                  </a:lnTo>
                  <a:lnTo>
                    <a:pt x="40" y="115"/>
                  </a:lnTo>
                  <a:lnTo>
                    <a:pt x="24" y="107"/>
                  </a:lnTo>
                  <a:lnTo>
                    <a:pt x="12" y="94"/>
                  </a:lnTo>
                  <a:lnTo>
                    <a:pt x="3" y="78"/>
                  </a:lnTo>
                  <a:lnTo>
                    <a:pt x="0" y="60"/>
                  </a:lnTo>
                  <a:lnTo>
                    <a:pt x="3" y="40"/>
                  </a:lnTo>
                  <a:lnTo>
                    <a:pt x="12" y="24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6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28"/>
            <p:cNvSpPr>
              <a:spLocks/>
            </p:cNvSpPr>
            <p:nvPr/>
          </p:nvSpPr>
          <p:spPr bwMode="auto">
            <a:xfrm>
              <a:off x="5421313" y="3532188"/>
              <a:ext cx="431800" cy="19050"/>
            </a:xfrm>
            <a:custGeom>
              <a:avLst/>
              <a:gdLst>
                <a:gd name="T0" fmla="*/ 59 w 2723"/>
                <a:gd name="T1" fmla="*/ 0 h 118"/>
                <a:gd name="T2" fmla="*/ 2664 w 2723"/>
                <a:gd name="T3" fmla="*/ 0 h 118"/>
                <a:gd name="T4" fmla="*/ 2683 w 2723"/>
                <a:gd name="T5" fmla="*/ 3 h 118"/>
                <a:gd name="T6" fmla="*/ 2699 w 2723"/>
                <a:gd name="T7" fmla="*/ 12 h 118"/>
                <a:gd name="T8" fmla="*/ 2712 w 2723"/>
                <a:gd name="T9" fmla="*/ 24 h 118"/>
                <a:gd name="T10" fmla="*/ 2720 w 2723"/>
                <a:gd name="T11" fmla="*/ 40 h 118"/>
                <a:gd name="T12" fmla="*/ 2723 w 2723"/>
                <a:gd name="T13" fmla="*/ 59 h 118"/>
                <a:gd name="T14" fmla="*/ 2720 w 2723"/>
                <a:gd name="T15" fmla="*/ 78 h 118"/>
                <a:gd name="T16" fmla="*/ 2712 w 2723"/>
                <a:gd name="T17" fmla="*/ 94 h 118"/>
                <a:gd name="T18" fmla="*/ 2699 w 2723"/>
                <a:gd name="T19" fmla="*/ 106 h 118"/>
                <a:gd name="T20" fmla="*/ 2683 w 2723"/>
                <a:gd name="T21" fmla="*/ 115 h 118"/>
                <a:gd name="T22" fmla="*/ 2664 w 2723"/>
                <a:gd name="T23" fmla="*/ 118 h 118"/>
                <a:gd name="T24" fmla="*/ 59 w 2723"/>
                <a:gd name="T25" fmla="*/ 118 h 118"/>
                <a:gd name="T26" fmla="*/ 41 w 2723"/>
                <a:gd name="T27" fmla="*/ 115 h 118"/>
                <a:gd name="T28" fmla="*/ 24 w 2723"/>
                <a:gd name="T29" fmla="*/ 106 h 118"/>
                <a:gd name="T30" fmla="*/ 12 w 2723"/>
                <a:gd name="T31" fmla="*/ 94 h 118"/>
                <a:gd name="T32" fmla="*/ 3 w 2723"/>
                <a:gd name="T33" fmla="*/ 78 h 118"/>
                <a:gd name="T34" fmla="*/ 0 w 2723"/>
                <a:gd name="T35" fmla="*/ 59 h 118"/>
                <a:gd name="T36" fmla="*/ 3 w 2723"/>
                <a:gd name="T37" fmla="*/ 40 h 118"/>
                <a:gd name="T38" fmla="*/ 12 w 2723"/>
                <a:gd name="T39" fmla="*/ 24 h 118"/>
                <a:gd name="T40" fmla="*/ 24 w 2723"/>
                <a:gd name="T41" fmla="*/ 12 h 118"/>
                <a:gd name="T42" fmla="*/ 41 w 2723"/>
                <a:gd name="T43" fmla="*/ 3 h 118"/>
                <a:gd name="T44" fmla="*/ 59 w 2723"/>
                <a:gd name="T45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723" h="118">
                  <a:moveTo>
                    <a:pt x="59" y="0"/>
                  </a:moveTo>
                  <a:lnTo>
                    <a:pt x="2664" y="0"/>
                  </a:lnTo>
                  <a:lnTo>
                    <a:pt x="2683" y="3"/>
                  </a:lnTo>
                  <a:lnTo>
                    <a:pt x="2699" y="12"/>
                  </a:lnTo>
                  <a:lnTo>
                    <a:pt x="2712" y="24"/>
                  </a:lnTo>
                  <a:lnTo>
                    <a:pt x="2720" y="40"/>
                  </a:lnTo>
                  <a:lnTo>
                    <a:pt x="2723" y="59"/>
                  </a:lnTo>
                  <a:lnTo>
                    <a:pt x="2720" y="78"/>
                  </a:lnTo>
                  <a:lnTo>
                    <a:pt x="2712" y="94"/>
                  </a:lnTo>
                  <a:lnTo>
                    <a:pt x="2699" y="106"/>
                  </a:lnTo>
                  <a:lnTo>
                    <a:pt x="2683" y="115"/>
                  </a:lnTo>
                  <a:lnTo>
                    <a:pt x="2664" y="118"/>
                  </a:lnTo>
                  <a:lnTo>
                    <a:pt x="59" y="118"/>
                  </a:lnTo>
                  <a:lnTo>
                    <a:pt x="41" y="115"/>
                  </a:lnTo>
                  <a:lnTo>
                    <a:pt x="24" y="106"/>
                  </a:lnTo>
                  <a:lnTo>
                    <a:pt x="12" y="94"/>
                  </a:lnTo>
                  <a:lnTo>
                    <a:pt x="3" y="78"/>
                  </a:lnTo>
                  <a:lnTo>
                    <a:pt x="0" y="59"/>
                  </a:lnTo>
                  <a:lnTo>
                    <a:pt x="3" y="40"/>
                  </a:lnTo>
                  <a:lnTo>
                    <a:pt x="12" y="24"/>
                  </a:lnTo>
                  <a:lnTo>
                    <a:pt x="24" y="12"/>
                  </a:lnTo>
                  <a:lnTo>
                    <a:pt x="41" y="3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29"/>
            <p:cNvSpPr>
              <a:spLocks/>
            </p:cNvSpPr>
            <p:nvPr/>
          </p:nvSpPr>
          <p:spPr bwMode="auto">
            <a:xfrm>
              <a:off x="5448300" y="3495675"/>
              <a:ext cx="376237" cy="17463"/>
            </a:xfrm>
            <a:custGeom>
              <a:avLst/>
              <a:gdLst>
                <a:gd name="T0" fmla="*/ 60 w 2369"/>
                <a:gd name="T1" fmla="*/ 0 h 118"/>
                <a:gd name="T2" fmla="*/ 2309 w 2369"/>
                <a:gd name="T3" fmla="*/ 0 h 118"/>
                <a:gd name="T4" fmla="*/ 2328 w 2369"/>
                <a:gd name="T5" fmla="*/ 3 h 118"/>
                <a:gd name="T6" fmla="*/ 2344 w 2369"/>
                <a:gd name="T7" fmla="*/ 11 h 118"/>
                <a:gd name="T8" fmla="*/ 2358 w 2369"/>
                <a:gd name="T9" fmla="*/ 24 h 118"/>
                <a:gd name="T10" fmla="*/ 2366 w 2369"/>
                <a:gd name="T11" fmla="*/ 40 h 118"/>
                <a:gd name="T12" fmla="*/ 2369 w 2369"/>
                <a:gd name="T13" fmla="*/ 58 h 118"/>
                <a:gd name="T14" fmla="*/ 2366 w 2369"/>
                <a:gd name="T15" fmla="*/ 78 h 118"/>
                <a:gd name="T16" fmla="*/ 2358 w 2369"/>
                <a:gd name="T17" fmla="*/ 94 h 118"/>
                <a:gd name="T18" fmla="*/ 2344 w 2369"/>
                <a:gd name="T19" fmla="*/ 107 h 118"/>
                <a:gd name="T20" fmla="*/ 2328 w 2369"/>
                <a:gd name="T21" fmla="*/ 115 h 118"/>
                <a:gd name="T22" fmla="*/ 2309 w 2369"/>
                <a:gd name="T23" fmla="*/ 118 h 118"/>
                <a:gd name="T24" fmla="*/ 60 w 2369"/>
                <a:gd name="T25" fmla="*/ 118 h 118"/>
                <a:gd name="T26" fmla="*/ 41 w 2369"/>
                <a:gd name="T27" fmla="*/ 115 h 118"/>
                <a:gd name="T28" fmla="*/ 24 w 2369"/>
                <a:gd name="T29" fmla="*/ 107 h 118"/>
                <a:gd name="T30" fmla="*/ 12 w 2369"/>
                <a:gd name="T31" fmla="*/ 94 h 118"/>
                <a:gd name="T32" fmla="*/ 3 w 2369"/>
                <a:gd name="T33" fmla="*/ 78 h 118"/>
                <a:gd name="T34" fmla="*/ 0 w 2369"/>
                <a:gd name="T35" fmla="*/ 58 h 118"/>
                <a:gd name="T36" fmla="*/ 3 w 2369"/>
                <a:gd name="T37" fmla="*/ 40 h 118"/>
                <a:gd name="T38" fmla="*/ 12 w 2369"/>
                <a:gd name="T39" fmla="*/ 24 h 118"/>
                <a:gd name="T40" fmla="*/ 24 w 2369"/>
                <a:gd name="T41" fmla="*/ 11 h 118"/>
                <a:gd name="T42" fmla="*/ 41 w 2369"/>
                <a:gd name="T43" fmla="*/ 3 h 118"/>
                <a:gd name="T44" fmla="*/ 60 w 2369"/>
                <a:gd name="T45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369" h="118">
                  <a:moveTo>
                    <a:pt x="60" y="0"/>
                  </a:moveTo>
                  <a:lnTo>
                    <a:pt x="2309" y="0"/>
                  </a:lnTo>
                  <a:lnTo>
                    <a:pt x="2328" y="3"/>
                  </a:lnTo>
                  <a:lnTo>
                    <a:pt x="2344" y="11"/>
                  </a:lnTo>
                  <a:lnTo>
                    <a:pt x="2358" y="24"/>
                  </a:lnTo>
                  <a:lnTo>
                    <a:pt x="2366" y="40"/>
                  </a:lnTo>
                  <a:lnTo>
                    <a:pt x="2369" y="58"/>
                  </a:lnTo>
                  <a:lnTo>
                    <a:pt x="2366" y="78"/>
                  </a:lnTo>
                  <a:lnTo>
                    <a:pt x="2358" y="94"/>
                  </a:lnTo>
                  <a:lnTo>
                    <a:pt x="2344" y="107"/>
                  </a:lnTo>
                  <a:lnTo>
                    <a:pt x="2328" y="115"/>
                  </a:lnTo>
                  <a:lnTo>
                    <a:pt x="2309" y="118"/>
                  </a:lnTo>
                  <a:lnTo>
                    <a:pt x="60" y="118"/>
                  </a:lnTo>
                  <a:lnTo>
                    <a:pt x="41" y="115"/>
                  </a:lnTo>
                  <a:lnTo>
                    <a:pt x="24" y="107"/>
                  </a:lnTo>
                  <a:lnTo>
                    <a:pt x="12" y="94"/>
                  </a:lnTo>
                  <a:lnTo>
                    <a:pt x="3" y="78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2" y="24"/>
                  </a:lnTo>
                  <a:lnTo>
                    <a:pt x="24" y="11"/>
                  </a:lnTo>
                  <a:lnTo>
                    <a:pt x="41" y="3"/>
                  </a:lnTo>
                  <a:lnTo>
                    <a:pt x="6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688740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ехническое содействие в государствах — участниках ЕФСР</a:t>
            </a:r>
            <a:r>
              <a:rPr lang="en-US" dirty="0" smtClean="0"/>
              <a:t> (2/2)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idx="16"/>
          </p:nvPr>
        </p:nvSpPr>
        <p:spPr/>
        <p:txBody>
          <a:bodyPr/>
          <a:lstStyle/>
          <a:p>
            <a:r>
              <a:rPr lang="en-US" smtClean="0"/>
              <a:t>Footer goes here</a:t>
            </a:r>
            <a:endParaRPr lang="en-US" dirty="0" smtClean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idx="17"/>
          </p:nvPr>
        </p:nvSpPr>
        <p:spPr/>
        <p:txBody>
          <a:bodyPr/>
          <a:lstStyle/>
          <a:p>
            <a:fld id="{00000000-1234-1234-1234-123412341234}" type="slidenum">
              <a:rPr lang="en-GB" smtClean="0"/>
              <a:pPr/>
              <a:t>11</a:t>
            </a:fld>
            <a:endParaRPr lang="en-GB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1896899"/>
              </p:ext>
            </p:extLst>
          </p:nvPr>
        </p:nvGraphicFramePr>
        <p:xfrm>
          <a:off x="442911" y="1520824"/>
          <a:ext cx="11306176" cy="4788022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894936">
                  <a:extLst>
                    <a:ext uri="{9D8B030D-6E8A-4147-A177-3AD203B41FA5}">
                      <a16:colId xmlns:a16="http://schemas.microsoft.com/office/drawing/2014/main" val="3318691515"/>
                    </a:ext>
                  </a:extLst>
                </a:gridCol>
                <a:gridCol w="3137080">
                  <a:extLst>
                    <a:ext uri="{9D8B030D-6E8A-4147-A177-3AD203B41FA5}">
                      <a16:colId xmlns:a16="http://schemas.microsoft.com/office/drawing/2014/main" val="794945494"/>
                    </a:ext>
                  </a:extLst>
                </a:gridCol>
                <a:gridCol w="3137080">
                  <a:extLst>
                    <a:ext uri="{9D8B030D-6E8A-4147-A177-3AD203B41FA5}">
                      <a16:colId xmlns:a16="http://schemas.microsoft.com/office/drawing/2014/main" val="3439851866"/>
                    </a:ext>
                  </a:extLst>
                </a:gridCol>
                <a:gridCol w="3137080">
                  <a:extLst>
                    <a:ext uri="{9D8B030D-6E8A-4147-A177-3AD203B41FA5}">
                      <a16:colId xmlns:a16="http://schemas.microsoft.com/office/drawing/2014/main" val="64193413"/>
                    </a:ext>
                  </a:extLst>
                </a:gridCol>
              </a:tblGrid>
              <a:tr h="39600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/>
                        <a:t>Kyrgyzstan</a:t>
                      </a:r>
                      <a:endParaRPr lang="ru-RU" sz="170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/>
                        <a:t>Russia</a:t>
                      </a:r>
                      <a:endParaRPr lang="ru-RU" sz="170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/>
                        <a:t>Tajikistan</a:t>
                      </a:r>
                      <a:endParaRPr lang="ru-RU" sz="170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9392995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bg2"/>
                          </a:solidFill>
                        </a:rPr>
                        <a:t>Number of TA projects</a:t>
                      </a:r>
                      <a:endParaRPr lang="ru-RU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328</a:t>
                      </a:r>
                      <a:endParaRPr lang="ru-RU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3D36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253</a:t>
                      </a:r>
                      <a:endParaRPr lang="ru-RU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89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284</a:t>
                      </a:r>
                      <a:endParaRPr lang="ru-RU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19B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3186515"/>
                  </a:ext>
                </a:extLst>
              </a:tr>
              <a:tr h="1998011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bg2"/>
                          </a:solidFill>
                        </a:rPr>
                        <a:t>Main donors</a:t>
                      </a:r>
                      <a:endParaRPr lang="ru-RU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ADB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– 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36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,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en-US" dirty="0" smtClean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IMF – 72</a:t>
                      </a:r>
                    </a:p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(Monetary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— 28, 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Statistics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— 22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,</a:t>
                      </a:r>
                      <a:endParaRPr lang="ru-RU" dirty="0" smtClean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Law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— 22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), </a:t>
                      </a:r>
                    </a:p>
                    <a:p>
                      <a:r>
                        <a:rPr lang="en-US" dirty="0" smtClean="0">
                          <a:solidFill>
                            <a:srgbClr val="FF0000"/>
                          </a:solidFill>
                        </a:rPr>
                        <a:t>…</a:t>
                      </a:r>
                      <a:endParaRPr lang="ru-RU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3D36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World Bank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— 69,</a:t>
                      </a:r>
                    </a:p>
                    <a:p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USAID — 170,</a:t>
                      </a:r>
                    </a:p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EDB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— 12,</a:t>
                      </a:r>
                    </a:p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NDB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— 2.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89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World Bank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— 86,</a:t>
                      </a:r>
                      <a:endParaRPr lang="en-US" dirty="0" smtClean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USAID — 85,</a:t>
                      </a:r>
                    </a:p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IMF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— 68,</a:t>
                      </a:r>
                    </a:p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ADB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— 31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,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</a:t>
                      </a:r>
                    </a:p>
                    <a:p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ЕАБР и ЕБРР  — по 2 проекта. </a:t>
                      </a:r>
                    </a:p>
                    <a:p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JICA — 5 проектов,</a:t>
                      </a:r>
                    </a:p>
                    <a:p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SDC — 2 проекта. </a:t>
                      </a:r>
                    </a:p>
                    <a:p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ИБР — 3</a:t>
                      </a:r>
                      <a:endParaRPr lang="ru-RU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19B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2608771"/>
                  </a:ext>
                </a:extLst>
              </a:tr>
              <a:tr h="1998011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bg2"/>
                          </a:solidFill>
                        </a:rPr>
                        <a:t>Main topics</a:t>
                      </a:r>
                      <a:endParaRPr lang="ru-RU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Macroeconomics</a:t>
                      </a:r>
                      <a:r>
                        <a:rPr lang="ru-RU" baseline="0" dirty="0" smtClean="0">
                          <a:solidFill>
                            <a:schemeClr val="bg1"/>
                          </a:solidFill>
                        </a:rPr>
                        <a:t> – 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91,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Economic Development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– 53,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Agriculture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–</a:t>
                      </a:r>
                      <a:r>
                        <a:rPr lang="ru-RU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27,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Energy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– 11,</a:t>
                      </a: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3D36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Public Administration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(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implemented mainly by</a:t>
                      </a:r>
                      <a:r>
                        <a:rPr lang="en-US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USAID).</a:t>
                      </a:r>
                      <a:endParaRPr lang="en-US" dirty="0" smtClean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2</a:t>
                      </a:r>
                      <a:r>
                        <a:rPr lang="en-US" baseline="0" dirty="0" smtClean="0">
                          <a:solidFill>
                            <a:schemeClr val="bg1"/>
                          </a:solidFill>
                        </a:rPr>
                        <a:t> NDB projects in transport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.</a:t>
                      </a:r>
                    </a:p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WB implemented projects</a:t>
                      </a:r>
                      <a:r>
                        <a:rPr lang="en-US" baseline="0" dirty="0" smtClean="0">
                          <a:solidFill>
                            <a:schemeClr val="bg1"/>
                          </a:solidFill>
                        </a:rPr>
                        <a:t> in 11 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different areas.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ru-RU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89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Public</a:t>
                      </a:r>
                      <a:r>
                        <a:rPr lang="en-US" baseline="0" dirty="0" smtClean="0">
                          <a:solidFill>
                            <a:schemeClr val="bg1"/>
                          </a:solidFill>
                        </a:rPr>
                        <a:t> Administration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— 73,</a:t>
                      </a:r>
                    </a:p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Macroeconomics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— 67, </a:t>
                      </a:r>
                    </a:p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Agriculture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— 28, 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/>
                      </a:r>
                      <a:br>
                        <a:rPr lang="en-US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Economic Development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— 22,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/>
                      </a:r>
                      <a:br>
                        <a:rPr lang="en-US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Health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— 22, 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Infrastructure and</a:t>
                      </a:r>
                      <a:r>
                        <a:rPr lang="en-US" baseline="0" dirty="0" smtClean="0">
                          <a:solidFill>
                            <a:schemeClr val="bg1"/>
                          </a:solidFill>
                        </a:rPr>
                        <a:t> urbanization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 — 12, 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Social protection and transport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— 10</a:t>
                      </a:r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 each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, </a:t>
                      </a:r>
                    </a:p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Oil, gas, energy</a:t>
                      </a:r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— 9.</a:t>
                      </a:r>
                      <a:endParaRPr lang="ru-RU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19B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8582742"/>
                  </a:ext>
                </a:extLst>
              </a:tr>
            </a:tbl>
          </a:graphicData>
        </a:graphic>
      </p:graphicFrame>
      <p:grpSp>
        <p:nvGrpSpPr>
          <p:cNvPr id="10" name="Group 961"/>
          <p:cNvGrpSpPr/>
          <p:nvPr/>
        </p:nvGrpSpPr>
        <p:grpSpPr>
          <a:xfrm>
            <a:off x="985626" y="2943126"/>
            <a:ext cx="579223" cy="714475"/>
            <a:chOff x="5364163" y="4233863"/>
            <a:chExt cx="509588" cy="552450"/>
          </a:xfrm>
          <a:solidFill>
            <a:srgbClr val="343467"/>
          </a:solidFill>
        </p:grpSpPr>
        <p:sp>
          <p:nvSpPr>
            <p:cNvPr id="11" name="Freeform 326"/>
            <p:cNvSpPr>
              <a:spLocks noEditPoints="1"/>
            </p:cNvSpPr>
            <p:nvPr/>
          </p:nvSpPr>
          <p:spPr bwMode="auto">
            <a:xfrm>
              <a:off x="5364163" y="4233863"/>
              <a:ext cx="509588" cy="552450"/>
            </a:xfrm>
            <a:custGeom>
              <a:avLst/>
              <a:gdLst>
                <a:gd name="T0" fmla="*/ 2072 w 3215"/>
                <a:gd name="T1" fmla="*/ 1003 h 3481"/>
                <a:gd name="T2" fmla="*/ 2072 w 3215"/>
                <a:gd name="T3" fmla="*/ 3340 h 3481"/>
                <a:gd name="T4" fmla="*/ 3075 w 3215"/>
                <a:gd name="T5" fmla="*/ 3340 h 3481"/>
                <a:gd name="T6" fmla="*/ 3075 w 3215"/>
                <a:gd name="T7" fmla="*/ 1003 h 3481"/>
                <a:gd name="T8" fmla="*/ 2072 w 3215"/>
                <a:gd name="T9" fmla="*/ 1003 h 3481"/>
                <a:gd name="T10" fmla="*/ 140 w 3215"/>
                <a:gd name="T11" fmla="*/ 141 h 3481"/>
                <a:gd name="T12" fmla="*/ 140 w 3215"/>
                <a:gd name="T13" fmla="*/ 3340 h 3481"/>
                <a:gd name="T14" fmla="*/ 1931 w 3215"/>
                <a:gd name="T15" fmla="*/ 3340 h 3481"/>
                <a:gd name="T16" fmla="*/ 1931 w 3215"/>
                <a:gd name="T17" fmla="*/ 141 h 3481"/>
                <a:gd name="T18" fmla="*/ 140 w 3215"/>
                <a:gd name="T19" fmla="*/ 141 h 3481"/>
                <a:gd name="T20" fmla="*/ 70 w 3215"/>
                <a:gd name="T21" fmla="*/ 0 h 3481"/>
                <a:gd name="T22" fmla="*/ 2001 w 3215"/>
                <a:gd name="T23" fmla="*/ 0 h 3481"/>
                <a:gd name="T24" fmla="*/ 2020 w 3215"/>
                <a:gd name="T25" fmla="*/ 3 h 3481"/>
                <a:gd name="T26" fmla="*/ 2037 w 3215"/>
                <a:gd name="T27" fmla="*/ 10 h 3481"/>
                <a:gd name="T28" fmla="*/ 2051 w 3215"/>
                <a:gd name="T29" fmla="*/ 21 h 3481"/>
                <a:gd name="T30" fmla="*/ 2062 w 3215"/>
                <a:gd name="T31" fmla="*/ 35 h 3481"/>
                <a:gd name="T32" fmla="*/ 2069 w 3215"/>
                <a:gd name="T33" fmla="*/ 52 h 3481"/>
                <a:gd name="T34" fmla="*/ 2072 w 3215"/>
                <a:gd name="T35" fmla="*/ 71 h 3481"/>
                <a:gd name="T36" fmla="*/ 2072 w 3215"/>
                <a:gd name="T37" fmla="*/ 862 h 3481"/>
                <a:gd name="T38" fmla="*/ 3144 w 3215"/>
                <a:gd name="T39" fmla="*/ 862 h 3481"/>
                <a:gd name="T40" fmla="*/ 3163 w 3215"/>
                <a:gd name="T41" fmla="*/ 865 h 3481"/>
                <a:gd name="T42" fmla="*/ 3180 w 3215"/>
                <a:gd name="T43" fmla="*/ 872 h 3481"/>
                <a:gd name="T44" fmla="*/ 3194 w 3215"/>
                <a:gd name="T45" fmla="*/ 883 h 3481"/>
                <a:gd name="T46" fmla="*/ 3205 w 3215"/>
                <a:gd name="T47" fmla="*/ 897 h 3481"/>
                <a:gd name="T48" fmla="*/ 3213 w 3215"/>
                <a:gd name="T49" fmla="*/ 914 h 3481"/>
                <a:gd name="T50" fmla="*/ 3215 w 3215"/>
                <a:gd name="T51" fmla="*/ 933 h 3481"/>
                <a:gd name="T52" fmla="*/ 3215 w 3215"/>
                <a:gd name="T53" fmla="*/ 3410 h 3481"/>
                <a:gd name="T54" fmla="*/ 3213 w 3215"/>
                <a:gd name="T55" fmla="*/ 3429 h 3481"/>
                <a:gd name="T56" fmla="*/ 3205 w 3215"/>
                <a:gd name="T57" fmla="*/ 3446 h 3481"/>
                <a:gd name="T58" fmla="*/ 3194 w 3215"/>
                <a:gd name="T59" fmla="*/ 3459 h 3481"/>
                <a:gd name="T60" fmla="*/ 3180 w 3215"/>
                <a:gd name="T61" fmla="*/ 3471 h 3481"/>
                <a:gd name="T62" fmla="*/ 3163 w 3215"/>
                <a:gd name="T63" fmla="*/ 3477 h 3481"/>
                <a:gd name="T64" fmla="*/ 3144 w 3215"/>
                <a:gd name="T65" fmla="*/ 3481 h 3481"/>
                <a:gd name="T66" fmla="*/ 70 w 3215"/>
                <a:gd name="T67" fmla="*/ 3481 h 3481"/>
                <a:gd name="T68" fmla="*/ 52 w 3215"/>
                <a:gd name="T69" fmla="*/ 3477 h 3481"/>
                <a:gd name="T70" fmla="*/ 35 w 3215"/>
                <a:gd name="T71" fmla="*/ 3471 h 3481"/>
                <a:gd name="T72" fmla="*/ 20 w 3215"/>
                <a:gd name="T73" fmla="*/ 3459 h 3481"/>
                <a:gd name="T74" fmla="*/ 9 w 3215"/>
                <a:gd name="T75" fmla="*/ 3446 h 3481"/>
                <a:gd name="T76" fmla="*/ 2 w 3215"/>
                <a:gd name="T77" fmla="*/ 3429 h 3481"/>
                <a:gd name="T78" fmla="*/ 0 w 3215"/>
                <a:gd name="T79" fmla="*/ 3410 h 3481"/>
                <a:gd name="T80" fmla="*/ 0 w 3215"/>
                <a:gd name="T81" fmla="*/ 71 h 3481"/>
                <a:gd name="T82" fmla="*/ 2 w 3215"/>
                <a:gd name="T83" fmla="*/ 52 h 3481"/>
                <a:gd name="T84" fmla="*/ 9 w 3215"/>
                <a:gd name="T85" fmla="*/ 35 h 3481"/>
                <a:gd name="T86" fmla="*/ 20 w 3215"/>
                <a:gd name="T87" fmla="*/ 21 h 3481"/>
                <a:gd name="T88" fmla="*/ 35 w 3215"/>
                <a:gd name="T89" fmla="*/ 10 h 3481"/>
                <a:gd name="T90" fmla="*/ 52 w 3215"/>
                <a:gd name="T91" fmla="*/ 3 h 3481"/>
                <a:gd name="T92" fmla="*/ 70 w 3215"/>
                <a:gd name="T93" fmla="*/ 0 h 3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215" h="3481">
                  <a:moveTo>
                    <a:pt x="2072" y="1003"/>
                  </a:moveTo>
                  <a:lnTo>
                    <a:pt x="2072" y="3340"/>
                  </a:lnTo>
                  <a:lnTo>
                    <a:pt x="3075" y="3340"/>
                  </a:lnTo>
                  <a:lnTo>
                    <a:pt x="3075" y="1003"/>
                  </a:lnTo>
                  <a:lnTo>
                    <a:pt x="2072" y="1003"/>
                  </a:lnTo>
                  <a:close/>
                  <a:moveTo>
                    <a:pt x="140" y="141"/>
                  </a:moveTo>
                  <a:lnTo>
                    <a:pt x="140" y="3340"/>
                  </a:lnTo>
                  <a:lnTo>
                    <a:pt x="1931" y="3340"/>
                  </a:lnTo>
                  <a:lnTo>
                    <a:pt x="1931" y="141"/>
                  </a:lnTo>
                  <a:lnTo>
                    <a:pt x="140" y="141"/>
                  </a:lnTo>
                  <a:close/>
                  <a:moveTo>
                    <a:pt x="70" y="0"/>
                  </a:moveTo>
                  <a:lnTo>
                    <a:pt x="2001" y="0"/>
                  </a:lnTo>
                  <a:lnTo>
                    <a:pt x="2020" y="3"/>
                  </a:lnTo>
                  <a:lnTo>
                    <a:pt x="2037" y="10"/>
                  </a:lnTo>
                  <a:lnTo>
                    <a:pt x="2051" y="21"/>
                  </a:lnTo>
                  <a:lnTo>
                    <a:pt x="2062" y="35"/>
                  </a:lnTo>
                  <a:lnTo>
                    <a:pt x="2069" y="52"/>
                  </a:lnTo>
                  <a:lnTo>
                    <a:pt x="2072" y="71"/>
                  </a:lnTo>
                  <a:lnTo>
                    <a:pt x="2072" y="862"/>
                  </a:lnTo>
                  <a:lnTo>
                    <a:pt x="3144" y="862"/>
                  </a:lnTo>
                  <a:lnTo>
                    <a:pt x="3163" y="865"/>
                  </a:lnTo>
                  <a:lnTo>
                    <a:pt x="3180" y="872"/>
                  </a:lnTo>
                  <a:lnTo>
                    <a:pt x="3194" y="883"/>
                  </a:lnTo>
                  <a:lnTo>
                    <a:pt x="3205" y="897"/>
                  </a:lnTo>
                  <a:lnTo>
                    <a:pt x="3213" y="914"/>
                  </a:lnTo>
                  <a:lnTo>
                    <a:pt x="3215" y="933"/>
                  </a:lnTo>
                  <a:lnTo>
                    <a:pt x="3215" y="3410"/>
                  </a:lnTo>
                  <a:lnTo>
                    <a:pt x="3213" y="3429"/>
                  </a:lnTo>
                  <a:lnTo>
                    <a:pt x="3205" y="3446"/>
                  </a:lnTo>
                  <a:lnTo>
                    <a:pt x="3194" y="3459"/>
                  </a:lnTo>
                  <a:lnTo>
                    <a:pt x="3180" y="3471"/>
                  </a:lnTo>
                  <a:lnTo>
                    <a:pt x="3163" y="3477"/>
                  </a:lnTo>
                  <a:lnTo>
                    <a:pt x="3144" y="3481"/>
                  </a:lnTo>
                  <a:lnTo>
                    <a:pt x="70" y="3481"/>
                  </a:lnTo>
                  <a:lnTo>
                    <a:pt x="52" y="3477"/>
                  </a:lnTo>
                  <a:lnTo>
                    <a:pt x="35" y="3471"/>
                  </a:lnTo>
                  <a:lnTo>
                    <a:pt x="20" y="3459"/>
                  </a:lnTo>
                  <a:lnTo>
                    <a:pt x="9" y="3446"/>
                  </a:lnTo>
                  <a:lnTo>
                    <a:pt x="2" y="3429"/>
                  </a:lnTo>
                  <a:lnTo>
                    <a:pt x="0" y="3410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9" y="35"/>
                  </a:lnTo>
                  <a:lnTo>
                    <a:pt x="20" y="21"/>
                  </a:lnTo>
                  <a:lnTo>
                    <a:pt x="35" y="10"/>
                  </a:lnTo>
                  <a:lnTo>
                    <a:pt x="52" y="3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327"/>
            <p:cNvSpPr>
              <a:spLocks/>
            </p:cNvSpPr>
            <p:nvPr/>
          </p:nvSpPr>
          <p:spPr bwMode="auto">
            <a:xfrm>
              <a:off x="5724526" y="4427538"/>
              <a:ext cx="95250" cy="22225"/>
            </a:xfrm>
            <a:custGeom>
              <a:avLst/>
              <a:gdLst>
                <a:gd name="T0" fmla="*/ 69 w 596"/>
                <a:gd name="T1" fmla="*/ 0 h 141"/>
                <a:gd name="T2" fmla="*/ 527 w 596"/>
                <a:gd name="T3" fmla="*/ 0 h 141"/>
                <a:gd name="T4" fmla="*/ 545 w 596"/>
                <a:gd name="T5" fmla="*/ 4 h 141"/>
                <a:gd name="T6" fmla="*/ 561 w 596"/>
                <a:gd name="T7" fmla="*/ 10 h 141"/>
                <a:gd name="T8" fmla="*/ 576 w 596"/>
                <a:gd name="T9" fmla="*/ 22 h 141"/>
                <a:gd name="T10" fmla="*/ 587 w 596"/>
                <a:gd name="T11" fmla="*/ 35 h 141"/>
                <a:gd name="T12" fmla="*/ 594 w 596"/>
                <a:gd name="T13" fmla="*/ 52 h 141"/>
                <a:gd name="T14" fmla="*/ 596 w 596"/>
                <a:gd name="T15" fmla="*/ 71 h 141"/>
                <a:gd name="T16" fmla="*/ 594 w 596"/>
                <a:gd name="T17" fmla="*/ 90 h 141"/>
                <a:gd name="T18" fmla="*/ 587 w 596"/>
                <a:gd name="T19" fmla="*/ 107 h 141"/>
                <a:gd name="T20" fmla="*/ 576 w 596"/>
                <a:gd name="T21" fmla="*/ 121 h 141"/>
                <a:gd name="T22" fmla="*/ 561 w 596"/>
                <a:gd name="T23" fmla="*/ 132 h 141"/>
                <a:gd name="T24" fmla="*/ 545 w 596"/>
                <a:gd name="T25" fmla="*/ 139 h 141"/>
                <a:gd name="T26" fmla="*/ 527 w 596"/>
                <a:gd name="T27" fmla="*/ 141 h 141"/>
                <a:gd name="T28" fmla="*/ 69 w 596"/>
                <a:gd name="T29" fmla="*/ 141 h 141"/>
                <a:gd name="T30" fmla="*/ 51 w 596"/>
                <a:gd name="T31" fmla="*/ 139 h 141"/>
                <a:gd name="T32" fmla="*/ 35 w 596"/>
                <a:gd name="T33" fmla="*/ 132 h 141"/>
                <a:gd name="T34" fmla="*/ 20 w 596"/>
                <a:gd name="T35" fmla="*/ 121 h 141"/>
                <a:gd name="T36" fmla="*/ 9 w 596"/>
                <a:gd name="T37" fmla="*/ 106 h 141"/>
                <a:gd name="T38" fmla="*/ 2 w 596"/>
                <a:gd name="T39" fmla="*/ 89 h 141"/>
                <a:gd name="T40" fmla="*/ 0 w 596"/>
                <a:gd name="T41" fmla="*/ 71 h 141"/>
                <a:gd name="T42" fmla="*/ 2 w 596"/>
                <a:gd name="T43" fmla="*/ 52 h 141"/>
                <a:gd name="T44" fmla="*/ 9 w 596"/>
                <a:gd name="T45" fmla="*/ 35 h 141"/>
                <a:gd name="T46" fmla="*/ 20 w 596"/>
                <a:gd name="T47" fmla="*/ 22 h 141"/>
                <a:gd name="T48" fmla="*/ 35 w 596"/>
                <a:gd name="T49" fmla="*/ 10 h 141"/>
                <a:gd name="T50" fmla="*/ 51 w 596"/>
                <a:gd name="T51" fmla="*/ 4 h 141"/>
                <a:gd name="T52" fmla="*/ 69 w 596"/>
                <a:gd name="T53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96" h="141">
                  <a:moveTo>
                    <a:pt x="69" y="0"/>
                  </a:moveTo>
                  <a:lnTo>
                    <a:pt x="527" y="0"/>
                  </a:lnTo>
                  <a:lnTo>
                    <a:pt x="545" y="4"/>
                  </a:lnTo>
                  <a:lnTo>
                    <a:pt x="561" y="10"/>
                  </a:lnTo>
                  <a:lnTo>
                    <a:pt x="576" y="22"/>
                  </a:lnTo>
                  <a:lnTo>
                    <a:pt x="587" y="35"/>
                  </a:lnTo>
                  <a:lnTo>
                    <a:pt x="594" y="52"/>
                  </a:lnTo>
                  <a:lnTo>
                    <a:pt x="596" y="71"/>
                  </a:lnTo>
                  <a:lnTo>
                    <a:pt x="594" y="90"/>
                  </a:lnTo>
                  <a:lnTo>
                    <a:pt x="587" y="107"/>
                  </a:lnTo>
                  <a:lnTo>
                    <a:pt x="576" y="121"/>
                  </a:lnTo>
                  <a:lnTo>
                    <a:pt x="561" y="132"/>
                  </a:lnTo>
                  <a:lnTo>
                    <a:pt x="545" y="139"/>
                  </a:lnTo>
                  <a:lnTo>
                    <a:pt x="527" y="141"/>
                  </a:lnTo>
                  <a:lnTo>
                    <a:pt x="69" y="141"/>
                  </a:lnTo>
                  <a:lnTo>
                    <a:pt x="51" y="139"/>
                  </a:lnTo>
                  <a:lnTo>
                    <a:pt x="35" y="132"/>
                  </a:lnTo>
                  <a:lnTo>
                    <a:pt x="20" y="121"/>
                  </a:lnTo>
                  <a:lnTo>
                    <a:pt x="9" y="106"/>
                  </a:lnTo>
                  <a:lnTo>
                    <a:pt x="2" y="89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9" y="35"/>
                  </a:lnTo>
                  <a:lnTo>
                    <a:pt x="20" y="22"/>
                  </a:lnTo>
                  <a:lnTo>
                    <a:pt x="35" y="10"/>
                  </a:lnTo>
                  <a:lnTo>
                    <a:pt x="51" y="4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328"/>
            <p:cNvSpPr>
              <a:spLocks/>
            </p:cNvSpPr>
            <p:nvPr/>
          </p:nvSpPr>
          <p:spPr bwMode="auto">
            <a:xfrm>
              <a:off x="5724526" y="4483100"/>
              <a:ext cx="95250" cy="22225"/>
            </a:xfrm>
            <a:custGeom>
              <a:avLst/>
              <a:gdLst>
                <a:gd name="T0" fmla="*/ 69 w 596"/>
                <a:gd name="T1" fmla="*/ 0 h 140"/>
                <a:gd name="T2" fmla="*/ 527 w 596"/>
                <a:gd name="T3" fmla="*/ 0 h 140"/>
                <a:gd name="T4" fmla="*/ 545 w 596"/>
                <a:gd name="T5" fmla="*/ 3 h 140"/>
                <a:gd name="T6" fmla="*/ 561 w 596"/>
                <a:gd name="T7" fmla="*/ 9 h 140"/>
                <a:gd name="T8" fmla="*/ 576 w 596"/>
                <a:gd name="T9" fmla="*/ 21 h 140"/>
                <a:gd name="T10" fmla="*/ 587 w 596"/>
                <a:gd name="T11" fmla="*/ 35 h 140"/>
                <a:gd name="T12" fmla="*/ 594 w 596"/>
                <a:gd name="T13" fmla="*/ 51 h 140"/>
                <a:gd name="T14" fmla="*/ 596 w 596"/>
                <a:gd name="T15" fmla="*/ 70 h 140"/>
                <a:gd name="T16" fmla="*/ 594 w 596"/>
                <a:gd name="T17" fmla="*/ 90 h 140"/>
                <a:gd name="T18" fmla="*/ 587 w 596"/>
                <a:gd name="T19" fmla="*/ 105 h 140"/>
                <a:gd name="T20" fmla="*/ 576 w 596"/>
                <a:gd name="T21" fmla="*/ 120 h 140"/>
                <a:gd name="T22" fmla="*/ 561 w 596"/>
                <a:gd name="T23" fmla="*/ 131 h 140"/>
                <a:gd name="T24" fmla="*/ 545 w 596"/>
                <a:gd name="T25" fmla="*/ 138 h 140"/>
                <a:gd name="T26" fmla="*/ 527 w 596"/>
                <a:gd name="T27" fmla="*/ 140 h 140"/>
                <a:gd name="T28" fmla="*/ 69 w 596"/>
                <a:gd name="T29" fmla="*/ 140 h 140"/>
                <a:gd name="T30" fmla="*/ 51 w 596"/>
                <a:gd name="T31" fmla="*/ 138 h 140"/>
                <a:gd name="T32" fmla="*/ 35 w 596"/>
                <a:gd name="T33" fmla="*/ 131 h 140"/>
                <a:gd name="T34" fmla="*/ 20 w 596"/>
                <a:gd name="T35" fmla="*/ 120 h 140"/>
                <a:gd name="T36" fmla="*/ 9 w 596"/>
                <a:gd name="T37" fmla="*/ 105 h 140"/>
                <a:gd name="T38" fmla="*/ 2 w 596"/>
                <a:gd name="T39" fmla="*/ 90 h 140"/>
                <a:gd name="T40" fmla="*/ 0 w 596"/>
                <a:gd name="T41" fmla="*/ 70 h 140"/>
                <a:gd name="T42" fmla="*/ 2 w 596"/>
                <a:gd name="T43" fmla="*/ 51 h 140"/>
                <a:gd name="T44" fmla="*/ 9 w 596"/>
                <a:gd name="T45" fmla="*/ 35 h 140"/>
                <a:gd name="T46" fmla="*/ 20 w 596"/>
                <a:gd name="T47" fmla="*/ 21 h 140"/>
                <a:gd name="T48" fmla="*/ 35 w 596"/>
                <a:gd name="T49" fmla="*/ 9 h 140"/>
                <a:gd name="T50" fmla="*/ 51 w 596"/>
                <a:gd name="T51" fmla="*/ 3 h 140"/>
                <a:gd name="T52" fmla="*/ 69 w 596"/>
                <a:gd name="T53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96" h="140">
                  <a:moveTo>
                    <a:pt x="69" y="0"/>
                  </a:moveTo>
                  <a:lnTo>
                    <a:pt x="527" y="0"/>
                  </a:lnTo>
                  <a:lnTo>
                    <a:pt x="545" y="3"/>
                  </a:lnTo>
                  <a:lnTo>
                    <a:pt x="561" y="9"/>
                  </a:lnTo>
                  <a:lnTo>
                    <a:pt x="576" y="21"/>
                  </a:lnTo>
                  <a:lnTo>
                    <a:pt x="587" y="35"/>
                  </a:lnTo>
                  <a:lnTo>
                    <a:pt x="594" y="51"/>
                  </a:lnTo>
                  <a:lnTo>
                    <a:pt x="596" y="70"/>
                  </a:lnTo>
                  <a:lnTo>
                    <a:pt x="594" y="90"/>
                  </a:lnTo>
                  <a:lnTo>
                    <a:pt x="587" y="105"/>
                  </a:lnTo>
                  <a:lnTo>
                    <a:pt x="576" y="120"/>
                  </a:lnTo>
                  <a:lnTo>
                    <a:pt x="561" y="131"/>
                  </a:lnTo>
                  <a:lnTo>
                    <a:pt x="545" y="138"/>
                  </a:lnTo>
                  <a:lnTo>
                    <a:pt x="527" y="140"/>
                  </a:lnTo>
                  <a:lnTo>
                    <a:pt x="69" y="140"/>
                  </a:lnTo>
                  <a:lnTo>
                    <a:pt x="51" y="138"/>
                  </a:lnTo>
                  <a:lnTo>
                    <a:pt x="35" y="131"/>
                  </a:lnTo>
                  <a:lnTo>
                    <a:pt x="20" y="120"/>
                  </a:lnTo>
                  <a:lnTo>
                    <a:pt x="9" y="105"/>
                  </a:lnTo>
                  <a:lnTo>
                    <a:pt x="2" y="90"/>
                  </a:lnTo>
                  <a:lnTo>
                    <a:pt x="0" y="70"/>
                  </a:lnTo>
                  <a:lnTo>
                    <a:pt x="2" y="51"/>
                  </a:lnTo>
                  <a:lnTo>
                    <a:pt x="9" y="35"/>
                  </a:lnTo>
                  <a:lnTo>
                    <a:pt x="20" y="21"/>
                  </a:lnTo>
                  <a:lnTo>
                    <a:pt x="35" y="9"/>
                  </a:lnTo>
                  <a:lnTo>
                    <a:pt x="51" y="3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329"/>
            <p:cNvSpPr>
              <a:spLocks/>
            </p:cNvSpPr>
            <p:nvPr/>
          </p:nvSpPr>
          <p:spPr bwMode="auto">
            <a:xfrm>
              <a:off x="5724526" y="4538663"/>
              <a:ext cx="95250" cy="23812"/>
            </a:xfrm>
            <a:custGeom>
              <a:avLst/>
              <a:gdLst>
                <a:gd name="T0" fmla="*/ 69 w 596"/>
                <a:gd name="T1" fmla="*/ 0 h 140"/>
                <a:gd name="T2" fmla="*/ 527 w 596"/>
                <a:gd name="T3" fmla="*/ 0 h 140"/>
                <a:gd name="T4" fmla="*/ 545 w 596"/>
                <a:gd name="T5" fmla="*/ 3 h 140"/>
                <a:gd name="T6" fmla="*/ 561 w 596"/>
                <a:gd name="T7" fmla="*/ 9 h 140"/>
                <a:gd name="T8" fmla="*/ 576 w 596"/>
                <a:gd name="T9" fmla="*/ 21 h 140"/>
                <a:gd name="T10" fmla="*/ 587 w 596"/>
                <a:gd name="T11" fmla="*/ 35 h 140"/>
                <a:gd name="T12" fmla="*/ 594 w 596"/>
                <a:gd name="T13" fmla="*/ 52 h 140"/>
                <a:gd name="T14" fmla="*/ 596 w 596"/>
                <a:gd name="T15" fmla="*/ 71 h 140"/>
                <a:gd name="T16" fmla="*/ 594 w 596"/>
                <a:gd name="T17" fmla="*/ 90 h 140"/>
                <a:gd name="T18" fmla="*/ 587 w 596"/>
                <a:gd name="T19" fmla="*/ 107 h 140"/>
                <a:gd name="T20" fmla="*/ 576 w 596"/>
                <a:gd name="T21" fmla="*/ 120 h 140"/>
                <a:gd name="T22" fmla="*/ 561 w 596"/>
                <a:gd name="T23" fmla="*/ 131 h 140"/>
                <a:gd name="T24" fmla="*/ 545 w 596"/>
                <a:gd name="T25" fmla="*/ 138 h 140"/>
                <a:gd name="T26" fmla="*/ 527 w 596"/>
                <a:gd name="T27" fmla="*/ 140 h 140"/>
                <a:gd name="T28" fmla="*/ 69 w 596"/>
                <a:gd name="T29" fmla="*/ 140 h 140"/>
                <a:gd name="T30" fmla="*/ 51 w 596"/>
                <a:gd name="T31" fmla="*/ 138 h 140"/>
                <a:gd name="T32" fmla="*/ 35 w 596"/>
                <a:gd name="T33" fmla="*/ 131 h 140"/>
                <a:gd name="T34" fmla="*/ 20 w 596"/>
                <a:gd name="T35" fmla="*/ 120 h 140"/>
                <a:gd name="T36" fmla="*/ 9 w 596"/>
                <a:gd name="T37" fmla="*/ 107 h 140"/>
                <a:gd name="T38" fmla="*/ 2 w 596"/>
                <a:gd name="T39" fmla="*/ 90 h 140"/>
                <a:gd name="T40" fmla="*/ 0 w 596"/>
                <a:gd name="T41" fmla="*/ 71 h 140"/>
                <a:gd name="T42" fmla="*/ 2 w 596"/>
                <a:gd name="T43" fmla="*/ 52 h 140"/>
                <a:gd name="T44" fmla="*/ 9 w 596"/>
                <a:gd name="T45" fmla="*/ 35 h 140"/>
                <a:gd name="T46" fmla="*/ 20 w 596"/>
                <a:gd name="T47" fmla="*/ 21 h 140"/>
                <a:gd name="T48" fmla="*/ 35 w 596"/>
                <a:gd name="T49" fmla="*/ 9 h 140"/>
                <a:gd name="T50" fmla="*/ 51 w 596"/>
                <a:gd name="T51" fmla="*/ 3 h 140"/>
                <a:gd name="T52" fmla="*/ 69 w 596"/>
                <a:gd name="T53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96" h="140">
                  <a:moveTo>
                    <a:pt x="69" y="0"/>
                  </a:moveTo>
                  <a:lnTo>
                    <a:pt x="527" y="0"/>
                  </a:lnTo>
                  <a:lnTo>
                    <a:pt x="545" y="3"/>
                  </a:lnTo>
                  <a:lnTo>
                    <a:pt x="561" y="9"/>
                  </a:lnTo>
                  <a:lnTo>
                    <a:pt x="576" y="21"/>
                  </a:lnTo>
                  <a:lnTo>
                    <a:pt x="587" y="35"/>
                  </a:lnTo>
                  <a:lnTo>
                    <a:pt x="594" y="52"/>
                  </a:lnTo>
                  <a:lnTo>
                    <a:pt x="596" y="71"/>
                  </a:lnTo>
                  <a:lnTo>
                    <a:pt x="594" y="90"/>
                  </a:lnTo>
                  <a:lnTo>
                    <a:pt x="587" y="107"/>
                  </a:lnTo>
                  <a:lnTo>
                    <a:pt x="576" y="120"/>
                  </a:lnTo>
                  <a:lnTo>
                    <a:pt x="561" y="131"/>
                  </a:lnTo>
                  <a:lnTo>
                    <a:pt x="545" y="138"/>
                  </a:lnTo>
                  <a:lnTo>
                    <a:pt x="527" y="140"/>
                  </a:lnTo>
                  <a:lnTo>
                    <a:pt x="69" y="140"/>
                  </a:lnTo>
                  <a:lnTo>
                    <a:pt x="51" y="138"/>
                  </a:lnTo>
                  <a:lnTo>
                    <a:pt x="35" y="131"/>
                  </a:lnTo>
                  <a:lnTo>
                    <a:pt x="20" y="120"/>
                  </a:lnTo>
                  <a:lnTo>
                    <a:pt x="9" y="107"/>
                  </a:lnTo>
                  <a:lnTo>
                    <a:pt x="2" y="90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9" y="35"/>
                  </a:lnTo>
                  <a:lnTo>
                    <a:pt x="20" y="21"/>
                  </a:lnTo>
                  <a:lnTo>
                    <a:pt x="35" y="9"/>
                  </a:lnTo>
                  <a:lnTo>
                    <a:pt x="51" y="3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330"/>
            <p:cNvSpPr>
              <a:spLocks/>
            </p:cNvSpPr>
            <p:nvPr/>
          </p:nvSpPr>
          <p:spPr bwMode="auto">
            <a:xfrm>
              <a:off x="5724526" y="4595813"/>
              <a:ext cx="95250" cy="22225"/>
            </a:xfrm>
            <a:custGeom>
              <a:avLst/>
              <a:gdLst>
                <a:gd name="T0" fmla="*/ 69 w 596"/>
                <a:gd name="T1" fmla="*/ 0 h 141"/>
                <a:gd name="T2" fmla="*/ 527 w 596"/>
                <a:gd name="T3" fmla="*/ 0 h 141"/>
                <a:gd name="T4" fmla="*/ 545 w 596"/>
                <a:gd name="T5" fmla="*/ 3 h 141"/>
                <a:gd name="T6" fmla="*/ 561 w 596"/>
                <a:gd name="T7" fmla="*/ 10 h 141"/>
                <a:gd name="T8" fmla="*/ 576 w 596"/>
                <a:gd name="T9" fmla="*/ 21 h 141"/>
                <a:gd name="T10" fmla="*/ 587 w 596"/>
                <a:gd name="T11" fmla="*/ 35 h 141"/>
                <a:gd name="T12" fmla="*/ 594 w 596"/>
                <a:gd name="T13" fmla="*/ 52 h 141"/>
                <a:gd name="T14" fmla="*/ 596 w 596"/>
                <a:gd name="T15" fmla="*/ 71 h 141"/>
                <a:gd name="T16" fmla="*/ 594 w 596"/>
                <a:gd name="T17" fmla="*/ 90 h 141"/>
                <a:gd name="T18" fmla="*/ 587 w 596"/>
                <a:gd name="T19" fmla="*/ 106 h 141"/>
                <a:gd name="T20" fmla="*/ 576 w 596"/>
                <a:gd name="T21" fmla="*/ 121 h 141"/>
                <a:gd name="T22" fmla="*/ 561 w 596"/>
                <a:gd name="T23" fmla="*/ 131 h 141"/>
                <a:gd name="T24" fmla="*/ 545 w 596"/>
                <a:gd name="T25" fmla="*/ 139 h 141"/>
                <a:gd name="T26" fmla="*/ 527 w 596"/>
                <a:gd name="T27" fmla="*/ 141 h 141"/>
                <a:gd name="T28" fmla="*/ 69 w 596"/>
                <a:gd name="T29" fmla="*/ 141 h 141"/>
                <a:gd name="T30" fmla="*/ 51 w 596"/>
                <a:gd name="T31" fmla="*/ 139 h 141"/>
                <a:gd name="T32" fmla="*/ 35 w 596"/>
                <a:gd name="T33" fmla="*/ 131 h 141"/>
                <a:gd name="T34" fmla="*/ 20 w 596"/>
                <a:gd name="T35" fmla="*/ 121 h 141"/>
                <a:gd name="T36" fmla="*/ 9 w 596"/>
                <a:gd name="T37" fmla="*/ 106 h 141"/>
                <a:gd name="T38" fmla="*/ 2 w 596"/>
                <a:gd name="T39" fmla="*/ 90 h 141"/>
                <a:gd name="T40" fmla="*/ 0 w 596"/>
                <a:gd name="T41" fmla="*/ 71 h 141"/>
                <a:gd name="T42" fmla="*/ 2 w 596"/>
                <a:gd name="T43" fmla="*/ 52 h 141"/>
                <a:gd name="T44" fmla="*/ 9 w 596"/>
                <a:gd name="T45" fmla="*/ 35 h 141"/>
                <a:gd name="T46" fmla="*/ 20 w 596"/>
                <a:gd name="T47" fmla="*/ 21 h 141"/>
                <a:gd name="T48" fmla="*/ 35 w 596"/>
                <a:gd name="T49" fmla="*/ 10 h 141"/>
                <a:gd name="T50" fmla="*/ 51 w 596"/>
                <a:gd name="T51" fmla="*/ 3 h 141"/>
                <a:gd name="T52" fmla="*/ 69 w 596"/>
                <a:gd name="T53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96" h="141">
                  <a:moveTo>
                    <a:pt x="69" y="0"/>
                  </a:moveTo>
                  <a:lnTo>
                    <a:pt x="527" y="0"/>
                  </a:lnTo>
                  <a:lnTo>
                    <a:pt x="545" y="3"/>
                  </a:lnTo>
                  <a:lnTo>
                    <a:pt x="561" y="10"/>
                  </a:lnTo>
                  <a:lnTo>
                    <a:pt x="576" y="21"/>
                  </a:lnTo>
                  <a:lnTo>
                    <a:pt x="587" y="35"/>
                  </a:lnTo>
                  <a:lnTo>
                    <a:pt x="594" y="52"/>
                  </a:lnTo>
                  <a:lnTo>
                    <a:pt x="596" y="71"/>
                  </a:lnTo>
                  <a:lnTo>
                    <a:pt x="594" y="90"/>
                  </a:lnTo>
                  <a:lnTo>
                    <a:pt x="587" y="106"/>
                  </a:lnTo>
                  <a:lnTo>
                    <a:pt x="576" y="121"/>
                  </a:lnTo>
                  <a:lnTo>
                    <a:pt x="561" y="131"/>
                  </a:lnTo>
                  <a:lnTo>
                    <a:pt x="545" y="139"/>
                  </a:lnTo>
                  <a:lnTo>
                    <a:pt x="527" y="141"/>
                  </a:lnTo>
                  <a:lnTo>
                    <a:pt x="69" y="141"/>
                  </a:lnTo>
                  <a:lnTo>
                    <a:pt x="51" y="139"/>
                  </a:lnTo>
                  <a:lnTo>
                    <a:pt x="35" y="131"/>
                  </a:lnTo>
                  <a:lnTo>
                    <a:pt x="20" y="121"/>
                  </a:lnTo>
                  <a:lnTo>
                    <a:pt x="9" y="106"/>
                  </a:lnTo>
                  <a:lnTo>
                    <a:pt x="2" y="90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9" y="35"/>
                  </a:lnTo>
                  <a:lnTo>
                    <a:pt x="20" y="21"/>
                  </a:lnTo>
                  <a:lnTo>
                    <a:pt x="35" y="10"/>
                  </a:lnTo>
                  <a:lnTo>
                    <a:pt x="51" y="3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331"/>
            <p:cNvSpPr>
              <a:spLocks/>
            </p:cNvSpPr>
            <p:nvPr/>
          </p:nvSpPr>
          <p:spPr bwMode="auto">
            <a:xfrm>
              <a:off x="5724526" y="4651375"/>
              <a:ext cx="95250" cy="22225"/>
            </a:xfrm>
            <a:custGeom>
              <a:avLst/>
              <a:gdLst>
                <a:gd name="T0" fmla="*/ 69 w 596"/>
                <a:gd name="T1" fmla="*/ 0 h 142"/>
                <a:gd name="T2" fmla="*/ 527 w 596"/>
                <a:gd name="T3" fmla="*/ 0 h 142"/>
                <a:gd name="T4" fmla="*/ 545 w 596"/>
                <a:gd name="T5" fmla="*/ 3 h 142"/>
                <a:gd name="T6" fmla="*/ 561 w 596"/>
                <a:gd name="T7" fmla="*/ 11 h 142"/>
                <a:gd name="T8" fmla="*/ 576 w 596"/>
                <a:gd name="T9" fmla="*/ 21 h 142"/>
                <a:gd name="T10" fmla="*/ 587 w 596"/>
                <a:gd name="T11" fmla="*/ 35 h 142"/>
                <a:gd name="T12" fmla="*/ 594 w 596"/>
                <a:gd name="T13" fmla="*/ 52 h 142"/>
                <a:gd name="T14" fmla="*/ 596 w 596"/>
                <a:gd name="T15" fmla="*/ 71 h 142"/>
                <a:gd name="T16" fmla="*/ 594 w 596"/>
                <a:gd name="T17" fmla="*/ 90 h 142"/>
                <a:gd name="T18" fmla="*/ 587 w 596"/>
                <a:gd name="T19" fmla="*/ 107 h 142"/>
                <a:gd name="T20" fmla="*/ 576 w 596"/>
                <a:gd name="T21" fmla="*/ 121 h 142"/>
                <a:gd name="T22" fmla="*/ 561 w 596"/>
                <a:gd name="T23" fmla="*/ 131 h 142"/>
                <a:gd name="T24" fmla="*/ 545 w 596"/>
                <a:gd name="T25" fmla="*/ 139 h 142"/>
                <a:gd name="T26" fmla="*/ 527 w 596"/>
                <a:gd name="T27" fmla="*/ 142 h 142"/>
                <a:gd name="T28" fmla="*/ 69 w 596"/>
                <a:gd name="T29" fmla="*/ 142 h 142"/>
                <a:gd name="T30" fmla="*/ 51 w 596"/>
                <a:gd name="T31" fmla="*/ 139 h 142"/>
                <a:gd name="T32" fmla="*/ 35 w 596"/>
                <a:gd name="T33" fmla="*/ 131 h 142"/>
                <a:gd name="T34" fmla="*/ 20 w 596"/>
                <a:gd name="T35" fmla="*/ 121 h 142"/>
                <a:gd name="T36" fmla="*/ 9 w 596"/>
                <a:gd name="T37" fmla="*/ 106 h 142"/>
                <a:gd name="T38" fmla="*/ 2 w 596"/>
                <a:gd name="T39" fmla="*/ 90 h 142"/>
                <a:gd name="T40" fmla="*/ 0 w 596"/>
                <a:gd name="T41" fmla="*/ 71 h 142"/>
                <a:gd name="T42" fmla="*/ 2 w 596"/>
                <a:gd name="T43" fmla="*/ 52 h 142"/>
                <a:gd name="T44" fmla="*/ 9 w 596"/>
                <a:gd name="T45" fmla="*/ 35 h 142"/>
                <a:gd name="T46" fmla="*/ 20 w 596"/>
                <a:gd name="T47" fmla="*/ 21 h 142"/>
                <a:gd name="T48" fmla="*/ 35 w 596"/>
                <a:gd name="T49" fmla="*/ 11 h 142"/>
                <a:gd name="T50" fmla="*/ 51 w 596"/>
                <a:gd name="T51" fmla="*/ 3 h 142"/>
                <a:gd name="T52" fmla="*/ 69 w 596"/>
                <a:gd name="T53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96" h="142">
                  <a:moveTo>
                    <a:pt x="69" y="0"/>
                  </a:moveTo>
                  <a:lnTo>
                    <a:pt x="527" y="0"/>
                  </a:lnTo>
                  <a:lnTo>
                    <a:pt x="545" y="3"/>
                  </a:lnTo>
                  <a:lnTo>
                    <a:pt x="561" y="11"/>
                  </a:lnTo>
                  <a:lnTo>
                    <a:pt x="576" y="21"/>
                  </a:lnTo>
                  <a:lnTo>
                    <a:pt x="587" y="35"/>
                  </a:lnTo>
                  <a:lnTo>
                    <a:pt x="594" y="52"/>
                  </a:lnTo>
                  <a:lnTo>
                    <a:pt x="596" y="71"/>
                  </a:lnTo>
                  <a:lnTo>
                    <a:pt x="594" y="90"/>
                  </a:lnTo>
                  <a:lnTo>
                    <a:pt x="587" y="107"/>
                  </a:lnTo>
                  <a:lnTo>
                    <a:pt x="576" y="121"/>
                  </a:lnTo>
                  <a:lnTo>
                    <a:pt x="561" y="131"/>
                  </a:lnTo>
                  <a:lnTo>
                    <a:pt x="545" y="139"/>
                  </a:lnTo>
                  <a:lnTo>
                    <a:pt x="527" y="142"/>
                  </a:lnTo>
                  <a:lnTo>
                    <a:pt x="69" y="142"/>
                  </a:lnTo>
                  <a:lnTo>
                    <a:pt x="51" y="139"/>
                  </a:lnTo>
                  <a:lnTo>
                    <a:pt x="35" y="131"/>
                  </a:lnTo>
                  <a:lnTo>
                    <a:pt x="20" y="121"/>
                  </a:lnTo>
                  <a:lnTo>
                    <a:pt x="9" y="106"/>
                  </a:lnTo>
                  <a:lnTo>
                    <a:pt x="2" y="90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9" y="35"/>
                  </a:lnTo>
                  <a:lnTo>
                    <a:pt x="20" y="21"/>
                  </a:lnTo>
                  <a:lnTo>
                    <a:pt x="35" y="11"/>
                  </a:lnTo>
                  <a:lnTo>
                    <a:pt x="51" y="3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332"/>
            <p:cNvSpPr>
              <a:spLocks/>
            </p:cNvSpPr>
            <p:nvPr/>
          </p:nvSpPr>
          <p:spPr bwMode="auto">
            <a:xfrm>
              <a:off x="5724526" y="4706938"/>
              <a:ext cx="95250" cy="22225"/>
            </a:xfrm>
            <a:custGeom>
              <a:avLst/>
              <a:gdLst>
                <a:gd name="T0" fmla="*/ 69 w 596"/>
                <a:gd name="T1" fmla="*/ 0 h 141"/>
                <a:gd name="T2" fmla="*/ 527 w 596"/>
                <a:gd name="T3" fmla="*/ 0 h 141"/>
                <a:gd name="T4" fmla="*/ 545 w 596"/>
                <a:gd name="T5" fmla="*/ 4 h 141"/>
                <a:gd name="T6" fmla="*/ 561 w 596"/>
                <a:gd name="T7" fmla="*/ 10 h 141"/>
                <a:gd name="T8" fmla="*/ 576 w 596"/>
                <a:gd name="T9" fmla="*/ 22 h 141"/>
                <a:gd name="T10" fmla="*/ 587 w 596"/>
                <a:gd name="T11" fmla="*/ 35 h 141"/>
                <a:gd name="T12" fmla="*/ 594 w 596"/>
                <a:gd name="T13" fmla="*/ 52 h 141"/>
                <a:gd name="T14" fmla="*/ 596 w 596"/>
                <a:gd name="T15" fmla="*/ 71 h 141"/>
                <a:gd name="T16" fmla="*/ 594 w 596"/>
                <a:gd name="T17" fmla="*/ 90 h 141"/>
                <a:gd name="T18" fmla="*/ 587 w 596"/>
                <a:gd name="T19" fmla="*/ 107 h 141"/>
                <a:gd name="T20" fmla="*/ 576 w 596"/>
                <a:gd name="T21" fmla="*/ 121 h 141"/>
                <a:gd name="T22" fmla="*/ 561 w 596"/>
                <a:gd name="T23" fmla="*/ 132 h 141"/>
                <a:gd name="T24" fmla="*/ 545 w 596"/>
                <a:gd name="T25" fmla="*/ 139 h 141"/>
                <a:gd name="T26" fmla="*/ 527 w 596"/>
                <a:gd name="T27" fmla="*/ 141 h 141"/>
                <a:gd name="T28" fmla="*/ 69 w 596"/>
                <a:gd name="T29" fmla="*/ 141 h 141"/>
                <a:gd name="T30" fmla="*/ 51 w 596"/>
                <a:gd name="T31" fmla="*/ 139 h 141"/>
                <a:gd name="T32" fmla="*/ 35 w 596"/>
                <a:gd name="T33" fmla="*/ 132 h 141"/>
                <a:gd name="T34" fmla="*/ 20 w 596"/>
                <a:gd name="T35" fmla="*/ 121 h 141"/>
                <a:gd name="T36" fmla="*/ 9 w 596"/>
                <a:gd name="T37" fmla="*/ 107 h 141"/>
                <a:gd name="T38" fmla="*/ 2 w 596"/>
                <a:gd name="T39" fmla="*/ 90 h 141"/>
                <a:gd name="T40" fmla="*/ 0 w 596"/>
                <a:gd name="T41" fmla="*/ 71 h 141"/>
                <a:gd name="T42" fmla="*/ 2 w 596"/>
                <a:gd name="T43" fmla="*/ 52 h 141"/>
                <a:gd name="T44" fmla="*/ 9 w 596"/>
                <a:gd name="T45" fmla="*/ 35 h 141"/>
                <a:gd name="T46" fmla="*/ 20 w 596"/>
                <a:gd name="T47" fmla="*/ 22 h 141"/>
                <a:gd name="T48" fmla="*/ 35 w 596"/>
                <a:gd name="T49" fmla="*/ 10 h 141"/>
                <a:gd name="T50" fmla="*/ 51 w 596"/>
                <a:gd name="T51" fmla="*/ 4 h 141"/>
                <a:gd name="T52" fmla="*/ 69 w 596"/>
                <a:gd name="T53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96" h="141">
                  <a:moveTo>
                    <a:pt x="69" y="0"/>
                  </a:moveTo>
                  <a:lnTo>
                    <a:pt x="527" y="0"/>
                  </a:lnTo>
                  <a:lnTo>
                    <a:pt x="545" y="4"/>
                  </a:lnTo>
                  <a:lnTo>
                    <a:pt x="561" y="10"/>
                  </a:lnTo>
                  <a:lnTo>
                    <a:pt x="576" y="22"/>
                  </a:lnTo>
                  <a:lnTo>
                    <a:pt x="587" y="35"/>
                  </a:lnTo>
                  <a:lnTo>
                    <a:pt x="594" y="52"/>
                  </a:lnTo>
                  <a:lnTo>
                    <a:pt x="596" y="71"/>
                  </a:lnTo>
                  <a:lnTo>
                    <a:pt x="594" y="90"/>
                  </a:lnTo>
                  <a:lnTo>
                    <a:pt x="587" y="107"/>
                  </a:lnTo>
                  <a:lnTo>
                    <a:pt x="576" y="121"/>
                  </a:lnTo>
                  <a:lnTo>
                    <a:pt x="561" y="132"/>
                  </a:lnTo>
                  <a:lnTo>
                    <a:pt x="545" y="139"/>
                  </a:lnTo>
                  <a:lnTo>
                    <a:pt x="527" y="141"/>
                  </a:lnTo>
                  <a:lnTo>
                    <a:pt x="69" y="141"/>
                  </a:lnTo>
                  <a:lnTo>
                    <a:pt x="51" y="139"/>
                  </a:lnTo>
                  <a:lnTo>
                    <a:pt x="35" y="132"/>
                  </a:lnTo>
                  <a:lnTo>
                    <a:pt x="20" y="121"/>
                  </a:lnTo>
                  <a:lnTo>
                    <a:pt x="9" y="107"/>
                  </a:lnTo>
                  <a:lnTo>
                    <a:pt x="2" y="90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9" y="35"/>
                  </a:lnTo>
                  <a:lnTo>
                    <a:pt x="20" y="22"/>
                  </a:lnTo>
                  <a:lnTo>
                    <a:pt x="35" y="10"/>
                  </a:lnTo>
                  <a:lnTo>
                    <a:pt x="51" y="4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333"/>
            <p:cNvSpPr>
              <a:spLocks/>
            </p:cNvSpPr>
            <p:nvPr/>
          </p:nvSpPr>
          <p:spPr bwMode="auto">
            <a:xfrm>
              <a:off x="5427663" y="4295775"/>
              <a:ext cx="22225" cy="47625"/>
            </a:xfrm>
            <a:custGeom>
              <a:avLst/>
              <a:gdLst>
                <a:gd name="T0" fmla="*/ 70 w 140"/>
                <a:gd name="T1" fmla="*/ 0 h 297"/>
                <a:gd name="T2" fmla="*/ 89 w 140"/>
                <a:gd name="T3" fmla="*/ 3 h 297"/>
                <a:gd name="T4" fmla="*/ 105 w 140"/>
                <a:gd name="T5" fmla="*/ 10 h 297"/>
                <a:gd name="T6" fmla="*/ 119 w 140"/>
                <a:gd name="T7" fmla="*/ 21 h 297"/>
                <a:gd name="T8" fmla="*/ 131 w 140"/>
                <a:gd name="T9" fmla="*/ 35 h 297"/>
                <a:gd name="T10" fmla="*/ 137 w 140"/>
                <a:gd name="T11" fmla="*/ 52 h 297"/>
                <a:gd name="T12" fmla="*/ 140 w 140"/>
                <a:gd name="T13" fmla="*/ 70 h 297"/>
                <a:gd name="T14" fmla="*/ 140 w 140"/>
                <a:gd name="T15" fmla="*/ 226 h 297"/>
                <a:gd name="T16" fmla="*/ 137 w 140"/>
                <a:gd name="T17" fmla="*/ 245 h 297"/>
                <a:gd name="T18" fmla="*/ 131 w 140"/>
                <a:gd name="T19" fmla="*/ 262 h 297"/>
                <a:gd name="T20" fmla="*/ 119 w 140"/>
                <a:gd name="T21" fmla="*/ 277 h 297"/>
                <a:gd name="T22" fmla="*/ 105 w 140"/>
                <a:gd name="T23" fmla="*/ 287 h 297"/>
                <a:gd name="T24" fmla="*/ 89 w 140"/>
                <a:gd name="T25" fmla="*/ 294 h 297"/>
                <a:gd name="T26" fmla="*/ 70 w 140"/>
                <a:gd name="T27" fmla="*/ 297 h 297"/>
                <a:gd name="T28" fmla="*/ 51 w 140"/>
                <a:gd name="T29" fmla="*/ 294 h 297"/>
                <a:gd name="T30" fmla="*/ 34 w 140"/>
                <a:gd name="T31" fmla="*/ 287 h 297"/>
                <a:gd name="T32" fmla="*/ 20 w 140"/>
                <a:gd name="T33" fmla="*/ 277 h 297"/>
                <a:gd name="T34" fmla="*/ 10 w 140"/>
                <a:gd name="T35" fmla="*/ 262 h 297"/>
                <a:gd name="T36" fmla="*/ 2 w 140"/>
                <a:gd name="T37" fmla="*/ 245 h 297"/>
                <a:gd name="T38" fmla="*/ 0 w 140"/>
                <a:gd name="T39" fmla="*/ 226 h 297"/>
                <a:gd name="T40" fmla="*/ 0 w 140"/>
                <a:gd name="T41" fmla="*/ 70 h 297"/>
                <a:gd name="T42" fmla="*/ 2 w 140"/>
                <a:gd name="T43" fmla="*/ 52 h 297"/>
                <a:gd name="T44" fmla="*/ 10 w 140"/>
                <a:gd name="T45" fmla="*/ 35 h 297"/>
                <a:gd name="T46" fmla="*/ 20 w 140"/>
                <a:gd name="T47" fmla="*/ 21 h 297"/>
                <a:gd name="T48" fmla="*/ 34 w 140"/>
                <a:gd name="T49" fmla="*/ 10 h 297"/>
                <a:gd name="T50" fmla="*/ 51 w 140"/>
                <a:gd name="T51" fmla="*/ 3 h 297"/>
                <a:gd name="T52" fmla="*/ 70 w 140"/>
                <a:gd name="T53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7">
                  <a:moveTo>
                    <a:pt x="70" y="0"/>
                  </a:moveTo>
                  <a:lnTo>
                    <a:pt x="89" y="3"/>
                  </a:lnTo>
                  <a:lnTo>
                    <a:pt x="105" y="10"/>
                  </a:lnTo>
                  <a:lnTo>
                    <a:pt x="119" y="21"/>
                  </a:lnTo>
                  <a:lnTo>
                    <a:pt x="131" y="35"/>
                  </a:lnTo>
                  <a:lnTo>
                    <a:pt x="137" y="52"/>
                  </a:lnTo>
                  <a:lnTo>
                    <a:pt x="140" y="70"/>
                  </a:lnTo>
                  <a:lnTo>
                    <a:pt x="140" y="226"/>
                  </a:lnTo>
                  <a:lnTo>
                    <a:pt x="137" y="245"/>
                  </a:lnTo>
                  <a:lnTo>
                    <a:pt x="131" y="262"/>
                  </a:lnTo>
                  <a:lnTo>
                    <a:pt x="119" y="277"/>
                  </a:lnTo>
                  <a:lnTo>
                    <a:pt x="105" y="287"/>
                  </a:lnTo>
                  <a:lnTo>
                    <a:pt x="89" y="294"/>
                  </a:lnTo>
                  <a:lnTo>
                    <a:pt x="70" y="297"/>
                  </a:lnTo>
                  <a:lnTo>
                    <a:pt x="51" y="294"/>
                  </a:lnTo>
                  <a:lnTo>
                    <a:pt x="34" y="287"/>
                  </a:lnTo>
                  <a:lnTo>
                    <a:pt x="20" y="277"/>
                  </a:lnTo>
                  <a:lnTo>
                    <a:pt x="10" y="262"/>
                  </a:lnTo>
                  <a:lnTo>
                    <a:pt x="2" y="245"/>
                  </a:lnTo>
                  <a:lnTo>
                    <a:pt x="0" y="226"/>
                  </a:lnTo>
                  <a:lnTo>
                    <a:pt x="0" y="70"/>
                  </a:lnTo>
                  <a:lnTo>
                    <a:pt x="2" y="52"/>
                  </a:lnTo>
                  <a:lnTo>
                    <a:pt x="10" y="35"/>
                  </a:lnTo>
                  <a:lnTo>
                    <a:pt x="20" y="21"/>
                  </a:lnTo>
                  <a:lnTo>
                    <a:pt x="34" y="10"/>
                  </a:lnTo>
                  <a:lnTo>
                    <a:pt x="51" y="3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334"/>
            <p:cNvSpPr>
              <a:spLocks/>
            </p:cNvSpPr>
            <p:nvPr/>
          </p:nvSpPr>
          <p:spPr bwMode="auto">
            <a:xfrm>
              <a:off x="5487988" y="4295775"/>
              <a:ext cx="22225" cy="47625"/>
            </a:xfrm>
            <a:custGeom>
              <a:avLst/>
              <a:gdLst>
                <a:gd name="T0" fmla="*/ 71 w 141"/>
                <a:gd name="T1" fmla="*/ 0 h 297"/>
                <a:gd name="T2" fmla="*/ 89 w 141"/>
                <a:gd name="T3" fmla="*/ 3 h 297"/>
                <a:gd name="T4" fmla="*/ 106 w 141"/>
                <a:gd name="T5" fmla="*/ 10 h 297"/>
                <a:gd name="T6" fmla="*/ 121 w 141"/>
                <a:gd name="T7" fmla="*/ 21 h 297"/>
                <a:gd name="T8" fmla="*/ 131 w 141"/>
                <a:gd name="T9" fmla="*/ 35 h 297"/>
                <a:gd name="T10" fmla="*/ 139 w 141"/>
                <a:gd name="T11" fmla="*/ 52 h 297"/>
                <a:gd name="T12" fmla="*/ 141 w 141"/>
                <a:gd name="T13" fmla="*/ 70 h 297"/>
                <a:gd name="T14" fmla="*/ 141 w 141"/>
                <a:gd name="T15" fmla="*/ 226 h 297"/>
                <a:gd name="T16" fmla="*/ 139 w 141"/>
                <a:gd name="T17" fmla="*/ 245 h 297"/>
                <a:gd name="T18" fmla="*/ 131 w 141"/>
                <a:gd name="T19" fmla="*/ 262 h 297"/>
                <a:gd name="T20" fmla="*/ 121 w 141"/>
                <a:gd name="T21" fmla="*/ 277 h 297"/>
                <a:gd name="T22" fmla="*/ 106 w 141"/>
                <a:gd name="T23" fmla="*/ 287 h 297"/>
                <a:gd name="T24" fmla="*/ 89 w 141"/>
                <a:gd name="T25" fmla="*/ 294 h 297"/>
                <a:gd name="T26" fmla="*/ 71 w 141"/>
                <a:gd name="T27" fmla="*/ 297 h 297"/>
                <a:gd name="T28" fmla="*/ 52 w 141"/>
                <a:gd name="T29" fmla="*/ 294 h 297"/>
                <a:gd name="T30" fmla="*/ 35 w 141"/>
                <a:gd name="T31" fmla="*/ 287 h 297"/>
                <a:gd name="T32" fmla="*/ 21 w 141"/>
                <a:gd name="T33" fmla="*/ 277 h 297"/>
                <a:gd name="T34" fmla="*/ 10 w 141"/>
                <a:gd name="T35" fmla="*/ 262 h 297"/>
                <a:gd name="T36" fmla="*/ 3 w 141"/>
                <a:gd name="T37" fmla="*/ 245 h 297"/>
                <a:gd name="T38" fmla="*/ 0 w 141"/>
                <a:gd name="T39" fmla="*/ 226 h 297"/>
                <a:gd name="T40" fmla="*/ 0 w 141"/>
                <a:gd name="T41" fmla="*/ 70 h 297"/>
                <a:gd name="T42" fmla="*/ 3 w 141"/>
                <a:gd name="T43" fmla="*/ 52 h 297"/>
                <a:gd name="T44" fmla="*/ 10 w 141"/>
                <a:gd name="T45" fmla="*/ 35 h 297"/>
                <a:gd name="T46" fmla="*/ 21 w 141"/>
                <a:gd name="T47" fmla="*/ 21 h 297"/>
                <a:gd name="T48" fmla="*/ 35 w 141"/>
                <a:gd name="T49" fmla="*/ 10 h 297"/>
                <a:gd name="T50" fmla="*/ 52 w 141"/>
                <a:gd name="T51" fmla="*/ 3 h 297"/>
                <a:gd name="T52" fmla="*/ 71 w 141"/>
                <a:gd name="T53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1" h="297">
                  <a:moveTo>
                    <a:pt x="71" y="0"/>
                  </a:moveTo>
                  <a:lnTo>
                    <a:pt x="89" y="3"/>
                  </a:lnTo>
                  <a:lnTo>
                    <a:pt x="106" y="10"/>
                  </a:lnTo>
                  <a:lnTo>
                    <a:pt x="121" y="21"/>
                  </a:lnTo>
                  <a:lnTo>
                    <a:pt x="131" y="35"/>
                  </a:lnTo>
                  <a:lnTo>
                    <a:pt x="139" y="52"/>
                  </a:lnTo>
                  <a:lnTo>
                    <a:pt x="141" y="70"/>
                  </a:lnTo>
                  <a:lnTo>
                    <a:pt x="141" y="226"/>
                  </a:lnTo>
                  <a:lnTo>
                    <a:pt x="139" y="245"/>
                  </a:lnTo>
                  <a:lnTo>
                    <a:pt x="131" y="262"/>
                  </a:lnTo>
                  <a:lnTo>
                    <a:pt x="121" y="277"/>
                  </a:lnTo>
                  <a:lnTo>
                    <a:pt x="106" y="287"/>
                  </a:lnTo>
                  <a:lnTo>
                    <a:pt x="89" y="294"/>
                  </a:lnTo>
                  <a:lnTo>
                    <a:pt x="71" y="297"/>
                  </a:lnTo>
                  <a:lnTo>
                    <a:pt x="52" y="294"/>
                  </a:lnTo>
                  <a:lnTo>
                    <a:pt x="35" y="287"/>
                  </a:lnTo>
                  <a:lnTo>
                    <a:pt x="21" y="277"/>
                  </a:lnTo>
                  <a:lnTo>
                    <a:pt x="10" y="262"/>
                  </a:lnTo>
                  <a:lnTo>
                    <a:pt x="3" y="245"/>
                  </a:lnTo>
                  <a:lnTo>
                    <a:pt x="0" y="226"/>
                  </a:lnTo>
                  <a:lnTo>
                    <a:pt x="0" y="70"/>
                  </a:lnTo>
                  <a:lnTo>
                    <a:pt x="3" y="52"/>
                  </a:lnTo>
                  <a:lnTo>
                    <a:pt x="10" y="35"/>
                  </a:lnTo>
                  <a:lnTo>
                    <a:pt x="21" y="21"/>
                  </a:lnTo>
                  <a:lnTo>
                    <a:pt x="35" y="10"/>
                  </a:lnTo>
                  <a:lnTo>
                    <a:pt x="52" y="3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335"/>
            <p:cNvSpPr>
              <a:spLocks/>
            </p:cNvSpPr>
            <p:nvPr/>
          </p:nvSpPr>
          <p:spPr bwMode="auto">
            <a:xfrm>
              <a:off x="5548313" y="4295775"/>
              <a:ext cx="22225" cy="47625"/>
            </a:xfrm>
            <a:custGeom>
              <a:avLst/>
              <a:gdLst>
                <a:gd name="T0" fmla="*/ 69 w 140"/>
                <a:gd name="T1" fmla="*/ 0 h 297"/>
                <a:gd name="T2" fmla="*/ 88 w 140"/>
                <a:gd name="T3" fmla="*/ 3 h 297"/>
                <a:gd name="T4" fmla="*/ 105 w 140"/>
                <a:gd name="T5" fmla="*/ 10 h 297"/>
                <a:gd name="T6" fmla="*/ 119 w 140"/>
                <a:gd name="T7" fmla="*/ 21 h 297"/>
                <a:gd name="T8" fmla="*/ 131 w 140"/>
                <a:gd name="T9" fmla="*/ 35 h 297"/>
                <a:gd name="T10" fmla="*/ 137 w 140"/>
                <a:gd name="T11" fmla="*/ 52 h 297"/>
                <a:gd name="T12" fmla="*/ 140 w 140"/>
                <a:gd name="T13" fmla="*/ 70 h 297"/>
                <a:gd name="T14" fmla="*/ 140 w 140"/>
                <a:gd name="T15" fmla="*/ 226 h 297"/>
                <a:gd name="T16" fmla="*/ 137 w 140"/>
                <a:gd name="T17" fmla="*/ 245 h 297"/>
                <a:gd name="T18" fmla="*/ 131 w 140"/>
                <a:gd name="T19" fmla="*/ 262 h 297"/>
                <a:gd name="T20" fmla="*/ 119 w 140"/>
                <a:gd name="T21" fmla="*/ 277 h 297"/>
                <a:gd name="T22" fmla="*/ 105 w 140"/>
                <a:gd name="T23" fmla="*/ 287 h 297"/>
                <a:gd name="T24" fmla="*/ 88 w 140"/>
                <a:gd name="T25" fmla="*/ 294 h 297"/>
                <a:gd name="T26" fmla="*/ 69 w 140"/>
                <a:gd name="T27" fmla="*/ 297 h 297"/>
                <a:gd name="T28" fmla="*/ 52 w 140"/>
                <a:gd name="T29" fmla="*/ 294 h 297"/>
                <a:gd name="T30" fmla="*/ 35 w 140"/>
                <a:gd name="T31" fmla="*/ 287 h 297"/>
                <a:gd name="T32" fmla="*/ 20 w 140"/>
                <a:gd name="T33" fmla="*/ 277 h 297"/>
                <a:gd name="T34" fmla="*/ 9 w 140"/>
                <a:gd name="T35" fmla="*/ 262 h 297"/>
                <a:gd name="T36" fmla="*/ 2 w 140"/>
                <a:gd name="T37" fmla="*/ 245 h 297"/>
                <a:gd name="T38" fmla="*/ 0 w 140"/>
                <a:gd name="T39" fmla="*/ 226 h 297"/>
                <a:gd name="T40" fmla="*/ 0 w 140"/>
                <a:gd name="T41" fmla="*/ 70 h 297"/>
                <a:gd name="T42" fmla="*/ 2 w 140"/>
                <a:gd name="T43" fmla="*/ 52 h 297"/>
                <a:gd name="T44" fmla="*/ 9 w 140"/>
                <a:gd name="T45" fmla="*/ 35 h 297"/>
                <a:gd name="T46" fmla="*/ 20 w 140"/>
                <a:gd name="T47" fmla="*/ 21 h 297"/>
                <a:gd name="T48" fmla="*/ 35 w 140"/>
                <a:gd name="T49" fmla="*/ 10 h 297"/>
                <a:gd name="T50" fmla="*/ 50 w 140"/>
                <a:gd name="T51" fmla="*/ 3 h 297"/>
                <a:gd name="T52" fmla="*/ 69 w 140"/>
                <a:gd name="T53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7">
                  <a:moveTo>
                    <a:pt x="69" y="0"/>
                  </a:moveTo>
                  <a:lnTo>
                    <a:pt x="88" y="3"/>
                  </a:lnTo>
                  <a:lnTo>
                    <a:pt x="105" y="10"/>
                  </a:lnTo>
                  <a:lnTo>
                    <a:pt x="119" y="21"/>
                  </a:lnTo>
                  <a:lnTo>
                    <a:pt x="131" y="35"/>
                  </a:lnTo>
                  <a:lnTo>
                    <a:pt x="137" y="52"/>
                  </a:lnTo>
                  <a:lnTo>
                    <a:pt x="140" y="70"/>
                  </a:lnTo>
                  <a:lnTo>
                    <a:pt x="140" y="226"/>
                  </a:lnTo>
                  <a:lnTo>
                    <a:pt x="137" y="245"/>
                  </a:lnTo>
                  <a:lnTo>
                    <a:pt x="131" y="262"/>
                  </a:lnTo>
                  <a:lnTo>
                    <a:pt x="119" y="277"/>
                  </a:lnTo>
                  <a:lnTo>
                    <a:pt x="105" y="287"/>
                  </a:lnTo>
                  <a:lnTo>
                    <a:pt x="88" y="294"/>
                  </a:lnTo>
                  <a:lnTo>
                    <a:pt x="69" y="297"/>
                  </a:lnTo>
                  <a:lnTo>
                    <a:pt x="52" y="294"/>
                  </a:lnTo>
                  <a:lnTo>
                    <a:pt x="35" y="287"/>
                  </a:lnTo>
                  <a:lnTo>
                    <a:pt x="20" y="277"/>
                  </a:lnTo>
                  <a:lnTo>
                    <a:pt x="9" y="262"/>
                  </a:lnTo>
                  <a:lnTo>
                    <a:pt x="2" y="245"/>
                  </a:lnTo>
                  <a:lnTo>
                    <a:pt x="0" y="226"/>
                  </a:lnTo>
                  <a:lnTo>
                    <a:pt x="0" y="70"/>
                  </a:lnTo>
                  <a:lnTo>
                    <a:pt x="2" y="52"/>
                  </a:lnTo>
                  <a:lnTo>
                    <a:pt x="9" y="35"/>
                  </a:lnTo>
                  <a:lnTo>
                    <a:pt x="20" y="21"/>
                  </a:lnTo>
                  <a:lnTo>
                    <a:pt x="35" y="10"/>
                  </a:lnTo>
                  <a:lnTo>
                    <a:pt x="50" y="3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336"/>
            <p:cNvSpPr>
              <a:spLocks/>
            </p:cNvSpPr>
            <p:nvPr/>
          </p:nvSpPr>
          <p:spPr bwMode="auto">
            <a:xfrm>
              <a:off x="5608638" y="4295775"/>
              <a:ext cx="22225" cy="47625"/>
            </a:xfrm>
            <a:custGeom>
              <a:avLst/>
              <a:gdLst>
                <a:gd name="T0" fmla="*/ 71 w 140"/>
                <a:gd name="T1" fmla="*/ 0 h 297"/>
                <a:gd name="T2" fmla="*/ 89 w 140"/>
                <a:gd name="T3" fmla="*/ 3 h 297"/>
                <a:gd name="T4" fmla="*/ 106 w 140"/>
                <a:gd name="T5" fmla="*/ 10 h 297"/>
                <a:gd name="T6" fmla="*/ 120 w 140"/>
                <a:gd name="T7" fmla="*/ 21 h 297"/>
                <a:gd name="T8" fmla="*/ 131 w 140"/>
                <a:gd name="T9" fmla="*/ 35 h 297"/>
                <a:gd name="T10" fmla="*/ 138 w 140"/>
                <a:gd name="T11" fmla="*/ 52 h 297"/>
                <a:gd name="T12" fmla="*/ 140 w 140"/>
                <a:gd name="T13" fmla="*/ 70 h 297"/>
                <a:gd name="T14" fmla="*/ 140 w 140"/>
                <a:gd name="T15" fmla="*/ 226 h 297"/>
                <a:gd name="T16" fmla="*/ 138 w 140"/>
                <a:gd name="T17" fmla="*/ 245 h 297"/>
                <a:gd name="T18" fmla="*/ 131 w 140"/>
                <a:gd name="T19" fmla="*/ 262 h 297"/>
                <a:gd name="T20" fmla="*/ 120 w 140"/>
                <a:gd name="T21" fmla="*/ 277 h 297"/>
                <a:gd name="T22" fmla="*/ 106 w 140"/>
                <a:gd name="T23" fmla="*/ 287 h 297"/>
                <a:gd name="T24" fmla="*/ 89 w 140"/>
                <a:gd name="T25" fmla="*/ 294 h 297"/>
                <a:gd name="T26" fmla="*/ 71 w 140"/>
                <a:gd name="T27" fmla="*/ 297 h 297"/>
                <a:gd name="T28" fmla="*/ 52 w 140"/>
                <a:gd name="T29" fmla="*/ 294 h 297"/>
                <a:gd name="T30" fmla="*/ 35 w 140"/>
                <a:gd name="T31" fmla="*/ 287 h 297"/>
                <a:gd name="T32" fmla="*/ 21 w 140"/>
                <a:gd name="T33" fmla="*/ 277 h 297"/>
                <a:gd name="T34" fmla="*/ 10 w 140"/>
                <a:gd name="T35" fmla="*/ 262 h 297"/>
                <a:gd name="T36" fmla="*/ 2 w 140"/>
                <a:gd name="T37" fmla="*/ 245 h 297"/>
                <a:gd name="T38" fmla="*/ 0 w 140"/>
                <a:gd name="T39" fmla="*/ 226 h 297"/>
                <a:gd name="T40" fmla="*/ 0 w 140"/>
                <a:gd name="T41" fmla="*/ 70 h 297"/>
                <a:gd name="T42" fmla="*/ 2 w 140"/>
                <a:gd name="T43" fmla="*/ 52 h 297"/>
                <a:gd name="T44" fmla="*/ 10 w 140"/>
                <a:gd name="T45" fmla="*/ 35 h 297"/>
                <a:gd name="T46" fmla="*/ 21 w 140"/>
                <a:gd name="T47" fmla="*/ 21 h 297"/>
                <a:gd name="T48" fmla="*/ 35 w 140"/>
                <a:gd name="T49" fmla="*/ 10 h 297"/>
                <a:gd name="T50" fmla="*/ 52 w 140"/>
                <a:gd name="T51" fmla="*/ 3 h 297"/>
                <a:gd name="T52" fmla="*/ 71 w 140"/>
                <a:gd name="T53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7">
                  <a:moveTo>
                    <a:pt x="71" y="0"/>
                  </a:moveTo>
                  <a:lnTo>
                    <a:pt x="89" y="3"/>
                  </a:lnTo>
                  <a:lnTo>
                    <a:pt x="106" y="10"/>
                  </a:lnTo>
                  <a:lnTo>
                    <a:pt x="120" y="21"/>
                  </a:lnTo>
                  <a:lnTo>
                    <a:pt x="131" y="35"/>
                  </a:lnTo>
                  <a:lnTo>
                    <a:pt x="138" y="52"/>
                  </a:lnTo>
                  <a:lnTo>
                    <a:pt x="140" y="70"/>
                  </a:lnTo>
                  <a:lnTo>
                    <a:pt x="140" y="226"/>
                  </a:lnTo>
                  <a:lnTo>
                    <a:pt x="138" y="245"/>
                  </a:lnTo>
                  <a:lnTo>
                    <a:pt x="131" y="262"/>
                  </a:lnTo>
                  <a:lnTo>
                    <a:pt x="120" y="277"/>
                  </a:lnTo>
                  <a:lnTo>
                    <a:pt x="106" y="287"/>
                  </a:lnTo>
                  <a:lnTo>
                    <a:pt x="89" y="294"/>
                  </a:lnTo>
                  <a:lnTo>
                    <a:pt x="71" y="297"/>
                  </a:lnTo>
                  <a:lnTo>
                    <a:pt x="52" y="294"/>
                  </a:lnTo>
                  <a:lnTo>
                    <a:pt x="35" y="287"/>
                  </a:lnTo>
                  <a:lnTo>
                    <a:pt x="21" y="277"/>
                  </a:lnTo>
                  <a:lnTo>
                    <a:pt x="10" y="262"/>
                  </a:lnTo>
                  <a:lnTo>
                    <a:pt x="2" y="245"/>
                  </a:lnTo>
                  <a:lnTo>
                    <a:pt x="0" y="226"/>
                  </a:lnTo>
                  <a:lnTo>
                    <a:pt x="0" y="70"/>
                  </a:lnTo>
                  <a:lnTo>
                    <a:pt x="2" y="52"/>
                  </a:lnTo>
                  <a:lnTo>
                    <a:pt x="10" y="35"/>
                  </a:lnTo>
                  <a:lnTo>
                    <a:pt x="21" y="21"/>
                  </a:lnTo>
                  <a:lnTo>
                    <a:pt x="35" y="10"/>
                  </a:lnTo>
                  <a:lnTo>
                    <a:pt x="52" y="3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337"/>
            <p:cNvSpPr>
              <a:spLocks/>
            </p:cNvSpPr>
            <p:nvPr/>
          </p:nvSpPr>
          <p:spPr bwMode="auto">
            <a:xfrm>
              <a:off x="5427663" y="4373563"/>
              <a:ext cx="22225" cy="46037"/>
            </a:xfrm>
            <a:custGeom>
              <a:avLst/>
              <a:gdLst>
                <a:gd name="T0" fmla="*/ 70 w 140"/>
                <a:gd name="T1" fmla="*/ 0 h 296"/>
                <a:gd name="T2" fmla="*/ 89 w 140"/>
                <a:gd name="T3" fmla="*/ 2 h 296"/>
                <a:gd name="T4" fmla="*/ 105 w 140"/>
                <a:gd name="T5" fmla="*/ 9 h 296"/>
                <a:gd name="T6" fmla="*/ 119 w 140"/>
                <a:gd name="T7" fmla="*/ 20 h 296"/>
                <a:gd name="T8" fmla="*/ 131 w 140"/>
                <a:gd name="T9" fmla="*/ 34 h 296"/>
                <a:gd name="T10" fmla="*/ 137 w 140"/>
                <a:gd name="T11" fmla="*/ 50 h 296"/>
                <a:gd name="T12" fmla="*/ 140 w 140"/>
                <a:gd name="T13" fmla="*/ 69 h 296"/>
                <a:gd name="T14" fmla="*/ 140 w 140"/>
                <a:gd name="T15" fmla="*/ 226 h 296"/>
                <a:gd name="T16" fmla="*/ 137 w 140"/>
                <a:gd name="T17" fmla="*/ 245 h 296"/>
                <a:gd name="T18" fmla="*/ 131 w 140"/>
                <a:gd name="T19" fmla="*/ 262 h 296"/>
                <a:gd name="T20" fmla="*/ 119 w 140"/>
                <a:gd name="T21" fmla="*/ 276 h 296"/>
                <a:gd name="T22" fmla="*/ 105 w 140"/>
                <a:gd name="T23" fmla="*/ 286 h 296"/>
                <a:gd name="T24" fmla="*/ 89 w 140"/>
                <a:gd name="T25" fmla="*/ 294 h 296"/>
                <a:gd name="T26" fmla="*/ 70 w 140"/>
                <a:gd name="T27" fmla="*/ 296 h 296"/>
                <a:gd name="T28" fmla="*/ 51 w 140"/>
                <a:gd name="T29" fmla="*/ 294 h 296"/>
                <a:gd name="T30" fmla="*/ 34 w 140"/>
                <a:gd name="T31" fmla="*/ 286 h 296"/>
                <a:gd name="T32" fmla="*/ 20 w 140"/>
                <a:gd name="T33" fmla="*/ 276 h 296"/>
                <a:gd name="T34" fmla="*/ 10 w 140"/>
                <a:gd name="T35" fmla="*/ 261 h 296"/>
                <a:gd name="T36" fmla="*/ 2 w 140"/>
                <a:gd name="T37" fmla="*/ 244 h 296"/>
                <a:gd name="T38" fmla="*/ 0 w 140"/>
                <a:gd name="T39" fmla="*/ 226 h 296"/>
                <a:gd name="T40" fmla="*/ 0 w 140"/>
                <a:gd name="T41" fmla="*/ 69 h 296"/>
                <a:gd name="T42" fmla="*/ 2 w 140"/>
                <a:gd name="T43" fmla="*/ 50 h 296"/>
                <a:gd name="T44" fmla="*/ 10 w 140"/>
                <a:gd name="T45" fmla="*/ 34 h 296"/>
                <a:gd name="T46" fmla="*/ 20 w 140"/>
                <a:gd name="T47" fmla="*/ 20 h 296"/>
                <a:gd name="T48" fmla="*/ 34 w 140"/>
                <a:gd name="T49" fmla="*/ 9 h 296"/>
                <a:gd name="T50" fmla="*/ 51 w 140"/>
                <a:gd name="T51" fmla="*/ 2 h 296"/>
                <a:gd name="T52" fmla="*/ 70 w 140"/>
                <a:gd name="T53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6">
                  <a:moveTo>
                    <a:pt x="70" y="0"/>
                  </a:moveTo>
                  <a:lnTo>
                    <a:pt x="89" y="2"/>
                  </a:lnTo>
                  <a:lnTo>
                    <a:pt x="105" y="9"/>
                  </a:lnTo>
                  <a:lnTo>
                    <a:pt x="119" y="20"/>
                  </a:lnTo>
                  <a:lnTo>
                    <a:pt x="131" y="34"/>
                  </a:lnTo>
                  <a:lnTo>
                    <a:pt x="137" y="50"/>
                  </a:lnTo>
                  <a:lnTo>
                    <a:pt x="140" y="69"/>
                  </a:lnTo>
                  <a:lnTo>
                    <a:pt x="140" y="226"/>
                  </a:lnTo>
                  <a:lnTo>
                    <a:pt x="137" y="245"/>
                  </a:lnTo>
                  <a:lnTo>
                    <a:pt x="131" y="262"/>
                  </a:lnTo>
                  <a:lnTo>
                    <a:pt x="119" y="276"/>
                  </a:lnTo>
                  <a:lnTo>
                    <a:pt x="105" y="286"/>
                  </a:lnTo>
                  <a:lnTo>
                    <a:pt x="89" y="294"/>
                  </a:lnTo>
                  <a:lnTo>
                    <a:pt x="70" y="296"/>
                  </a:lnTo>
                  <a:lnTo>
                    <a:pt x="51" y="294"/>
                  </a:lnTo>
                  <a:lnTo>
                    <a:pt x="34" y="286"/>
                  </a:lnTo>
                  <a:lnTo>
                    <a:pt x="20" y="276"/>
                  </a:lnTo>
                  <a:lnTo>
                    <a:pt x="10" y="261"/>
                  </a:lnTo>
                  <a:lnTo>
                    <a:pt x="2" y="244"/>
                  </a:lnTo>
                  <a:lnTo>
                    <a:pt x="0" y="226"/>
                  </a:lnTo>
                  <a:lnTo>
                    <a:pt x="0" y="69"/>
                  </a:lnTo>
                  <a:lnTo>
                    <a:pt x="2" y="50"/>
                  </a:lnTo>
                  <a:lnTo>
                    <a:pt x="10" y="34"/>
                  </a:lnTo>
                  <a:lnTo>
                    <a:pt x="20" y="20"/>
                  </a:lnTo>
                  <a:lnTo>
                    <a:pt x="34" y="9"/>
                  </a:lnTo>
                  <a:lnTo>
                    <a:pt x="51" y="2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338"/>
            <p:cNvSpPr>
              <a:spLocks/>
            </p:cNvSpPr>
            <p:nvPr/>
          </p:nvSpPr>
          <p:spPr bwMode="auto">
            <a:xfrm>
              <a:off x="5487988" y="4373563"/>
              <a:ext cx="22225" cy="46037"/>
            </a:xfrm>
            <a:custGeom>
              <a:avLst/>
              <a:gdLst>
                <a:gd name="T0" fmla="*/ 71 w 141"/>
                <a:gd name="T1" fmla="*/ 0 h 296"/>
                <a:gd name="T2" fmla="*/ 89 w 141"/>
                <a:gd name="T3" fmla="*/ 2 h 296"/>
                <a:gd name="T4" fmla="*/ 106 w 141"/>
                <a:gd name="T5" fmla="*/ 9 h 296"/>
                <a:gd name="T6" fmla="*/ 121 w 141"/>
                <a:gd name="T7" fmla="*/ 20 h 296"/>
                <a:gd name="T8" fmla="*/ 131 w 141"/>
                <a:gd name="T9" fmla="*/ 34 h 296"/>
                <a:gd name="T10" fmla="*/ 139 w 141"/>
                <a:gd name="T11" fmla="*/ 50 h 296"/>
                <a:gd name="T12" fmla="*/ 141 w 141"/>
                <a:gd name="T13" fmla="*/ 69 h 296"/>
                <a:gd name="T14" fmla="*/ 141 w 141"/>
                <a:gd name="T15" fmla="*/ 226 h 296"/>
                <a:gd name="T16" fmla="*/ 139 w 141"/>
                <a:gd name="T17" fmla="*/ 245 h 296"/>
                <a:gd name="T18" fmla="*/ 131 w 141"/>
                <a:gd name="T19" fmla="*/ 262 h 296"/>
                <a:gd name="T20" fmla="*/ 121 w 141"/>
                <a:gd name="T21" fmla="*/ 276 h 296"/>
                <a:gd name="T22" fmla="*/ 106 w 141"/>
                <a:gd name="T23" fmla="*/ 286 h 296"/>
                <a:gd name="T24" fmla="*/ 89 w 141"/>
                <a:gd name="T25" fmla="*/ 294 h 296"/>
                <a:gd name="T26" fmla="*/ 71 w 141"/>
                <a:gd name="T27" fmla="*/ 296 h 296"/>
                <a:gd name="T28" fmla="*/ 52 w 141"/>
                <a:gd name="T29" fmla="*/ 294 h 296"/>
                <a:gd name="T30" fmla="*/ 35 w 141"/>
                <a:gd name="T31" fmla="*/ 286 h 296"/>
                <a:gd name="T32" fmla="*/ 21 w 141"/>
                <a:gd name="T33" fmla="*/ 276 h 296"/>
                <a:gd name="T34" fmla="*/ 10 w 141"/>
                <a:gd name="T35" fmla="*/ 261 h 296"/>
                <a:gd name="T36" fmla="*/ 3 w 141"/>
                <a:gd name="T37" fmla="*/ 244 h 296"/>
                <a:gd name="T38" fmla="*/ 0 w 141"/>
                <a:gd name="T39" fmla="*/ 226 h 296"/>
                <a:gd name="T40" fmla="*/ 0 w 141"/>
                <a:gd name="T41" fmla="*/ 69 h 296"/>
                <a:gd name="T42" fmla="*/ 3 w 141"/>
                <a:gd name="T43" fmla="*/ 50 h 296"/>
                <a:gd name="T44" fmla="*/ 10 w 141"/>
                <a:gd name="T45" fmla="*/ 34 h 296"/>
                <a:gd name="T46" fmla="*/ 21 w 141"/>
                <a:gd name="T47" fmla="*/ 20 h 296"/>
                <a:gd name="T48" fmla="*/ 35 w 141"/>
                <a:gd name="T49" fmla="*/ 9 h 296"/>
                <a:gd name="T50" fmla="*/ 52 w 141"/>
                <a:gd name="T51" fmla="*/ 2 h 296"/>
                <a:gd name="T52" fmla="*/ 71 w 141"/>
                <a:gd name="T53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1" h="296">
                  <a:moveTo>
                    <a:pt x="71" y="0"/>
                  </a:moveTo>
                  <a:lnTo>
                    <a:pt x="89" y="2"/>
                  </a:lnTo>
                  <a:lnTo>
                    <a:pt x="106" y="9"/>
                  </a:lnTo>
                  <a:lnTo>
                    <a:pt x="121" y="20"/>
                  </a:lnTo>
                  <a:lnTo>
                    <a:pt x="131" y="34"/>
                  </a:lnTo>
                  <a:lnTo>
                    <a:pt x="139" y="50"/>
                  </a:lnTo>
                  <a:lnTo>
                    <a:pt x="141" y="69"/>
                  </a:lnTo>
                  <a:lnTo>
                    <a:pt x="141" y="226"/>
                  </a:lnTo>
                  <a:lnTo>
                    <a:pt x="139" y="245"/>
                  </a:lnTo>
                  <a:lnTo>
                    <a:pt x="131" y="262"/>
                  </a:lnTo>
                  <a:lnTo>
                    <a:pt x="121" y="276"/>
                  </a:lnTo>
                  <a:lnTo>
                    <a:pt x="106" y="286"/>
                  </a:lnTo>
                  <a:lnTo>
                    <a:pt x="89" y="294"/>
                  </a:lnTo>
                  <a:lnTo>
                    <a:pt x="71" y="296"/>
                  </a:lnTo>
                  <a:lnTo>
                    <a:pt x="52" y="294"/>
                  </a:lnTo>
                  <a:lnTo>
                    <a:pt x="35" y="286"/>
                  </a:lnTo>
                  <a:lnTo>
                    <a:pt x="21" y="276"/>
                  </a:lnTo>
                  <a:lnTo>
                    <a:pt x="10" y="261"/>
                  </a:lnTo>
                  <a:lnTo>
                    <a:pt x="3" y="244"/>
                  </a:lnTo>
                  <a:lnTo>
                    <a:pt x="0" y="226"/>
                  </a:lnTo>
                  <a:lnTo>
                    <a:pt x="0" y="69"/>
                  </a:lnTo>
                  <a:lnTo>
                    <a:pt x="3" y="50"/>
                  </a:lnTo>
                  <a:lnTo>
                    <a:pt x="10" y="34"/>
                  </a:lnTo>
                  <a:lnTo>
                    <a:pt x="21" y="20"/>
                  </a:lnTo>
                  <a:lnTo>
                    <a:pt x="35" y="9"/>
                  </a:lnTo>
                  <a:lnTo>
                    <a:pt x="52" y="2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339"/>
            <p:cNvSpPr>
              <a:spLocks/>
            </p:cNvSpPr>
            <p:nvPr/>
          </p:nvSpPr>
          <p:spPr bwMode="auto">
            <a:xfrm>
              <a:off x="5548313" y="4373563"/>
              <a:ext cx="22225" cy="46037"/>
            </a:xfrm>
            <a:custGeom>
              <a:avLst/>
              <a:gdLst>
                <a:gd name="T0" fmla="*/ 69 w 140"/>
                <a:gd name="T1" fmla="*/ 0 h 296"/>
                <a:gd name="T2" fmla="*/ 88 w 140"/>
                <a:gd name="T3" fmla="*/ 2 h 296"/>
                <a:gd name="T4" fmla="*/ 105 w 140"/>
                <a:gd name="T5" fmla="*/ 9 h 296"/>
                <a:gd name="T6" fmla="*/ 119 w 140"/>
                <a:gd name="T7" fmla="*/ 20 h 296"/>
                <a:gd name="T8" fmla="*/ 131 w 140"/>
                <a:gd name="T9" fmla="*/ 34 h 296"/>
                <a:gd name="T10" fmla="*/ 137 w 140"/>
                <a:gd name="T11" fmla="*/ 50 h 296"/>
                <a:gd name="T12" fmla="*/ 140 w 140"/>
                <a:gd name="T13" fmla="*/ 69 h 296"/>
                <a:gd name="T14" fmla="*/ 140 w 140"/>
                <a:gd name="T15" fmla="*/ 226 h 296"/>
                <a:gd name="T16" fmla="*/ 137 w 140"/>
                <a:gd name="T17" fmla="*/ 245 h 296"/>
                <a:gd name="T18" fmla="*/ 131 w 140"/>
                <a:gd name="T19" fmla="*/ 262 h 296"/>
                <a:gd name="T20" fmla="*/ 119 w 140"/>
                <a:gd name="T21" fmla="*/ 276 h 296"/>
                <a:gd name="T22" fmla="*/ 105 w 140"/>
                <a:gd name="T23" fmla="*/ 286 h 296"/>
                <a:gd name="T24" fmla="*/ 88 w 140"/>
                <a:gd name="T25" fmla="*/ 294 h 296"/>
                <a:gd name="T26" fmla="*/ 69 w 140"/>
                <a:gd name="T27" fmla="*/ 296 h 296"/>
                <a:gd name="T28" fmla="*/ 52 w 140"/>
                <a:gd name="T29" fmla="*/ 294 h 296"/>
                <a:gd name="T30" fmla="*/ 35 w 140"/>
                <a:gd name="T31" fmla="*/ 286 h 296"/>
                <a:gd name="T32" fmla="*/ 20 w 140"/>
                <a:gd name="T33" fmla="*/ 276 h 296"/>
                <a:gd name="T34" fmla="*/ 9 w 140"/>
                <a:gd name="T35" fmla="*/ 261 h 296"/>
                <a:gd name="T36" fmla="*/ 2 w 140"/>
                <a:gd name="T37" fmla="*/ 244 h 296"/>
                <a:gd name="T38" fmla="*/ 0 w 140"/>
                <a:gd name="T39" fmla="*/ 226 h 296"/>
                <a:gd name="T40" fmla="*/ 0 w 140"/>
                <a:gd name="T41" fmla="*/ 69 h 296"/>
                <a:gd name="T42" fmla="*/ 2 w 140"/>
                <a:gd name="T43" fmla="*/ 50 h 296"/>
                <a:gd name="T44" fmla="*/ 9 w 140"/>
                <a:gd name="T45" fmla="*/ 34 h 296"/>
                <a:gd name="T46" fmla="*/ 20 w 140"/>
                <a:gd name="T47" fmla="*/ 20 h 296"/>
                <a:gd name="T48" fmla="*/ 35 w 140"/>
                <a:gd name="T49" fmla="*/ 9 h 296"/>
                <a:gd name="T50" fmla="*/ 50 w 140"/>
                <a:gd name="T51" fmla="*/ 2 h 296"/>
                <a:gd name="T52" fmla="*/ 69 w 140"/>
                <a:gd name="T53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6">
                  <a:moveTo>
                    <a:pt x="69" y="0"/>
                  </a:moveTo>
                  <a:lnTo>
                    <a:pt x="88" y="2"/>
                  </a:lnTo>
                  <a:lnTo>
                    <a:pt x="105" y="9"/>
                  </a:lnTo>
                  <a:lnTo>
                    <a:pt x="119" y="20"/>
                  </a:lnTo>
                  <a:lnTo>
                    <a:pt x="131" y="34"/>
                  </a:lnTo>
                  <a:lnTo>
                    <a:pt x="137" y="50"/>
                  </a:lnTo>
                  <a:lnTo>
                    <a:pt x="140" y="69"/>
                  </a:lnTo>
                  <a:lnTo>
                    <a:pt x="140" y="226"/>
                  </a:lnTo>
                  <a:lnTo>
                    <a:pt x="137" y="245"/>
                  </a:lnTo>
                  <a:lnTo>
                    <a:pt x="131" y="262"/>
                  </a:lnTo>
                  <a:lnTo>
                    <a:pt x="119" y="276"/>
                  </a:lnTo>
                  <a:lnTo>
                    <a:pt x="105" y="286"/>
                  </a:lnTo>
                  <a:lnTo>
                    <a:pt x="88" y="294"/>
                  </a:lnTo>
                  <a:lnTo>
                    <a:pt x="69" y="296"/>
                  </a:lnTo>
                  <a:lnTo>
                    <a:pt x="52" y="294"/>
                  </a:lnTo>
                  <a:lnTo>
                    <a:pt x="35" y="286"/>
                  </a:lnTo>
                  <a:lnTo>
                    <a:pt x="20" y="276"/>
                  </a:lnTo>
                  <a:lnTo>
                    <a:pt x="9" y="261"/>
                  </a:lnTo>
                  <a:lnTo>
                    <a:pt x="2" y="244"/>
                  </a:lnTo>
                  <a:lnTo>
                    <a:pt x="0" y="226"/>
                  </a:lnTo>
                  <a:lnTo>
                    <a:pt x="0" y="69"/>
                  </a:lnTo>
                  <a:lnTo>
                    <a:pt x="2" y="50"/>
                  </a:lnTo>
                  <a:lnTo>
                    <a:pt x="9" y="34"/>
                  </a:lnTo>
                  <a:lnTo>
                    <a:pt x="20" y="20"/>
                  </a:lnTo>
                  <a:lnTo>
                    <a:pt x="35" y="9"/>
                  </a:lnTo>
                  <a:lnTo>
                    <a:pt x="50" y="2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340"/>
            <p:cNvSpPr>
              <a:spLocks/>
            </p:cNvSpPr>
            <p:nvPr/>
          </p:nvSpPr>
          <p:spPr bwMode="auto">
            <a:xfrm>
              <a:off x="5608638" y="4373563"/>
              <a:ext cx="22225" cy="46037"/>
            </a:xfrm>
            <a:custGeom>
              <a:avLst/>
              <a:gdLst>
                <a:gd name="T0" fmla="*/ 71 w 140"/>
                <a:gd name="T1" fmla="*/ 0 h 296"/>
                <a:gd name="T2" fmla="*/ 89 w 140"/>
                <a:gd name="T3" fmla="*/ 2 h 296"/>
                <a:gd name="T4" fmla="*/ 106 w 140"/>
                <a:gd name="T5" fmla="*/ 9 h 296"/>
                <a:gd name="T6" fmla="*/ 120 w 140"/>
                <a:gd name="T7" fmla="*/ 20 h 296"/>
                <a:gd name="T8" fmla="*/ 131 w 140"/>
                <a:gd name="T9" fmla="*/ 34 h 296"/>
                <a:gd name="T10" fmla="*/ 138 w 140"/>
                <a:gd name="T11" fmla="*/ 50 h 296"/>
                <a:gd name="T12" fmla="*/ 140 w 140"/>
                <a:gd name="T13" fmla="*/ 69 h 296"/>
                <a:gd name="T14" fmla="*/ 140 w 140"/>
                <a:gd name="T15" fmla="*/ 226 h 296"/>
                <a:gd name="T16" fmla="*/ 138 w 140"/>
                <a:gd name="T17" fmla="*/ 245 h 296"/>
                <a:gd name="T18" fmla="*/ 131 w 140"/>
                <a:gd name="T19" fmla="*/ 262 h 296"/>
                <a:gd name="T20" fmla="*/ 120 w 140"/>
                <a:gd name="T21" fmla="*/ 276 h 296"/>
                <a:gd name="T22" fmla="*/ 106 w 140"/>
                <a:gd name="T23" fmla="*/ 286 h 296"/>
                <a:gd name="T24" fmla="*/ 89 w 140"/>
                <a:gd name="T25" fmla="*/ 294 h 296"/>
                <a:gd name="T26" fmla="*/ 71 w 140"/>
                <a:gd name="T27" fmla="*/ 296 h 296"/>
                <a:gd name="T28" fmla="*/ 52 w 140"/>
                <a:gd name="T29" fmla="*/ 294 h 296"/>
                <a:gd name="T30" fmla="*/ 35 w 140"/>
                <a:gd name="T31" fmla="*/ 286 h 296"/>
                <a:gd name="T32" fmla="*/ 21 w 140"/>
                <a:gd name="T33" fmla="*/ 276 h 296"/>
                <a:gd name="T34" fmla="*/ 10 w 140"/>
                <a:gd name="T35" fmla="*/ 261 h 296"/>
                <a:gd name="T36" fmla="*/ 2 w 140"/>
                <a:gd name="T37" fmla="*/ 244 h 296"/>
                <a:gd name="T38" fmla="*/ 0 w 140"/>
                <a:gd name="T39" fmla="*/ 226 h 296"/>
                <a:gd name="T40" fmla="*/ 0 w 140"/>
                <a:gd name="T41" fmla="*/ 69 h 296"/>
                <a:gd name="T42" fmla="*/ 2 w 140"/>
                <a:gd name="T43" fmla="*/ 50 h 296"/>
                <a:gd name="T44" fmla="*/ 10 w 140"/>
                <a:gd name="T45" fmla="*/ 34 h 296"/>
                <a:gd name="T46" fmla="*/ 21 w 140"/>
                <a:gd name="T47" fmla="*/ 20 h 296"/>
                <a:gd name="T48" fmla="*/ 35 w 140"/>
                <a:gd name="T49" fmla="*/ 9 h 296"/>
                <a:gd name="T50" fmla="*/ 52 w 140"/>
                <a:gd name="T51" fmla="*/ 2 h 296"/>
                <a:gd name="T52" fmla="*/ 71 w 140"/>
                <a:gd name="T53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6">
                  <a:moveTo>
                    <a:pt x="71" y="0"/>
                  </a:moveTo>
                  <a:lnTo>
                    <a:pt x="89" y="2"/>
                  </a:lnTo>
                  <a:lnTo>
                    <a:pt x="106" y="9"/>
                  </a:lnTo>
                  <a:lnTo>
                    <a:pt x="120" y="20"/>
                  </a:lnTo>
                  <a:lnTo>
                    <a:pt x="131" y="34"/>
                  </a:lnTo>
                  <a:lnTo>
                    <a:pt x="138" y="50"/>
                  </a:lnTo>
                  <a:lnTo>
                    <a:pt x="140" y="69"/>
                  </a:lnTo>
                  <a:lnTo>
                    <a:pt x="140" y="226"/>
                  </a:lnTo>
                  <a:lnTo>
                    <a:pt x="138" y="245"/>
                  </a:lnTo>
                  <a:lnTo>
                    <a:pt x="131" y="262"/>
                  </a:lnTo>
                  <a:lnTo>
                    <a:pt x="120" y="276"/>
                  </a:lnTo>
                  <a:lnTo>
                    <a:pt x="106" y="286"/>
                  </a:lnTo>
                  <a:lnTo>
                    <a:pt x="89" y="294"/>
                  </a:lnTo>
                  <a:lnTo>
                    <a:pt x="71" y="296"/>
                  </a:lnTo>
                  <a:lnTo>
                    <a:pt x="52" y="294"/>
                  </a:lnTo>
                  <a:lnTo>
                    <a:pt x="35" y="286"/>
                  </a:lnTo>
                  <a:lnTo>
                    <a:pt x="21" y="276"/>
                  </a:lnTo>
                  <a:lnTo>
                    <a:pt x="10" y="261"/>
                  </a:lnTo>
                  <a:lnTo>
                    <a:pt x="2" y="244"/>
                  </a:lnTo>
                  <a:lnTo>
                    <a:pt x="0" y="226"/>
                  </a:lnTo>
                  <a:lnTo>
                    <a:pt x="0" y="69"/>
                  </a:lnTo>
                  <a:lnTo>
                    <a:pt x="2" y="50"/>
                  </a:lnTo>
                  <a:lnTo>
                    <a:pt x="10" y="34"/>
                  </a:lnTo>
                  <a:lnTo>
                    <a:pt x="21" y="20"/>
                  </a:lnTo>
                  <a:lnTo>
                    <a:pt x="35" y="9"/>
                  </a:lnTo>
                  <a:lnTo>
                    <a:pt x="52" y="2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341"/>
            <p:cNvSpPr>
              <a:spLocks/>
            </p:cNvSpPr>
            <p:nvPr/>
          </p:nvSpPr>
          <p:spPr bwMode="auto">
            <a:xfrm>
              <a:off x="5427663" y="4449763"/>
              <a:ext cx="22225" cy="46037"/>
            </a:xfrm>
            <a:custGeom>
              <a:avLst/>
              <a:gdLst>
                <a:gd name="T0" fmla="*/ 70 w 140"/>
                <a:gd name="T1" fmla="*/ 0 h 296"/>
                <a:gd name="T2" fmla="*/ 89 w 140"/>
                <a:gd name="T3" fmla="*/ 2 h 296"/>
                <a:gd name="T4" fmla="*/ 105 w 140"/>
                <a:gd name="T5" fmla="*/ 9 h 296"/>
                <a:gd name="T6" fmla="*/ 119 w 140"/>
                <a:gd name="T7" fmla="*/ 20 h 296"/>
                <a:gd name="T8" fmla="*/ 131 w 140"/>
                <a:gd name="T9" fmla="*/ 35 h 296"/>
                <a:gd name="T10" fmla="*/ 137 w 140"/>
                <a:gd name="T11" fmla="*/ 52 h 296"/>
                <a:gd name="T12" fmla="*/ 140 w 140"/>
                <a:gd name="T13" fmla="*/ 71 h 296"/>
                <a:gd name="T14" fmla="*/ 140 w 140"/>
                <a:gd name="T15" fmla="*/ 226 h 296"/>
                <a:gd name="T16" fmla="*/ 137 w 140"/>
                <a:gd name="T17" fmla="*/ 244 h 296"/>
                <a:gd name="T18" fmla="*/ 131 w 140"/>
                <a:gd name="T19" fmla="*/ 261 h 296"/>
                <a:gd name="T20" fmla="*/ 119 w 140"/>
                <a:gd name="T21" fmla="*/ 276 h 296"/>
                <a:gd name="T22" fmla="*/ 105 w 140"/>
                <a:gd name="T23" fmla="*/ 286 h 296"/>
                <a:gd name="T24" fmla="*/ 89 w 140"/>
                <a:gd name="T25" fmla="*/ 294 h 296"/>
                <a:gd name="T26" fmla="*/ 70 w 140"/>
                <a:gd name="T27" fmla="*/ 296 h 296"/>
                <a:gd name="T28" fmla="*/ 51 w 140"/>
                <a:gd name="T29" fmla="*/ 294 h 296"/>
                <a:gd name="T30" fmla="*/ 34 w 140"/>
                <a:gd name="T31" fmla="*/ 286 h 296"/>
                <a:gd name="T32" fmla="*/ 20 w 140"/>
                <a:gd name="T33" fmla="*/ 276 h 296"/>
                <a:gd name="T34" fmla="*/ 10 w 140"/>
                <a:gd name="T35" fmla="*/ 261 h 296"/>
                <a:gd name="T36" fmla="*/ 2 w 140"/>
                <a:gd name="T37" fmla="*/ 244 h 296"/>
                <a:gd name="T38" fmla="*/ 0 w 140"/>
                <a:gd name="T39" fmla="*/ 226 h 296"/>
                <a:gd name="T40" fmla="*/ 0 w 140"/>
                <a:gd name="T41" fmla="*/ 71 h 296"/>
                <a:gd name="T42" fmla="*/ 2 w 140"/>
                <a:gd name="T43" fmla="*/ 52 h 296"/>
                <a:gd name="T44" fmla="*/ 10 w 140"/>
                <a:gd name="T45" fmla="*/ 35 h 296"/>
                <a:gd name="T46" fmla="*/ 20 w 140"/>
                <a:gd name="T47" fmla="*/ 20 h 296"/>
                <a:gd name="T48" fmla="*/ 34 w 140"/>
                <a:gd name="T49" fmla="*/ 9 h 296"/>
                <a:gd name="T50" fmla="*/ 51 w 140"/>
                <a:gd name="T51" fmla="*/ 2 h 296"/>
                <a:gd name="T52" fmla="*/ 70 w 140"/>
                <a:gd name="T53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6">
                  <a:moveTo>
                    <a:pt x="70" y="0"/>
                  </a:moveTo>
                  <a:lnTo>
                    <a:pt x="89" y="2"/>
                  </a:lnTo>
                  <a:lnTo>
                    <a:pt x="105" y="9"/>
                  </a:lnTo>
                  <a:lnTo>
                    <a:pt x="119" y="20"/>
                  </a:lnTo>
                  <a:lnTo>
                    <a:pt x="131" y="35"/>
                  </a:lnTo>
                  <a:lnTo>
                    <a:pt x="137" y="52"/>
                  </a:lnTo>
                  <a:lnTo>
                    <a:pt x="140" y="71"/>
                  </a:lnTo>
                  <a:lnTo>
                    <a:pt x="140" y="226"/>
                  </a:lnTo>
                  <a:lnTo>
                    <a:pt x="137" y="244"/>
                  </a:lnTo>
                  <a:lnTo>
                    <a:pt x="131" y="261"/>
                  </a:lnTo>
                  <a:lnTo>
                    <a:pt x="119" y="276"/>
                  </a:lnTo>
                  <a:lnTo>
                    <a:pt x="105" y="286"/>
                  </a:lnTo>
                  <a:lnTo>
                    <a:pt x="89" y="294"/>
                  </a:lnTo>
                  <a:lnTo>
                    <a:pt x="70" y="296"/>
                  </a:lnTo>
                  <a:lnTo>
                    <a:pt x="51" y="294"/>
                  </a:lnTo>
                  <a:lnTo>
                    <a:pt x="34" y="286"/>
                  </a:lnTo>
                  <a:lnTo>
                    <a:pt x="20" y="276"/>
                  </a:lnTo>
                  <a:lnTo>
                    <a:pt x="10" y="261"/>
                  </a:lnTo>
                  <a:lnTo>
                    <a:pt x="2" y="244"/>
                  </a:lnTo>
                  <a:lnTo>
                    <a:pt x="0" y="226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10" y="35"/>
                  </a:lnTo>
                  <a:lnTo>
                    <a:pt x="20" y="20"/>
                  </a:lnTo>
                  <a:lnTo>
                    <a:pt x="34" y="9"/>
                  </a:lnTo>
                  <a:lnTo>
                    <a:pt x="51" y="2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342"/>
            <p:cNvSpPr>
              <a:spLocks/>
            </p:cNvSpPr>
            <p:nvPr/>
          </p:nvSpPr>
          <p:spPr bwMode="auto">
            <a:xfrm>
              <a:off x="5487988" y="4449763"/>
              <a:ext cx="22225" cy="46037"/>
            </a:xfrm>
            <a:custGeom>
              <a:avLst/>
              <a:gdLst>
                <a:gd name="T0" fmla="*/ 71 w 141"/>
                <a:gd name="T1" fmla="*/ 0 h 296"/>
                <a:gd name="T2" fmla="*/ 89 w 141"/>
                <a:gd name="T3" fmla="*/ 2 h 296"/>
                <a:gd name="T4" fmla="*/ 106 w 141"/>
                <a:gd name="T5" fmla="*/ 9 h 296"/>
                <a:gd name="T6" fmla="*/ 121 w 141"/>
                <a:gd name="T7" fmla="*/ 20 h 296"/>
                <a:gd name="T8" fmla="*/ 131 w 141"/>
                <a:gd name="T9" fmla="*/ 35 h 296"/>
                <a:gd name="T10" fmla="*/ 139 w 141"/>
                <a:gd name="T11" fmla="*/ 52 h 296"/>
                <a:gd name="T12" fmla="*/ 141 w 141"/>
                <a:gd name="T13" fmla="*/ 71 h 296"/>
                <a:gd name="T14" fmla="*/ 141 w 141"/>
                <a:gd name="T15" fmla="*/ 226 h 296"/>
                <a:gd name="T16" fmla="*/ 139 w 141"/>
                <a:gd name="T17" fmla="*/ 244 h 296"/>
                <a:gd name="T18" fmla="*/ 131 w 141"/>
                <a:gd name="T19" fmla="*/ 261 h 296"/>
                <a:gd name="T20" fmla="*/ 121 w 141"/>
                <a:gd name="T21" fmla="*/ 276 h 296"/>
                <a:gd name="T22" fmla="*/ 106 w 141"/>
                <a:gd name="T23" fmla="*/ 286 h 296"/>
                <a:gd name="T24" fmla="*/ 89 w 141"/>
                <a:gd name="T25" fmla="*/ 294 h 296"/>
                <a:gd name="T26" fmla="*/ 71 w 141"/>
                <a:gd name="T27" fmla="*/ 296 h 296"/>
                <a:gd name="T28" fmla="*/ 52 w 141"/>
                <a:gd name="T29" fmla="*/ 294 h 296"/>
                <a:gd name="T30" fmla="*/ 35 w 141"/>
                <a:gd name="T31" fmla="*/ 286 h 296"/>
                <a:gd name="T32" fmla="*/ 21 w 141"/>
                <a:gd name="T33" fmla="*/ 276 h 296"/>
                <a:gd name="T34" fmla="*/ 10 w 141"/>
                <a:gd name="T35" fmla="*/ 261 h 296"/>
                <a:gd name="T36" fmla="*/ 3 w 141"/>
                <a:gd name="T37" fmla="*/ 244 h 296"/>
                <a:gd name="T38" fmla="*/ 0 w 141"/>
                <a:gd name="T39" fmla="*/ 226 h 296"/>
                <a:gd name="T40" fmla="*/ 0 w 141"/>
                <a:gd name="T41" fmla="*/ 71 h 296"/>
                <a:gd name="T42" fmla="*/ 3 w 141"/>
                <a:gd name="T43" fmla="*/ 52 h 296"/>
                <a:gd name="T44" fmla="*/ 10 w 141"/>
                <a:gd name="T45" fmla="*/ 35 h 296"/>
                <a:gd name="T46" fmla="*/ 21 w 141"/>
                <a:gd name="T47" fmla="*/ 20 h 296"/>
                <a:gd name="T48" fmla="*/ 35 w 141"/>
                <a:gd name="T49" fmla="*/ 9 h 296"/>
                <a:gd name="T50" fmla="*/ 52 w 141"/>
                <a:gd name="T51" fmla="*/ 2 h 296"/>
                <a:gd name="T52" fmla="*/ 71 w 141"/>
                <a:gd name="T53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1" h="296">
                  <a:moveTo>
                    <a:pt x="71" y="0"/>
                  </a:moveTo>
                  <a:lnTo>
                    <a:pt x="89" y="2"/>
                  </a:lnTo>
                  <a:lnTo>
                    <a:pt x="106" y="9"/>
                  </a:lnTo>
                  <a:lnTo>
                    <a:pt x="121" y="20"/>
                  </a:lnTo>
                  <a:lnTo>
                    <a:pt x="131" y="35"/>
                  </a:lnTo>
                  <a:lnTo>
                    <a:pt x="139" y="52"/>
                  </a:lnTo>
                  <a:lnTo>
                    <a:pt x="141" y="71"/>
                  </a:lnTo>
                  <a:lnTo>
                    <a:pt x="141" y="226"/>
                  </a:lnTo>
                  <a:lnTo>
                    <a:pt x="139" y="244"/>
                  </a:lnTo>
                  <a:lnTo>
                    <a:pt x="131" y="261"/>
                  </a:lnTo>
                  <a:lnTo>
                    <a:pt x="121" y="276"/>
                  </a:lnTo>
                  <a:lnTo>
                    <a:pt x="106" y="286"/>
                  </a:lnTo>
                  <a:lnTo>
                    <a:pt x="89" y="294"/>
                  </a:lnTo>
                  <a:lnTo>
                    <a:pt x="71" y="296"/>
                  </a:lnTo>
                  <a:lnTo>
                    <a:pt x="52" y="294"/>
                  </a:lnTo>
                  <a:lnTo>
                    <a:pt x="35" y="286"/>
                  </a:lnTo>
                  <a:lnTo>
                    <a:pt x="21" y="276"/>
                  </a:lnTo>
                  <a:lnTo>
                    <a:pt x="10" y="261"/>
                  </a:lnTo>
                  <a:lnTo>
                    <a:pt x="3" y="244"/>
                  </a:lnTo>
                  <a:lnTo>
                    <a:pt x="0" y="226"/>
                  </a:lnTo>
                  <a:lnTo>
                    <a:pt x="0" y="71"/>
                  </a:lnTo>
                  <a:lnTo>
                    <a:pt x="3" y="52"/>
                  </a:lnTo>
                  <a:lnTo>
                    <a:pt x="10" y="35"/>
                  </a:lnTo>
                  <a:lnTo>
                    <a:pt x="21" y="20"/>
                  </a:lnTo>
                  <a:lnTo>
                    <a:pt x="35" y="9"/>
                  </a:lnTo>
                  <a:lnTo>
                    <a:pt x="52" y="2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343"/>
            <p:cNvSpPr>
              <a:spLocks/>
            </p:cNvSpPr>
            <p:nvPr/>
          </p:nvSpPr>
          <p:spPr bwMode="auto">
            <a:xfrm>
              <a:off x="5548313" y="4449763"/>
              <a:ext cx="22225" cy="46037"/>
            </a:xfrm>
            <a:custGeom>
              <a:avLst/>
              <a:gdLst>
                <a:gd name="T0" fmla="*/ 69 w 140"/>
                <a:gd name="T1" fmla="*/ 0 h 296"/>
                <a:gd name="T2" fmla="*/ 88 w 140"/>
                <a:gd name="T3" fmla="*/ 2 h 296"/>
                <a:gd name="T4" fmla="*/ 105 w 140"/>
                <a:gd name="T5" fmla="*/ 9 h 296"/>
                <a:gd name="T6" fmla="*/ 119 w 140"/>
                <a:gd name="T7" fmla="*/ 20 h 296"/>
                <a:gd name="T8" fmla="*/ 131 w 140"/>
                <a:gd name="T9" fmla="*/ 35 h 296"/>
                <a:gd name="T10" fmla="*/ 137 w 140"/>
                <a:gd name="T11" fmla="*/ 52 h 296"/>
                <a:gd name="T12" fmla="*/ 140 w 140"/>
                <a:gd name="T13" fmla="*/ 71 h 296"/>
                <a:gd name="T14" fmla="*/ 140 w 140"/>
                <a:gd name="T15" fmla="*/ 226 h 296"/>
                <a:gd name="T16" fmla="*/ 137 w 140"/>
                <a:gd name="T17" fmla="*/ 244 h 296"/>
                <a:gd name="T18" fmla="*/ 131 w 140"/>
                <a:gd name="T19" fmla="*/ 261 h 296"/>
                <a:gd name="T20" fmla="*/ 119 w 140"/>
                <a:gd name="T21" fmla="*/ 276 h 296"/>
                <a:gd name="T22" fmla="*/ 105 w 140"/>
                <a:gd name="T23" fmla="*/ 286 h 296"/>
                <a:gd name="T24" fmla="*/ 88 w 140"/>
                <a:gd name="T25" fmla="*/ 294 h 296"/>
                <a:gd name="T26" fmla="*/ 69 w 140"/>
                <a:gd name="T27" fmla="*/ 296 h 296"/>
                <a:gd name="T28" fmla="*/ 52 w 140"/>
                <a:gd name="T29" fmla="*/ 294 h 296"/>
                <a:gd name="T30" fmla="*/ 35 w 140"/>
                <a:gd name="T31" fmla="*/ 286 h 296"/>
                <a:gd name="T32" fmla="*/ 20 w 140"/>
                <a:gd name="T33" fmla="*/ 276 h 296"/>
                <a:gd name="T34" fmla="*/ 9 w 140"/>
                <a:gd name="T35" fmla="*/ 261 h 296"/>
                <a:gd name="T36" fmla="*/ 2 w 140"/>
                <a:gd name="T37" fmla="*/ 244 h 296"/>
                <a:gd name="T38" fmla="*/ 0 w 140"/>
                <a:gd name="T39" fmla="*/ 226 h 296"/>
                <a:gd name="T40" fmla="*/ 0 w 140"/>
                <a:gd name="T41" fmla="*/ 71 h 296"/>
                <a:gd name="T42" fmla="*/ 2 w 140"/>
                <a:gd name="T43" fmla="*/ 52 h 296"/>
                <a:gd name="T44" fmla="*/ 9 w 140"/>
                <a:gd name="T45" fmla="*/ 35 h 296"/>
                <a:gd name="T46" fmla="*/ 20 w 140"/>
                <a:gd name="T47" fmla="*/ 20 h 296"/>
                <a:gd name="T48" fmla="*/ 35 w 140"/>
                <a:gd name="T49" fmla="*/ 9 h 296"/>
                <a:gd name="T50" fmla="*/ 50 w 140"/>
                <a:gd name="T51" fmla="*/ 2 h 296"/>
                <a:gd name="T52" fmla="*/ 69 w 140"/>
                <a:gd name="T53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6">
                  <a:moveTo>
                    <a:pt x="69" y="0"/>
                  </a:moveTo>
                  <a:lnTo>
                    <a:pt x="88" y="2"/>
                  </a:lnTo>
                  <a:lnTo>
                    <a:pt x="105" y="9"/>
                  </a:lnTo>
                  <a:lnTo>
                    <a:pt x="119" y="20"/>
                  </a:lnTo>
                  <a:lnTo>
                    <a:pt x="131" y="35"/>
                  </a:lnTo>
                  <a:lnTo>
                    <a:pt x="137" y="52"/>
                  </a:lnTo>
                  <a:lnTo>
                    <a:pt x="140" y="71"/>
                  </a:lnTo>
                  <a:lnTo>
                    <a:pt x="140" y="226"/>
                  </a:lnTo>
                  <a:lnTo>
                    <a:pt x="137" y="244"/>
                  </a:lnTo>
                  <a:lnTo>
                    <a:pt x="131" y="261"/>
                  </a:lnTo>
                  <a:lnTo>
                    <a:pt x="119" y="276"/>
                  </a:lnTo>
                  <a:lnTo>
                    <a:pt x="105" y="286"/>
                  </a:lnTo>
                  <a:lnTo>
                    <a:pt x="88" y="294"/>
                  </a:lnTo>
                  <a:lnTo>
                    <a:pt x="69" y="296"/>
                  </a:lnTo>
                  <a:lnTo>
                    <a:pt x="52" y="294"/>
                  </a:lnTo>
                  <a:lnTo>
                    <a:pt x="35" y="286"/>
                  </a:lnTo>
                  <a:lnTo>
                    <a:pt x="20" y="276"/>
                  </a:lnTo>
                  <a:lnTo>
                    <a:pt x="9" y="261"/>
                  </a:lnTo>
                  <a:lnTo>
                    <a:pt x="2" y="244"/>
                  </a:lnTo>
                  <a:lnTo>
                    <a:pt x="0" y="226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9" y="35"/>
                  </a:lnTo>
                  <a:lnTo>
                    <a:pt x="20" y="20"/>
                  </a:lnTo>
                  <a:lnTo>
                    <a:pt x="35" y="9"/>
                  </a:lnTo>
                  <a:lnTo>
                    <a:pt x="50" y="2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344"/>
            <p:cNvSpPr>
              <a:spLocks/>
            </p:cNvSpPr>
            <p:nvPr/>
          </p:nvSpPr>
          <p:spPr bwMode="auto">
            <a:xfrm>
              <a:off x="5608638" y="4449763"/>
              <a:ext cx="22225" cy="46037"/>
            </a:xfrm>
            <a:custGeom>
              <a:avLst/>
              <a:gdLst>
                <a:gd name="T0" fmla="*/ 71 w 140"/>
                <a:gd name="T1" fmla="*/ 0 h 296"/>
                <a:gd name="T2" fmla="*/ 89 w 140"/>
                <a:gd name="T3" fmla="*/ 2 h 296"/>
                <a:gd name="T4" fmla="*/ 106 w 140"/>
                <a:gd name="T5" fmla="*/ 9 h 296"/>
                <a:gd name="T6" fmla="*/ 120 w 140"/>
                <a:gd name="T7" fmla="*/ 20 h 296"/>
                <a:gd name="T8" fmla="*/ 131 w 140"/>
                <a:gd name="T9" fmla="*/ 35 h 296"/>
                <a:gd name="T10" fmla="*/ 138 w 140"/>
                <a:gd name="T11" fmla="*/ 52 h 296"/>
                <a:gd name="T12" fmla="*/ 140 w 140"/>
                <a:gd name="T13" fmla="*/ 71 h 296"/>
                <a:gd name="T14" fmla="*/ 140 w 140"/>
                <a:gd name="T15" fmla="*/ 226 h 296"/>
                <a:gd name="T16" fmla="*/ 138 w 140"/>
                <a:gd name="T17" fmla="*/ 244 h 296"/>
                <a:gd name="T18" fmla="*/ 131 w 140"/>
                <a:gd name="T19" fmla="*/ 261 h 296"/>
                <a:gd name="T20" fmla="*/ 120 w 140"/>
                <a:gd name="T21" fmla="*/ 276 h 296"/>
                <a:gd name="T22" fmla="*/ 106 w 140"/>
                <a:gd name="T23" fmla="*/ 286 h 296"/>
                <a:gd name="T24" fmla="*/ 89 w 140"/>
                <a:gd name="T25" fmla="*/ 294 h 296"/>
                <a:gd name="T26" fmla="*/ 71 w 140"/>
                <a:gd name="T27" fmla="*/ 296 h 296"/>
                <a:gd name="T28" fmla="*/ 52 w 140"/>
                <a:gd name="T29" fmla="*/ 294 h 296"/>
                <a:gd name="T30" fmla="*/ 35 w 140"/>
                <a:gd name="T31" fmla="*/ 286 h 296"/>
                <a:gd name="T32" fmla="*/ 21 w 140"/>
                <a:gd name="T33" fmla="*/ 276 h 296"/>
                <a:gd name="T34" fmla="*/ 10 w 140"/>
                <a:gd name="T35" fmla="*/ 261 h 296"/>
                <a:gd name="T36" fmla="*/ 2 w 140"/>
                <a:gd name="T37" fmla="*/ 244 h 296"/>
                <a:gd name="T38" fmla="*/ 0 w 140"/>
                <a:gd name="T39" fmla="*/ 226 h 296"/>
                <a:gd name="T40" fmla="*/ 0 w 140"/>
                <a:gd name="T41" fmla="*/ 71 h 296"/>
                <a:gd name="T42" fmla="*/ 2 w 140"/>
                <a:gd name="T43" fmla="*/ 52 h 296"/>
                <a:gd name="T44" fmla="*/ 10 w 140"/>
                <a:gd name="T45" fmla="*/ 35 h 296"/>
                <a:gd name="T46" fmla="*/ 21 w 140"/>
                <a:gd name="T47" fmla="*/ 20 h 296"/>
                <a:gd name="T48" fmla="*/ 35 w 140"/>
                <a:gd name="T49" fmla="*/ 9 h 296"/>
                <a:gd name="T50" fmla="*/ 52 w 140"/>
                <a:gd name="T51" fmla="*/ 2 h 296"/>
                <a:gd name="T52" fmla="*/ 71 w 140"/>
                <a:gd name="T53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6">
                  <a:moveTo>
                    <a:pt x="71" y="0"/>
                  </a:moveTo>
                  <a:lnTo>
                    <a:pt x="89" y="2"/>
                  </a:lnTo>
                  <a:lnTo>
                    <a:pt x="106" y="9"/>
                  </a:lnTo>
                  <a:lnTo>
                    <a:pt x="120" y="20"/>
                  </a:lnTo>
                  <a:lnTo>
                    <a:pt x="131" y="35"/>
                  </a:lnTo>
                  <a:lnTo>
                    <a:pt x="138" y="52"/>
                  </a:lnTo>
                  <a:lnTo>
                    <a:pt x="140" y="71"/>
                  </a:lnTo>
                  <a:lnTo>
                    <a:pt x="140" y="226"/>
                  </a:lnTo>
                  <a:lnTo>
                    <a:pt x="138" y="244"/>
                  </a:lnTo>
                  <a:lnTo>
                    <a:pt x="131" y="261"/>
                  </a:lnTo>
                  <a:lnTo>
                    <a:pt x="120" y="276"/>
                  </a:lnTo>
                  <a:lnTo>
                    <a:pt x="106" y="286"/>
                  </a:lnTo>
                  <a:lnTo>
                    <a:pt x="89" y="294"/>
                  </a:lnTo>
                  <a:lnTo>
                    <a:pt x="71" y="296"/>
                  </a:lnTo>
                  <a:lnTo>
                    <a:pt x="52" y="294"/>
                  </a:lnTo>
                  <a:lnTo>
                    <a:pt x="35" y="286"/>
                  </a:lnTo>
                  <a:lnTo>
                    <a:pt x="21" y="276"/>
                  </a:lnTo>
                  <a:lnTo>
                    <a:pt x="10" y="261"/>
                  </a:lnTo>
                  <a:lnTo>
                    <a:pt x="2" y="244"/>
                  </a:lnTo>
                  <a:lnTo>
                    <a:pt x="0" y="226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10" y="35"/>
                  </a:lnTo>
                  <a:lnTo>
                    <a:pt x="21" y="20"/>
                  </a:lnTo>
                  <a:lnTo>
                    <a:pt x="35" y="9"/>
                  </a:lnTo>
                  <a:lnTo>
                    <a:pt x="52" y="2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345"/>
            <p:cNvSpPr>
              <a:spLocks/>
            </p:cNvSpPr>
            <p:nvPr/>
          </p:nvSpPr>
          <p:spPr bwMode="auto">
            <a:xfrm>
              <a:off x="5427663" y="4525963"/>
              <a:ext cx="22225" cy="47625"/>
            </a:xfrm>
            <a:custGeom>
              <a:avLst/>
              <a:gdLst>
                <a:gd name="T0" fmla="*/ 70 w 140"/>
                <a:gd name="T1" fmla="*/ 0 h 297"/>
                <a:gd name="T2" fmla="*/ 89 w 140"/>
                <a:gd name="T3" fmla="*/ 3 h 297"/>
                <a:gd name="T4" fmla="*/ 105 w 140"/>
                <a:gd name="T5" fmla="*/ 11 h 297"/>
                <a:gd name="T6" fmla="*/ 119 w 140"/>
                <a:gd name="T7" fmla="*/ 21 h 297"/>
                <a:gd name="T8" fmla="*/ 131 w 140"/>
                <a:gd name="T9" fmla="*/ 35 h 297"/>
                <a:gd name="T10" fmla="*/ 137 w 140"/>
                <a:gd name="T11" fmla="*/ 52 h 297"/>
                <a:gd name="T12" fmla="*/ 140 w 140"/>
                <a:gd name="T13" fmla="*/ 71 h 297"/>
                <a:gd name="T14" fmla="*/ 140 w 140"/>
                <a:gd name="T15" fmla="*/ 226 h 297"/>
                <a:gd name="T16" fmla="*/ 137 w 140"/>
                <a:gd name="T17" fmla="*/ 245 h 297"/>
                <a:gd name="T18" fmla="*/ 131 w 140"/>
                <a:gd name="T19" fmla="*/ 262 h 297"/>
                <a:gd name="T20" fmla="*/ 119 w 140"/>
                <a:gd name="T21" fmla="*/ 276 h 297"/>
                <a:gd name="T22" fmla="*/ 105 w 140"/>
                <a:gd name="T23" fmla="*/ 288 h 297"/>
                <a:gd name="T24" fmla="*/ 89 w 140"/>
                <a:gd name="T25" fmla="*/ 294 h 297"/>
                <a:gd name="T26" fmla="*/ 70 w 140"/>
                <a:gd name="T27" fmla="*/ 297 h 297"/>
                <a:gd name="T28" fmla="*/ 51 w 140"/>
                <a:gd name="T29" fmla="*/ 294 h 297"/>
                <a:gd name="T30" fmla="*/ 34 w 140"/>
                <a:gd name="T31" fmla="*/ 287 h 297"/>
                <a:gd name="T32" fmla="*/ 20 w 140"/>
                <a:gd name="T33" fmla="*/ 276 h 297"/>
                <a:gd name="T34" fmla="*/ 10 w 140"/>
                <a:gd name="T35" fmla="*/ 261 h 297"/>
                <a:gd name="T36" fmla="*/ 2 w 140"/>
                <a:gd name="T37" fmla="*/ 245 h 297"/>
                <a:gd name="T38" fmla="*/ 0 w 140"/>
                <a:gd name="T39" fmla="*/ 226 h 297"/>
                <a:gd name="T40" fmla="*/ 0 w 140"/>
                <a:gd name="T41" fmla="*/ 71 h 297"/>
                <a:gd name="T42" fmla="*/ 2 w 140"/>
                <a:gd name="T43" fmla="*/ 52 h 297"/>
                <a:gd name="T44" fmla="*/ 10 w 140"/>
                <a:gd name="T45" fmla="*/ 35 h 297"/>
                <a:gd name="T46" fmla="*/ 20 w 140"/>
                <a:gd name="T47" fmla="*/ 21 h 297"/>
                <a:gd name="T48" fmla="*/ 34 w 140"/>
                <a:gd name="T49" fmla="*/ 11 h 297"/>
                <a:gd name="T50" fmla="*/ 51 w 140"/>
                <a:gd name="T51" fmla="*/ 3 h 297"/>
                <a:gd name="T52" fmla="*/ 70 w 140"/>
                <a:gd name="T53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7">
                  <a:moveTo>
                    <a:pt x="70" y="0"/>
                  </a:moveTo>
                  <a:lnTo>
                    <a:pt x="89" y="3"/>
                  </a:lnTo>
                  <a:lnTo>
                    <a:pt x="105" y="11"/>
                  </a:lnTo>
                  <a:lnTo>
                    <a:pt x="119" y="21"/>
                  </a:lnTo>
                  <a:lnTo>
                    <a:pt x="131" y="35"/>
                  </a:lnTo>
                  <a:lnTo>
                    <a:pt x="137" y="52"/>
                  </a:lnTo>
                  <a:lnTo>
                    <a:pt x="140" y="71"/>
                  </a:lnTo>
                  <a:lnTo>
                    <a:pt x="140" y="226"/>
                  </a:lnTo>
                  <a:lnTo>
                    <a:pt x="137" y="245"/>
                  </a:lnTo>
                  <a:lnTo>
                    <a:pt x="131" y="262"/>
                  </a:lnTo>
                  <a:lnTo>
                    <a:pt x="119" y="276"/>
                  </a:lnTo>
                  <a:lnTo>
                    <a:pt x="105" y="288"/>
                  </a:lnTo>
                  <a:lnTo>
                    <a:pt x="89" y="294"/>
                  </a:lnTo>
                  <a:lnTo>
                    <a:pt x="70" y="297"/>
                  </a:lnTo>
                  <a:lnTo>
                    <a:pt x="51" y="294"/>
                  </a:lnTo>
                  <a:lnTo>
                    <a:pt x="34" y="287"/>
                  </a:lnTo>
                  <a:lnTo>
                    <a:pt x="20" y="276"/>
                  </a:lnTo>
                  <a:lnTo>
                    <a:pt x="10" y="261"/>
                  </a:lnTo>
                  <a:lnTo>
                    <a:pt x="2" y="245"/>
                  </a:lnTo>
                  <a:lnTo>
                    <a:pt x="0" y="226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10" y="35"/>
                  </a:lnTo>
                  <a:lnTo>
                    <a:pt x="20" y="21"/>
                  </a:lnTo>
                  <a:lnTo>
                    <a:pt x="34" y="11"/>
                  </a:lnTo>
                  <a:lnTo>
                    <a:pt x="51" y="3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46"/>
            <p:cNvSpPr>
              <a:spLocks/>
            </p:cNvSpPr>
            <p:nvPr/>
          </p:nvSpPr>
          <p:spPr bwMode="auto">
            <a:xfrm>
              <a:off x="5487988" y="4525963"/>
              <a:ext cx="22225" cy="47625"/>
            </a:xfrm>
            <a:custGeom>
              <a:avLst/>
              <a:gdLst>
                <a:gd name="T0" fmla="*/ 71 w 141"/>
                <a:gd name="T1" fmla="*/ 0 h 297"/>
                <a:gd name="T2" fmla="*/ 89 w 141"/>
                <a:gd name="T3" fmla="*/ 3 h 297"/>
                <a:gd name="T4" fmla="*/ 106 w 141"/>
                <a:gd name="T5" fmla="*/ 11 h 297"/>
                <a:gd name="T6" fmla="*/ 121 w 141"/>
                <a:gd name="T7" fmla="*/ 21 h 297"/>
                <a:gd name="T8" fmla="*/ 131 w 141"/>
                <a:gd name="T9" fmla="*/ 35 h 297"/>
                <a:gd name="T10" fmla="*/ 139 w 141"/>
                <a:gd name="T11" fmla="*/ 52 h 297"/>
                <a:gd name="T12" fmla="*/ 141 w 141"/>
                <a:gd name="T13" fmla="*/ 71 h 297"/>
                <a:gd name="T14" fmla="*/ 141 w 141"/>
                <a:gd name="T15" fmla="*/ 226 h 297"/>
                <a:gd name="T16" fmla="*/ 139 w 141"/>
                <a:gd name="T17" fmla="*/ 245 h 297"/>
                <a:gd name="T18" fmla="*/ 131 w 141"/>
                <a:gd name="T19" fmla="*/ 262 h 297"/>
                <a:gd name="T20" fmla="*/ 121 w 141"/>
                <a:gd name="T21" fmla="*/ 276 h 297"/>
                <a:gd name="T22" fmla="*/ 106 w 141"/>
                <a:gd name="T23" fmla="*/ 288 h 297"/>
                <a:gd name="T24" fmla="*/ 89 w 141"/>
                <a:gd name="T25" fmla="*/ 294 h 297"/>
                <a:gd name="T26" fmla="*/ 71 w 141"/>
                <a:gd name="T27" fmla="*/ 297 h 297"/>
                <a:gd name="T28" fmla="*/ 52 w 141"/>
                <a:gd name="T29" fmla="*/ 294 h 297"/>
                <a:gd name="T30" fmla="*/ 35 w 141"/>
                <a:gd name="T31" fmla="*/ 287 h 297"/>
                <a:gd name="T32" fmla="*/ 21 w 141"/>
                <a:gd name="T33" fmla="*/ 276 h 297"/>
                <a:gd name="T34" fmla="*/ 10 w 141"/>
                <a:gd name="T35" fmla="*/ 261 h 297"/>
                <a:gd name="T36" fmla="*/ 3 w 141"/>
                <a:gd name="T37" fmla="*/ 245 h 297"/>
                <a:gd name="T38" fmla="*/ 0 w 141"/>
                <a:gd name="T39" fmla="*/ 226 h 297"/>
                <a:gd name="T40" fmla="*/ 0 w 141"/>
                <a:gd name="T41" fmla="*/ 71 h 297"/>
                <a:gd name="T42" fmla="*/ 3 w 141"/>
                <a:gd name="T43" fmla="*/ 52 h 297"/>
                <a:gd name="T44" fmla="*/ 10 w 141"/>
                <a:gd name="T45" fmla="*/ 35 h 297"/>
                <a:gd name="T46" fmla="*/ 21 w 141"/>
                <a:gd name="T47" fmla="*/ 21 h 297"/>
                <a:gd name="T48" fmla="*/ 35 w 141"/>
                <a:gd name="T49" fmla="*/ 11 h 297"/>
                <a:gd name="T50" fmla="*/ 52 w 141"/>
                <a:gd name="T51" fmla="*/ 3 h 297"/>
                <a:gd name="T52" fmla="*/ 71 w 141"/>
                <a:gd name="T53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1" h="297">
                  <a:moveTo>
                    <a:pt x="71" y="0"/>
                  </a:moveTo>
                  <a:lnTo>
                    <a:pt x="89" y="3"/>
                  </a:lnTo>
                  <a:lnTo>
                    <a:pt x="106" y="11"/>
                  </a:lnTo>
                  <a:lnTo>
                    <a:pt x="121" y="21"/>
                  </a:lnTo>
                  <a:lnTo>
                    <a:pt x="131" y="35"/>
                  </a:lnTo>
                  <a:lnTo>
                    <a:pt x="139" y="52"/>
                  </a:lnTo>
                  <a:lnTo>
                    <a:pt x="141" y="71"/>
                  </a:lnTo>
                  <a:lnTo>
                    <a:pt x="141" y="226"/>
                  </a:lnTo>
                  <a:lnTo>
                    <a:pt x="139" y="245"/>
                  </a:lnTo>
                  <a:lnTo>
                    <a:pt x="131" y="262"/>
                  </a:lnTo>
                  <a:lnTo>
                    <a:pt x="121" y="276"/>
                  </a:lnTo>
                  <a:lnTo>
                    <a:pt x="106" y="288"/>
                  </a:lnTo>
                  <a:lnTo>
                    <a:pt x="89" y="294"/>
                  </a:lnTo>
                  <a:lnTo>
                    <a:pt x="71" y="297"/>
                  </a:lnTo>
                  <a:lnTo>
                    <a:pt x="52" y="294"/>
                  </a:lnTo>
                  <a:lnTo>
                    <a:pt x="35" y="287"/>
                  </a:lnTo>
                  <a:lnTo>
                    <a:pt x="21" y="276"/>
                  </a:lnTo>
                  <a:lnTo>
                    <a:pt x="10" y="261"/>
                  </a:lnTo>
                  <a:lnTo>
                    <a:pt x="3" y="245"/>
                  </a:lnTo>
                  <a:lnTo>
                    <a:pt x="0" y="226"/>
                  </a:lnTo>
                  <a:lnTo>
                    <a:pt x="0" y="71"/>
                  </a:lnTo>
                  <a:lnTo>
                    <a:pt x="3" y="52"/>
                  </a:lnTo>
                  <a:lnTo>
                    <a:pt x="10" y="35"/>
                  </a:lnTo>
                  <a:lnTo>
                    <a:pt x="21" y="21"/>
                  </a:lnTo>
                  <a:lnTo>
                    <a:pt x="35" y="11"/>
                  </a:lnTo>
                  <a:lnTo>
                    <a:pt x="52" y="3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47"/>
            <p:cNvSpPr>
              <a:spLocks/>
            </p:cNvSpPr>
            <p:nvPr/>
          </p:nvSpPr>
          <p:spPr bwMode="auto">
            <a:xfrm>
              <a:off x="5548313" y="4525963"/>
              <a:ext cx="22225" cy="47625"/>
            </a:xfrm>
            <a:custGeom>
              <a:avLst/>
              <a:gdLst>
                <a:gd name="T0" fmla="*/ 69 w 140"/>
                <a:gd name="T1" fmla="*/ 0 h 297"/>
                <a:gd name="T2" fmla="*/ 88 w 140"/>
                <a:gd name="T3" fmla="*/ 3 h 297"/>
                <a:gd name="T4" fmla="*/ 105 w 140"/>
                <a:gd name="T5" fmla="*/ 11 h 297"/>
                <a:gd name="T6" fmla="*/ 119 w 140"/>
                <a:gd name="T7" fmla="*/ 21 h 297"/>
                <a:gd name="T8" fmla="*/ 131 w 140"/>
                <a:gd name="T9" fmla="*/ 35 h 297"/>
                <a:gd name="T10" fmla="*/ 137 w 140"/>
                <a:gd name="T11" fmla="*/ 52 h 297"/>
                <a:gd name="T12" fmla="*/ 140 w 140"/>
                <a:gd name="T13" fmla="*/ 71 h 297"/>
                <a:gd name="T14" fmla="*/ 140 w 140"/>
                <a:gd name="T15" fmla="*/ 226 h 297"/>
                <a:gd name="T16" fmla="*/ 137 w 140"/>
                <a:gd name="T17" fmla="*/ 245 h 297"/>
                <a:gd name="T18" fmla="*/ 131 w 140"/>
                <a:gd name="T19" fmla="*/ 262 h 297"/>
                <a:gd name="T20" fmla="*/ 119 w 140"/>
                <a:gd name="T21" fmla="*/ 276 h 297"/>
                <a:gd name="T22" fmla="*/ 105 w 140"/>
                <a:gd name="T23" fmla="*/ 288 h 297"/>
                <a:gd name="T24" fmla="*/ 88 w 140"/>
                <a:gd name="T25" fmla="*/ 294 h 297"/>
                <a:gd name="T26" fmla="*/ 69 w 140"/>
                <a:gd name="T27" fmla="*/ 297 h 297"/>
                <a:gd name="T28" fmla="*/ 52 w 140"/>
                <a:gd name="T29" fmla="*/ 294 h 297"/>
                <a:gd name="T30" fmla="*/ 35 w 140"/>
                <a:gd name="T31" fmla="*/ 287 h 297"/>
                <a:gd name="T32" fmla="*/ 20 w 140"/>
                <a:gd name="T33" fmla="*/ 276 h 297"/>
                <a:gd name="T34" fmla="*/ 9 w 140"/>
                <a:gd name="T35" fmla="*/ 261 h 297"/>
                <a:gd name="T36" fmla="*/ 2 w 140"/>
                <a:gd name="T37" fmla="*/ 245 h 297"/>
                <a:gd name="T38" fmla="*/ 0 w 140"/>
                <a:gd name="T39" fmla="*/ 226 h 297"/>
                <a:gd name="T40" fmla="*/ 0 w 140"/>
                <a:gd name="T41" fmla="*/ 71 h 297"/>
                <a:gd name="T42" fmla="*/ 2 w 140"/>
                <a:gd name="T43" fmla="*/ 52 h 297"/>
                <a:gd name="T44" fmla="*/ 9 w 140"/>
                <a:gd name="T45" fmla="*/ 35 h 297"/>
                <a:gd name="T46" fmla="*/ 20 w 140"/>
                <a:gd name="T47" fmla="*/ 21 h 297"/>
                <a:gd name="T48" fmla="*/ 35 w 140"/>
                <a:gd name="T49" fmla="*/ 11 h 297"/>
                <a:gd name="T50" fmla="*/ 50 w 140"/>
                <a:gd name="T51" fmla="*/ 3 h 297"/>
                <a:gd name="T52" fmla="*/ 69 w 140"/>
                <a:gd name="T53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7">
                  <a:moveTo>
                    <a:pt x="69" y="0"/>
                  </a:moveTo>
                  <a:lnTo>
                    <a:pt x="88" y="3"/>
                  </a:lnTo>
                  <a:lnTo>
                    <a:pt x="105" y="11"/>
                  </a:lnTo>
                  <a:lnTo>
                    <a:pt x="119" y="21"/>
                  </a:lnTo>
                  <a:lnTo>
                    <a:pt x="131" y="35"/>
                  </a:lnTo>
                  <a:lnTo>
                    <a:pt x="137" y="52"/>
                  </a:lnTo>
                  <a:lnTo>
                    <a:pt x="140" y="71"/>
                  </a:lnTo>
                  <a:lnTo>
                    <a:pt x="140" y="226"/>
                  </a:lnTo>
                  <a:lnTo>
                    <a:pt x="137" y="245"/>
                  </a:lnTo>
                  <a:lnTo>
                    <a:pt x="131" y="262"/>
                  </a:lnTo>
                  <a:lnTo>
                    <a:pt x="119" y="276"/>
                  </a:lnTo>
                  <a:lnTo>
                    <a:pt x="105" y="288"/>
                  </a:lnTo>
                  <a:lnTo>
                    <a:pt x="88" y="294"/>
                  </a:lnTo>
                  <a:lnTo>
                    <a:pt x="69" y="297"/>
                  </a:lnTo>
                  <a:lnTo>
                    <a:pt x="52" y="294"/>
                  </a:lnTo>
                  <a:lnTo>
                    <a:pt x="35" y="287"/>
                  </a:lnTo>
                  <a:lnTo>
                    <a:pt x="20" y="276"/>
                  </a:lnTo>
                  <a:lnTo>
                    <a:pt x="9" y="261"/>
                  </a:lnTo>
                  <a:lnTo>
                    <a:pt x="2" y="245"/>
                  </a:lnTo>
                  <a:lnTo>
                    <a:pt x="0" y="226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9" y="35"/>
                  </a:lnTo>
                  <a:lnTo>
                    <a:pt x="20" y="21"/>
                  </a:lnTo>
                  <a:lnTo>
                    <a:pt x="35" y="11"/>
                  </a:lnTo>
                  <a:lnTo>
                    <a:pt x="50" y="3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48"/>
            <p:cNvSpPr>
              <a:spLocks/>
            </p:cNvSpPr>
            <p:nvPr/>
          </p:nvSpPr>
          <p:spPr bwMode="auto">
            <a:xfrm>
              <a:off x="5608638" y="4525963"/>
              <a:ext cx="22225" cy="47625"/>
            </a:xfrm>
            <a:custGeom>
              <a:avLst/>
              <a:gdLst>
                <a:gd name="T0" fmla="*/ 71 w 140"/>
                <a:gd name="T1" fmla="*/ 0 h 297"/>
                <a:gd name="T2" fmla="*/ 89 w 140"/>
                <a:gd name="T3" fmla="*/ 3 h 297"/>
                <a:gd name="T4" fmla="*/ 106 w 140"/>
                <a:gd name="T5" fmla="*/ 11 h 297"/>
                <a:gd name="T6" fmla="*/ 120 w 140"/>
                <a:gd name="T7" fmla="*/ 21 h 297"/>
                <a:gd name="T8" fmla="*/ 131 w 140"/>
                <a:gd name="T9" fmla="*/ 35 h 297"/>
                <a:gd name="T10" fmla="*/ 138 w 140"/>
                <a:gd name="T11" fmla="*/ 52 h 297"/>
                <a:gd name="T12" fmla="*/ 140 w 140"/>
                <a:gd name="T13" fmla="*/ 71 h 297"/>
                <a:gd name="T14" fmla="*/ 140 w 140"/>
                <a:gd name="T15" fmla="*/ 226 h 297"/>
                <a:gd name="T16" fmla="*/ 138 w 140"/>
                <a:gd name="T17" fmla="*/ 245 h 297"/>
                <a:gd name="T18" fmla="*/ 131 w 140"/>
                <a:gd name="T19" fmla="*/ 262 h 297"/>
                <a:gd name="T20" fmla="*/ 120 w 140"/>
                <a:gd name="T21" fmla="*/ 276 h 297"/>
                <a:gd name="T22" fmla="*/ 106 w 140"/>
                <a:gd name="T23" fmla="*/ 288 h 297"/>
                <a:gd name="T24" fmla="*/ 89 w 140"/>
                <a:gd name="T25" fmla="*/ 294 h 297"/>
                <a:gd name="T26" fmla="*/ 71 w 140"/>
                <a:gd name="T27" fmla="*/ 297 h 297"/>
                <a:gd name="T28" fmla="*/ 52 w 140"/>
                <a:gd name="T29" fmla="*/ 294 h 297"/>
                <a:gd name="T30" fmla="*/ 35 w 140"/>
                <a:gd name="T31" fmla="*/ 287 h 297"/>
                <a:gd name="T32" fmla="*/ 21 w 140"/>
                <a:gd name="T33" fmla="*/ 276 h 297"/>
                <a:gd name="T34" fmla="*/ 10 w 140"/>
                <a:gd name="T35" fmla="*/ 261 h 297"/>
                <a:gd name="T36" fmla="*/ 2 w 140"/>
                <a:gd name="T37" fmla="*/ 245 h 297"/>
                <a:gd name="T38" fmla="*/ 0 w 140"/>
                <a:gd name="T39" fmla="*/ 226 h 297"/>
                <a:gd name="T40" fmla="*/ 0 w 140"/>
                <a:gd name="T41" fmla="*/ 71 h 297"/>
                <a:gd name="T42" fmla="*/ 2 w 140"/>
                <a:gd name="T43" fmla="*/ 52 h 297"/>
                <a:gd name="T44" fmla="*/ 10 w 140"/>
                <a:gd name="T45" fmla="*/ 35 h 297"/>
                <a:gd name="T46" fmla="*/ 21 w 140"/>
                <a:gd name="T47" fmla="*/ 21 h 297"/>
                <a:gd name="T48" fmla="*/ 35 w 140"/>
                <a:gd name="T49" fmla="*/ 11 h 297"/>
                <a:gd name="T50" fmla="*/ 52 w 140"/>
                <a:gd name="T51" fmla="*/ 3 h 297"/>
                <a:gd name="T52" fmla="*/ 71 w 140"/>
                <a:gd name="T53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7">
                  <a:moveTo>
                    <a:pt x="71" y="0"/>
                  </a:moveTo>
                  <a:lnTo>
                    <a:pt x="89" y="3"/>
                  </a:lnTo>
                  <a:lnTo>
                    <a:pt x="106" y="11"/>
                  </a:lnTo>
                  <a:lnTo>
                    <a:pt x="120" y="21"/>
                  </a:lnTo>
                  <a:lnTo>
                    <a:pt x="131" y="35"/>
                  </a:lnTo>
                  <a:lnTo>
                    <a:pt x="138" y="52"/>
                  </a:lnTo>
                  <a:lnTo>
                    <a:pt x="140" y="71"/>
                  </a:lnTo>
                  <a:lnTo>
                    <a:pt x="140" y="226"/>
                  </a:lnTo>
                  <a:lnTo>
                    <a:pt x="138" y="245"/>
                  </a:lnTo>
                  <a:lnTo>
                    <a:pt x="131" y="262"/>
                  </a:lnTo>
                  <a:lnTo>
                    <a:pt x="120" y="276"/>
                  </a:lnTo>
                  <a:lnTo>
                    <a:pt x="106" y="288"/>
                  </a:lnTo>
                  <a:lnTo>
                    <a:pt x="89" y="294"/>
                  </a:lnTo>
                  <a:lnTo>
                    <a:pt x="71" y="297"/>
                  </a:lnTo>
                  <a:lnTo>
                    <a:pt x="52" y="294"/>
                  </a:lnTo>
                  <a:lnTo>
                    <a:pt x="35" y="287"/>
                  </a:lnTo>
                  <a:lnTo>
                    <a:pt x="21" y="276"/>
                  </a:lnTo>
                  <a:lnTo>
                    <a:pt x="10" y="261"/>
                  </a:lnTo>
                  <a:lnTo>
                    <a:pt x="2" y="245"/>
                  </a:lnTo>
                  <a:lnTo>
                    <a:pt x="0" y="226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10" y="35"/>
                  </a:lnTo>
                  <a:lnTo>
                    <a:pt x="21" y="21"/>
                  </a:lnTo>
                  <a:lnTo>
                    <a:pt x="35" y="11"/>
                  </a:lnTo>
                  <a:lnTo>
                    <a:pt x="52" y="3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49"/>
            <p:cNvSpPr>
              <a:spLocks/>
            </p:cNvSpPr>
            <p:nvPr/>
          </p:nvSpPr>
          <p:spPr bwMode="auto">
            <a:xfrm>
              <a:off x="5427663" y="4602163"/>
              <a:ext cx="22225" cy="47625"/>
            </a:xfrm>
            <a:custGeom>
              <a:avLst/>
              <a:gdLst>
                <a:gd name="T0" fmla="*/ 70 w 140"/>
                <a:gd name="T1" fmla="*/ 0 h 296"/>
                <a:gd name="T2" fmla="*/ 89 w 140"/>
                <a:gd name="T3" fmla="*/ 3 h 296"/>
                <a:gd name="T4" fmla="*/ 105 w 140"/>
                <a:gd name="T5" fmla="*/ 10 h 296"/>
                <a:gd name="T6" fmla="*/ 119 w 140"/>
                <a:gd name="T7" fmla="*/ 21 h 296"/>
                <a:gd name="T8" fmla="*/ 131 w 140"/>
                <a:gd name="T9" fmla="*/ 35 h 296"/>
                <a:gd name="T10" fmla="*/ 137 w 140"/>
                <a:gd name="T11" fmla="*/ 52 h 296"/>
                <a:gd name="T12" fmla="*/ 140 w 140"/>
                <a:gd name="T13" fmla="*/ 71 h 296"/>
                <a:gd name="T14" fmla="*/ 140 w 140"/>
                <a:gd name="T15" fmla="*/ 227 h 296"/>
                <a:gd name="T16" fmla="*/ 137 w 140"/>
                <a:gd name="T17" fmla="*/ 246 h 296"/>
                <a:gd name="T18" fmla="*/ 131 w 140"/>
                <a:gd name="T19" fmla="*/ 263 h 296"/>
                <a:gd name="T20" fmla="*/ 119 w 140"/>
                <a:gd name="T21" fmla="*/ 276 h 296"/>
                <a:gd name="T22" fmla="*/ 105 w 140"/>
                <a:gd name="T23" fmla="*/ 287 h 296"/>
                <a:gd name="T24" fmla="*/ 89 w 140"/>
                <a:gd name="T25" fmla="*/ 294 h 296"/>
                <a:gd name="T26" fmla="*/ 70 w 140"/>
                <a:gd name="T27" fmla="*/ 296 h 296"/>
                <a:gd name="T28" fmla="*/ 51 w 140"/>
                <a:gd name="T29" fmla="*/ 294 h 296"/>
                <a:gd name="T30" fmla="*/ 34 w 140"/>
                <a:gd name="T31" fmla="*/ 287 h 296"/>
                <a:gd name="T32" fmla="*/ 20 w 140"/>
                <a:gd name="T33" fmla="*/ 276 h 296"/>
                <a:gd name="T34" fmla="*/ 10 w 140"/>
                <a:gd name="T35" fmla="*/ 263 h 296"/>
                <a:gd name="T36" fmla="*/ 2 w 140"/>
                <a:gd name="T37" fmla="*/ 246 h 296"/>
                <a:gd name="T38" fmla="*/ 0 w 140"/>
                <a:gd name="T39" fmla="*/ 227 h 296"/>
                <a:gd name="T40" fmla="*/ 0 w 140"/>
                <a:gd name="T41" fmla="*/ 71 h 296"/>
                <a:gd name="T42" fmla="*/ 2 w 140"/>
                <a:gd name="T43" fmla="*/ 52 h 296"/>
                <a:gd name="T44" fmla="*/ 10 w 140"/>
                <a:gd name="T45" fmla="*/ 35 h 296"/>
                <a:gd name="T46" fmla="*/ 20 w 140"/>
                <a:gd name="T47" fmla="*/ 21 h 296"/>
                <a:gd name="T48" fmla="*/ 34 w 140"/>
                <a:gd name="T49" fmla="*/ 10 h 296"/>
                <a:gd name="T50" fmla="*/ 51 w 140"/>
                <a:gd name="T51" fmla="*/ 3 h 296"/>
                <a:gd name="T52" fmla="*/ 70 w 140"/>
                <a:gd name="T53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6">
                  <a:moveTo>
                    <a:pt x="70" y="0"/>
                  </a:moveTo>
                  <a:lnTo>
                    <a:pt x="89" y="3"/>
                  </a:lnTo>
                  <a:lnTo>
                    <a:pt x="105" y="10"/>
                  </a:lnTo>
                  <a:lnTo>
                    <a:pt x="119" y="21"/>
                  </a:lnTo>
                  <a:lnTo>
                    <a:pt x="131" y="35"/>
                  </a:lnTo>
                  <a:lnTo>
                    <a:pt x="137" y="52"/>
                  </a:lnTo>
                  <a:lnTo>
                    <a:pt x="140" y="71"/>
                  </a:lnTo>
                  <a:lnTo>
                    <a:pt x="140" y="227"/>
                  </a:lnTo>
                  <a:lnTo>
                    <a:pt x="137" y="246"/>
                  </a:lnTo>
                  <a:lnTo>
                    <a:pt x="131" y="263"/>
                  </a:lnTo>
                  <a:lnTo>
                    <a:pt x="119" y="276"/>
                  </a:lnTo>
                  <a:lnTo>
                    <a:pt x="105" y="287"/>
                  </a:lnTo>
                  <a:lnTo>
                    <a:pt x="89" y="294"/>
                  </a:lnTo>
                  <a:lnTo>
                    <a:pt x="70" y="296"/>
                  </a:lnTo>
                  <a:lnTo>
                    <a:pt x="51" y="294"/>
                  </a:lnTo>
                  <a:lnTo>
                    <a:pt x="34" y="287"/>
                  </a:lnTo>
                  <a:lnTo>
                    <a:pt x="20" y="276"/>
                  </a:lnTo>
                  <a:lnTo>
                    <a:pt x="10" y="263"/>
                  </a:lnTo>
                  <a:lnTo>
                    <a:pt x="2" y="246"/>
                  </a:lnTo>
                  <a:lnTo>
                    <a:pt x="0" y="227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10" y="35"/>
                  </a:lnTo>
                  <a:lnTo>
                    <a:pt x="20" y="21"/>
                  </a:lnTo>
                  <a:lnTo>
                    <a:pt x="34" y="10"/>
                  </a:lnTo>
                  <a:lnTo>
                    <a:pt x="51" y="3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50"/>
            <p:cNvSpPr>
              <a:spLocks/>
            </p:cNvSpPr>
            <p:nvPr/>
          </p:nvSpPr>
          <p:spPr bwMode="auto">
            <a:xfrm>
              <a:off x="5487988" y="4602163"/>
              <a:ext cx="22225" cy="47625"/>
            </a:xfrm>
            <a:custGeom>
              <a:avLst/>
              <a:gdLst>
                <a:gd name="T0" fmla="*/ 71 w 141"/>
                <a:gd name="T1" fmla="*/ 0 h 296"/>
                <a:gd name="T2" fmla="*/ 89 w 141"/>
                <a:gd name="T3" fmla="*/ 3 h 296"/>
                <a:gd name="T4" fmla="*/ 106 w 141"/>
                <a:gd name="T5" fmla="*/ 10 h 296"/>
                <a:gd name="T6" fmla="*/ 121 w 141"/>
                <a:gd name="T7" fmla="*/ 21 h 296"/>
                <a:gd name="T8" fmla="*/ 131 w 141"/>
                <a:gd name="T9" fmla="*/ 35 h 296"/>
                <a:gd name="T10" fmla="*/ 139 w 141"/>
                <a:gd name="T11" fmla="*/ 52 h 296"/>
                <a:gd name="T12" fmla="*/ 141 w 141"/>
                <a:gd name="T13" fmla="*/ 71 h 296"/>
                <a:gd name="T14" fmla="*/ 141 w 141"/>
                <a:gd name="T15" fmla="*/ 227 h 296"/>
                <a:gd name="T16" fmla="*/ 139 w 141"/>
                <a:gd name="T17" fmla="*/ 246 h 296"/>
                <a:gd name="T18" fmla="*/ 131 w 141"/>
                <a:gd name="T19" fmla="*/ 263 h 296"/>
                <a:gd name="T20" fmla="*/ 121 w 141"/>
                <a:gd name="T21" fmla="*/ 276 h 296"/>
                <a:gd name="T22" fmla="*/ 106 w 141"/>
                <a:gd name="T23" fmla="*/ 287 h 296"/>
                <a:gd name="T24" fmla="*/ 89 w 141"/>
                <a:gd name="T25" fmla="*/ 294 h 296"/>
                <a:gd name="T26" fmla="*/ 71 w 141"/>
                <a:gd name="T27" fmla="*/ 296 h 296"/>
                <a:gd name="T28" fmla="*/ 52 w 141"/>
                <a:gd name="T29" fmla="*/ 294 h 296"/>
                <a:gd name="T30" fmla="*/ 35 w 141"/>
                <a:gd name="T31" fmla="*/ 287 h 296"/>
                <a:gd name="T32" fmla="*/ 21 w 141"/>
                <a:gd name="T33" fmla="*/ 276 h 296"/>
                <a:gd name="T34" fmla="*/ 10 w 141"/>
                <a:gd name="T35" fmla="*/ 263 h 296"/>
                <a:gd name="T36" fmla="*/ 3 w 141"/>
                <a:gd name="T37" fmla="*/ 246 h 296"/>
                <a:gd name="T38" fmla="*/ 0 w 141"/>
                <a:gd name="T39" fmla="*/ 227 h 296"/>
                <a:gd name="T40" fmla="*/ 0 w 141"/>
                <a:gd name="T41" fmla="*/ 71 h 296"/>
                <a:gd name="T42" fmla="*/ 3 w 141"/>
                <a:gd name="T43" fmla="*/ 52 h 296"/>
                <a:gd name="T44" fmla="*/ 10 w 141"/>
                <a:gd name="T45" fmla="*/ 35 h 296"/>
                <a:gd name="T46" fmla="*/ 21 w 141"/>
                <a:gd name="T47" fmla="*/ 21 h 296"/>
                <a:gd name="T48" fmla="*/ 35 w 141"/>
                <a:gd name="T49" fmla="*/ 10 h 296"/>
                <a:gd name="T50" fmla="*/ 52 w 141"/>
                <a:gd name="T51" fmla="*/ 3 h 296"/>
                <a:gd name="T52" fmla="*/ 71 w 141"/>
                <a:gd name="T53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1" h="296">
                  <a:moveTo>
                    <a:pt x="71" y="0"/>
                  </a:moveTo>
                  <a:lnTo>
                    <a:pt x="89" y="3"/>
                  </a:lnTo>
                  <a:lnTo>
                    <a:pt x="106" y="10"/>
                  </a:lnTo>
                  <a:lnTo>
                    <a:pt x="121" y="21"/>
                  </a:lnTo>
                  <a:lnTo>
                    <a:pt x="131" y="35"/>
                  </a:lnTo>
                  <a:lnTo>
                    <a:pt x="139" y="52"/>
                  </a:lnTo>
                  <a:lnTo>
                    <a:pt x="141" y="71"/>
                  </a:lnTo>
                  <a:lnTo>
                    <a:pt x="141" y="227"/>
                  </a:lnTo>
                  <a:lnTo>
                    <a:pt x="139" y="246"/>
                  </a:lnTo>
                  <a:lnTo>
                    <a:pt x="131" y="263"/>
                  </a:lnTo>
                  <a:lnTo>
                    <a:pt x="121" y="276"/>
                  </a:lnTo>
                  <a:lnTo>
                    <a:pt x="106" y="287"/>
                  </a:lnTo>
                  <a:lnTo>
                    <a:pt x="89" y="294"/>
                  </a:lnTo>
                  <a:lnTo>
                    <a:pt x="71" y="296"/>
                  </a:lnTo>
                  <a:lnTo>
                    <a:pt x="52" y="294"/>
                  </a:lnTo>
                  <a:lnTo>
                    <a:pt x="35" y="287"/>
                  </a:lnTo>
                  <a:lnTo>
                    <a:pt x="21" y="276"/>
                  </a:lnTo>
                  <a:lnTo>
                    <a:pt x="10" y="263"/>
                  </a:lnTo>
                  <a:lnTo>
                    <a:pt x="3" y="246"/>
                  </a:lnTo>
                  <a:lnTo>
                    <a:pt x="0" y="227"/>
                  </a:lnTo>
                  <a:lnTo>
                    <a:pt x="0" y="71"/>
                  </a:lnTo>
                  <a:lnTo>
                    <a:pt x="3" y="52"/>
                  </a:lnTo>
                  <a:lnTo>
                    <a:pt x="10" y="35"/>
                  </a:lnTo>
                  <a:lnTo>
                    <a:pt x="21" y="21"/>
                  </a:lnTo>
                  <a:lnTo>
                    <a:pt x="35" y="10"/>
                  </a:lnTo>
                  <a:lnTo>
                    <a:pt x="52" y="3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1"/>
            <p:cNvSpPr>
              <a:spLocks/>
            </p:cNvSpPr>
            <p:nvPr/>
          </p:nvSpPr>
          <p:spPr bwMode="auto">
            <a:xfrm>
              <a:off x="5548313" y="4602163"/>
              <a:ext cx="22225" cy="47625"/>
            </a:xfrm>
            <a:custGeom>
              <a:avLst/>
              <a:gdLst>
                <a:gd name="T0" fmla="*/ 69 w 140"/>
                <a:gd name="T1" fmla="*/ 0 h 296"/>
                <a:gd name="T2" fmla="*/ 88 w 140"/>
                <a:gd name="T3" fmla="*/ 3 h 296"/>
                <a:gd name="T4" fmla="*/ 105 w 140"/>
                <a:gd name="T5" fmla="*/ 10 h 296"/>
                <a:gd name="T6" fmla="*/ 119 w 140"/>
                <a:gd name="T7" fmla="*/ 21 h 296"/>
                <a:gd name="T8" fmla="*/ 131 w 140"/>
                <a:gd name="T9" fmla="*/ 35 h 296"/>
                <a:gd name="T10" fmla="*/ 137 w 140"/>
                <a:gd name="T11" fmla="*/ 52 h 296"/>
                <a:gd name="T12" fmla="*/ 140 w 140"/>
                <a:gd name="T13" fmla="*/ 71 h 296"/>
                <a:gd name="T14" fmla="*/ 140 w 140"/>
                <a:gd name="T15" fmla="*/ 227 h 296"/>
                <a:gd name="T16" fmla="*/ 137 w 140"/>
                <a:gd name="T17" fmla="*/ 246 h 296"/>
                <a:gd name="T18" fmla="*/ 131 w 140"/>
                <a:gd name="T19" fmla="*/ 263 h 296"/>
                <a:gd name="T20" fmla="*/ 119 w 140"/>
                <a:gd name="T21" fmla="*/ 276 h 296"/>
                <a:gd name="T22" fmla="*/ 105 w 140"/>
                <a:gd name="T23" fmla="*/ 287 h 296"/>
                <a:gd name="T24" fmla="*/ 88 w 140"/>
                <a:gd name="T25" fmla="*/ 294 h 296"/>
                <a:gd name="T26" fmla="*/ 69 w 140"/>
                <a:gd name="T27" fmla="*/ 296 h 296"/>
                <a:gd name="T28" fmla="*/ 52 w 140"/>
                <a:gd name="T29" fmla="*/ 294 h 296"/>
                <a:gd name="T30" fmla="*/ 35 w 140"/>
                <a:gd name="T31" fmla="*/ 287 h 296"/>
                <a:gd name="T32" fmla="*/ 20 w 140"/>
                <a:gd name="T33" fmla="*/ 276 h 296"/>
                <a:gd name="T34" fmla="*/ 9 w 140"/>
                <a:gd name="T35" fmla="*/ 263 h 296"/>
                <a:gd name="T36" fmla="*/ 2 w 140"/>
                <a:gd name="T37" fmla="*/ 246 h 296"/>
                <a:gd name="T38" fmla="*/ 0 w 140"/>
                <a:gd name="T39" fmla="*/ 227 h 296"/>
                <a:gd name="T40" fmla="*/ 0 w 140"/>
                <a:gd name="T41" fmla="*/ 71 h 296"/>
                <a:gd name="T42" fmla="*/ 2 w 140"/>
                <a:gd name="T43" fmla="*/ 52 h 296"/>
                <a:gd name="T44" fmla="*/ 9 w 140"/>
                <a:gd name="T45" fmla="*/ 35 h 296"/>
                <a:gd name="T46" fmla="*/ 20 w 140"/>
                <a:gd name="T47" fmla="*/ 21 h 296"/>
                <a:gd name="T48" fmla="*/ 35 w 140"/>
                <a:gd name="T49" fmla="*/ 10 h 296"/>
                <a:gd name="T50" fmla="*/ 50 w 140"/>
                <a:gd name="T51" fmla="*/ 3 h 296"/>
                <a:gd name="T52" fmla="*/ 69 w 140"/>
                <a:gd name="T53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6">
                  <a:moveTo>
                    <a:pt x="69" y="0"/>
                  </a:moveTo>
                  <a:lnTo>
                    <a:pt x="88" y="3"/>
                  </a:lnTo>
                  <a:lnTo>
                    <a:pt x="105" y="10"/>
                  </a:lnTo>
                  <a:lnTo>
                    <a:pt x="119" y="21"/>
                  </a:lnTo>
                  <a:lnTo>
                    <a:pt x="131" y="35"/>
                  </a:lnTo>
                  <a:lnTo>
                    <a:pt x="137" y="52"/>
                  </a:lnTo>
                  <a:lnTo>
                    <a:pt x="140" y="71"/>
                  </a:lnTo>
                  <a:lnTo>
                    <a:pt x="140" y="227"/>
                  </a:lnTo>
                  <a:lnTo>
                    <a:pt x="137" y="246"/>
                  </a:lnTo>
                  <a:lnTo>
                    <a:pt x="131" y="263"/>
                  </a:lnTo>
                  <a:lnTo>
                    <a:pt x="119" y="276"/>
                  </a:lnTo>
                  <a:lnTo>
                    <a:pt x="105" y="287"/>
                  </a:lnTo>
                  <a:lnTo>
                    <a:pt x="88" y="294"/>
                  </a:lnTo>
                  <a:lnTo>
                    <a:pt x="69" y="296"/>
                  </a:lnTo>
                  <a:lnTo>
                    <a:pt x="52" y="294"/>
                  </a:lnTo>
                  <a:lnTo>
                    <a:pt x="35" y="287"/>
                  </a:lnTo>
                  <a:lnTo>
                    <a:pt x="20" y="276"/>
                  </a:lnTo>
                  <a:lnTo>
                    <a:pt x="9" y="263"/>
                  </a:lnTo>
                  <a:lnTo>
                    <a:pt x="2" y="246"/>
                  </a:lnTo>
                  <a:lnTo>
                    <a:pt x="0" y="227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9" y="35"/>
                  </a:lnTo>
                  <a:lnTo>
                    <a:pt x="20" y="21"/>
                  </a:lnTo>
                  <a:lnTo>
                    <a:pt x="35" y="10"/>
                  </a:lnTo>
                  <a:lnTo>
                    <a:pt x="50" y="3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52"/>
            <p:cNvSpPr>
              <a:spLocks/>
            </p:cNvSpPr>
            <p:nvPr/>
          </p:nvSpPr>
          <p:spPr bwMode="auto">
            <a:xfrm>
              <a:off x="5608638" y="4602163"/>
              <a:ext cx="22225" cy="47625"/>
            </a:xfrm>
            <a:custGeom>
              <a:avLst/>
              <a:gdLst>
                <a:gd name="T0" fmla="*/ 71 w 140"/>
                <a:gd name="T1" fmla="*/ 0 h 296"/>
                <a:gd name="T2" fmla="*/ 89 w 140"/>
                <a:gd name="T3" fmla="*/ 3 h 296"/>
                <a:gd name="T4" fmla="*/ 106 w 140"/>
                <a:gd name="T5" fmla="*/ 10 h 296"/>
                <a:gd name="T6" fmla="*/ 120 w 140"/>
                <a:gd name="T7" fmla="*/ 21 h 296"/>
                <a:gd name="T8" fmla="*/ 131 w 140"/>
                <a:gd name="T9" fmla="*/ 35 h 296"/>
                <a:gd name="T10" fmla="*/ 138 w 140"/>
                <a:gd name="T11" fmla="*/ 52 h 296"/>
                <a:gd name="T12" fmla="*/ 140 w 140"/>
                <a:gd name="T13" fmla="*/ 71 h 296"/>
                <a:gd name="T14" fmla="*/ 140 w 140"/>
                <a:gd name="T15" fmla="*/ 227 h 296"/>
                <a:gd name="T16" fmla="*/ 138 w 140"/>
                <a:gd name="T17" fmla="*/ 246 h 296"/>
                <a:gd name="T18" fmla="*/ 131 w 140"/>
                <a:gd name="T19" fmla="*/ 263 h 296"/>
                <a:gd name="T20" fmla="*/ 120 w 140"/>
                <a:gd name="T21" fmla="*/ 276 h 296"/>
                <a:gd name="T22" fmla="*/ 106 w 140"/>
                <a:gd name="T23" fmla="*/ 287 h 296"/>
                <a:gd name="T24" fmla="*/ 89 w 140"/>
                <a:gd name="T25" fmla="*/ 294 h 296"/>
                <a:gd name="T26" fmla="*/ 71 w 140"/>
                <a:gd name="T27" fmla="*/ 296 h 296"/>
                <a:gd name="T28" fmla="*/ 52 w 140"/>
                <a:gd name="T29" fmla="*/ 294 h 296"/>
                <a:gd name="T30" fmla="*/ 35 w 140"/>
                <a:gd name="T31" fmla="*/ 287 h 296"/>
                <a:gd name="T32" fmla="*/ 21 w 140"/>
                <a:gd name="T33" fmla="*/ 276 h 296"/>
                <a:gd name="T34" fmla="*/ 10 w 140"/>
                <a:gd name="T35" fmla="*/ 263 h 296"/>
                <a:gd name="T36" fmla="*/ 2 w 140"/>
                <a:gd name="T37" fmla="*/ 246 h 296"/>
                <a:gd name="T38" fmla="*/ 0 w 140"/>
                <a:gd name="T39" fmla="*/ 227 h 296"/>
                <a:gd name="T40" fmla="*/ 0 w 140"/>
                <a:gd name="T41" fmla="*/ 71 h 296"/>
                <a:gd name="T42" fmla="*/ 2 w 140"/>
                <a:gd name="T43" fmla="*/ 52 h 296"/>
                <a:gd name="T44" fmla="*/ 10 w 140"/>
                <a:gd name="T45" fmla="*/ 35 h 296"/>
                <a:gd name="T46" fmla="*/ 21 w 140"/>
                <a:gd name="T47" fmla="*/ 21 h 296"/>
                <a:gd name="T48" fmla="*/ 35 w 140"/>
                <a:gd name="T49" fmla="*/ 10 h 296"/>
                <a:gd name="T50" fmla="*/ 52 w 140"/>
                <a:gd name="T51" fmla="*/ 3 h 296"/>
                <a:gd name="T52" fmla="*/ 71 w 140"/>
                <a:gd name="T53" fmla="*/ 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6">
                  <a:moveTo>
                    <a:pt x="71" y="0"/>
                  </a:moveTo>
                  <a:lnTo>
                    <a:pt x="89" y="3"/>
                  </a:lnTo>
                  <a:lnTo>
                    <a:pt x="106" y="10"/>
                  </a:lnTo>
                  <a:lnTo>
                    <a:pt x="120" y="21"/>
                  </a:lnTo>
                  <a:lnTo>
                    <a:pt x="131" y="35"/>
                  </a:lnTo>
                  <a:lnTo>
                    <a:pt x="138" y="52"/>
                  </a:lnTo>
                  <a:lnTo>
                    <a:pt x="140" y="71"/>
                  </a:lnTo>
                  <a:lnTo>
                    <a:pt x="140" y="227"/>
                  </a:lnTo>
                  <a:lnTo>
                    <a:pt x="138" y="246"/>
                  </a:lnTo>
                  <a:lnTo>
                    <a:pt x="131" y="263"/>
                  </a:lnTo>
                  <a:lnTo>
                    <a:pt x="120" y="276"/>
                  </a:lnTo>
                  <a:lnTo>
                    <a:pt x="106" y="287"/>
                  </a:lnTo>
                  <a:lnTo>
                    <a:pt x="89" y="294"/>
                  </a:lnTo>
                  <a:lnTo>
                    <a:pt x="71" y="296"/>
                  </a:lnTo>
                  <a:lnTo>
                    <a:pt x="52" y="294"/>
                  </a:lnTo>
                  <a:lnTo>
                    <a:pt x="35" y="287"/>
                  </a:lnTo>
                  <a:lnTo>
                    <a:pt x="21" y="276"/>
                  </a:lnTo>
                  <a:lnTo>
                    <a:pt x="10" y="263"/>
                  </a:lnTo>
                  <a:lnTo>
                    <a:pt x="2" y="246"/>
                  </a:lnTo>
                  <a:lnTo>
                    <a:pt x="0" y="227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10" y="35"/>
                  </a:lnTo>
                  <a:lnTo>
                    <a:pt x="21" y="21"/>
                  </a:lnTo>
                  <a:lnTo>
                    <a:pt x="35" y="10"/>
                  </a:lnTo>
                  <a:lnTo>
                    <a:pt x="52" y="3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53"/>
            <p:cNvSpPr>
              <a:spLocks/>
            </p:cNvSpPr>
            <p:nvPr/>
          </p:nvSpPr>
          <p:spPr bwMode="auto">
            <a:xfrm>
              <a:off x="5427663" y="4678363"/>
              <a:ext cx="22225" cy="47625"/>
            </a:xfrm>
            <a:custGeom>
              <a:avLst/>
              <a:gdLst>
                <a:gd name="T0" fmla="*/ 70 w 140"/>
                <a:gd name="T1" fmla="*/ 0 h 298"/>
                <a:gd name="T2" fmla="*/ 89 w 140"/>
                <a:gd name="T3" fmla="*/ 3 h 298"/>
                <a:gd name="T4" fmla="*/ 105 w 140"/>
                <a:gd name="T5" fmla="*/ 10 h 298"/>
                <a:gd name="T6" fmla="*/ 119 w 140"/>
                <a:gd name="T7" fmla="*/ 21 h 298"/>
                <a:gd name="T8" fmla="*/ 131 w 140"/>
                <a:gd name="T9" fmla="*/ 35 h 298"/>
                <a:gd name="T10" fmla="*/ 137 w 140"/>
                <a:gd name="T11" fmla="*/ 52 h 298"/>
                <a:gd name="T12" fmla="*/ 140 w 140"/>
                <a:gd name="T13" fmla="*/ 71 h 298"/>
                <a:gd name="T14" fmla="*/ 140 w 140"/>
                <a:gd name="T15" fmla="*/ 227 h 298"/>
                <a:gd name="T16" fmla="*/ 137 w 140"/>
                <a:gd name="T17" fmla="*/ 246 h 298"/>
                <a:gd name="T18" fmla="*/ 131 w 140"/>
                <a:gd name="T19" fmla="*/ 263 h 298"/>
                <a:gd name="T20" fmla="*/ 119 w 140"/>
                <a:gd name="T21" fmla="*/ 276 h 298"/>
                <a:gd name="T22" fmla="*/ 105 w 140"/>
                <a:gd name="T23" fmla="*/ 288 h 298"/>
                <a:gd name="T24" fmla="*/ 89 w 140"/>
                <a:gd name="T25" fmla="*/ 296 h 298"/>
                <a:gd name="T26" fmla="*/ 70 w 140"/>
                <a:gd name="T27" fmla="*/ 298 h 298"/>
                <a:gd name="T28" fmla="*/ 51 w 140"/>
                <a:gd name="T29" fmla="*/ 294 h 298"/>
                <a:gd name="T30" fmla="*/ 34 w 140"/>
                <a:gd name="T31" fmla="*/ 288 h 298"/>
                <a:gd name="T32" fmla="*/ 20 w 140"/>
                <a:gd name="T33" fmla="*/ 276 h 298"/>
                <a:gd name="T34" fmla="*/ 10 w 140"/>
                <a:gd name="T35" fmla="*/ 263 h 298"/>
                <a:gd name="T36" fmla="*/ 2 w 140"/>
                <a:gd name="T37" fmla="*/ 246 h 298"/>
                <a:gd name="T38" fmla="*/ 0 w 140"/>
                <a:gd name="T39" fmla="*/ 227 h 298"/>
                <a:gd name="T40" fmla="*/ 0 w 140"/>
                <a:gd name="T41" fmla="*/ 71 h 298"/>
                <a:gd name="T42" fmla="*/ 2 w 140"/>
                <a:gd name="T43" fmla="*/ 52 h 298"/>
                <a:gd name="T44" fmla="*/ 10 w 140"/>
                <a:gd name="T45" fmla="*/ 35 h 298"/>
                <a:gd name="T46" fmla="*/ 20 w 140"/>
                <a:gd name="T47" fmla="*/ 21 h 298"/>
                <a:gd name="T48" fmla="*/ 34 w 140"/>
                <a:gd name="T49" fmla="*/ 10 h 298"/>
                <a:gd name="T50" fmla="*/ 51 w 140"/>
                <a:gd name="T51" fmla="*/ 3 h 298"/>
                <a:gd name="T52" fmla="*/ 70 w 140"/>
                <a:gd name="T53" fmla="*/ 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8">
                  <a:moveTo>
                    <a:pt x="70" y="0"/>
                  </a:moveTo>
                  <a:lnTo>
                    <a:pt x="89" y="3"/>
                  </a:lnTo>
                  <a:lnTo>
                    <a:pt x="105" y="10"/>
                  </a:lnTo>
                  <a:lnTo>
                    <a:pt x="119" y="21"/>
                  </a:lnTo>
                  <a:lnTo>
                    <a:pt x="131" y="35"/>
                  </a:lnTo>
                  <a:lnTo>
                    <a:pt x="137" y="52"/>
                  </a:lnTo>
                  <a:lnTo>
                    <a:pt x="140" y="71"/>
                  </a:lnTo>
                  <a:lnTo>
                    <a:pt x="140" y="227"/>
                  </a:lnTo>
                  <a:lnTo>
                    <a:pt x="137" y="246"/>
                  </a:lnTo>
                  <a:lnTo>
                    <a:pt x="131" y="263"/>
                  </a:lnTo>
                  <a:lnTo>
                    <a:pt x="119" y="276"/>
                  </a:lnTo>
                  <a:lnTo>
                    <a:pt x="105" y="288"/>
                  </a:lnTo>
                  <a:lnTo>
                    <a:pt x="89" y="296"/>
                  </a:lnTo>
                  <a:lnTo>
                    <a:pt x="70" y="298"/>
                  </a:lnTo>
                  <a:lnTo>
                    <a:pt x="51" y="294"/>
                  </a:lnTo>
                  <a:lnTo>
                    <a:pt x="34" y="288"/>
                  </a:lnTo>
                  <a:lnTo>
                    <a:pt x="20" y="276"/>
                  </a:lnTo>
                  <a:lnTo>
                    <a:pt x="10" y="263"/>
                  </a:lnTo>
                  <a:lnTo>
                    <a:pt x="2" y="246"/>
                  </a:lnTo>
                  <a:lnTo>
                    <a:pt x="0" y="227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10" y="35"/>
                  </a:lnTo>
                  <a:lnTo>
                    <a:pt x="20" y="21"/>
                  </a:lnTo>
                  <a:lnTo>
                    <a:pt x="34" y="10"/>
                  </a:lnTo>
                  <a:lnTo>
                    <a:pt x="51" y="3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54"/>
            <p:cNvSpPr>
              <a:spLocks/>
            </p:cNvSpPr>
            <p:nvPr/>
          </p:nvSpPr>
          <p:spPr bwMode="auto">
            <a:xfrm>
              <a:off x="5487988" y="4678363"/>
              <a:ext cx="22225" cy="47625"/>
            </a:xfrm>
            <a:custGeom>
              <a:avLst/>
              <a:gdLst>
                <a:gd name="T0" fmla="*/ 71 w 141"/>
                <a:gd name="T1" fmla="*/ 0 h 298"/>
                <a:gd name="T2" fmla="*/ 89 w 141"/>
                <a:gd name="T3" fmla="*/ 3 h 298"/>
                <a:gd name="T4" fmla="*/ 106 w 141"/>
                <a:gd name="T5" fmla="*/ 10 h 298"/>
                <a:gd name="T6" fmla="*/ 121 w 141"/>
                <a:gd name="T7" fmla="*/ 21 h 298"/>
                <a:gd name="T8" fmla="*/ 131 w 141"/>
                <a:gd name="T9" fmla="*/ 35 h 298"/>
                <a:gd name="T10" fmla="*/ 139 w 141"/>
                <a:gd name="T11" fmla="*/ 52 h 298"/>
                <a:gd name="T12" fmla="*/ 141 w 141"/>
                <a:gd name="T13" fmla="*/ 71 h 298"/>
                <a:gd name="T14" fmla="*/ 141 w 141"/>
                <a:gd name="T15" fmla="*/ 227 h 298"/>
                <a:gd name="T16" fmla="*/ 139 w 141"/>
                <a:gd name="T17" fmla="*/ 246 h 298"/>
                <a:gd name="T18" fmla="*/ 131 w 141"/>
                <a:gd name="T19" fmla="*/ 263 h 298"/>
                <a:gd name="T20" fmla="*/ 121 w 141"/>
                <a:gd name="T21" fmla="*/ 276 h 298"/>
                <a:gd name="T22" fmla="*/ 106 w 141"/>
                <a:gd name="T23" fmla="*/ 288 h 298"/>
                <a:gd name="T24" fmla="*/ 89 w 141"/>
                <a:gd name="T25" fmla="*/ 296 h 298"/>
                <a:gd name="T26" fmla="*/ 71 w 141"/>
                <a:gd name="T27" fmla="*/ 298 h 298"/>
                <a:gd name="T28" fmla="*/ 52 w 141"/>
                <a:gd name="T29" fmla="*/ 294 h 298"/>
                <a:gd name="T30" fmla="*/ 35 w 141"/>
                <a:gd name="T31" fmla="*/ 288 h 298"/>
                <a:gd name="T32" fmla="*/ 21 w 141"/>
                <a:gd name="T33" fmla="*/ 276 h 298"/>
                <a:gd name="T34" fmla="*/ 10 w 141"/>
                <a:gd name="T35" fmla="*/ 263 h 298"/>
                <a:gd name="T36" fmla="*/ 3 w 141"/>
                <a:gd name="T37" fmla="*/ 246 h 298"/>
                <a:gd name="T38" fmla="*/ 0 w 141"/>
                <a:gd name="T39" fmla="*/ 227 h 298"/>
                <a:gd name="T40" fmla="*/ 0 w 141"/>
                <a:gd name="T41" fmla="*/ 71 h 298"/>
                <a:gd name="T42" fmla="*/ 3 w 141"/>
                <a:gd name="T43" fmla="*/ 52 h 298"/>
                <a:gd name="T44" fmla="*/ 10 w 141"/>
                <a:gd name="T45" fmla="*/ 35 h 298"/>
                <a:gd name="T46" fmla="*/ 21 w 141"/>
                <a:gd name="T47" fmla="*/ 21 h 298"/>
                <a:gd name="T48" fmla="*/ 35 w 141"/>
                <a:gd name="T49" fmla="*/ 10 h 298"/>
                <a:gd name="T50" fmla="*/ 52 w 141"/>
                <a:gd name="T51" fmla="*/ 3 h 298"/>
                <a:gd name="T52" fmla="*/ 71 w 141"/>
                <a:gd name="T53" fmla="*/ 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1" h="298">
                  <a:moveTo>
                    <a:pt x="71" y="0"/>
                  </a:moveTo>
                  <a:lnTo>
                    <a:pt x="89" y="3"/>
                  </a:lnTo>
                  <a:lnTo>
                    <a:pt x="106" y="10"/>
                  </a:lnTo>
                  <a:lnTo>
                    <a:pt x="121" y="21"/>
                  </a:lnTo>
                  <a:lnTo>
                    <a:pt x="131" y="35"/>
                  </a:lnTo>
                  <a:lnTo>
                    <a:pt x="139" y="52"/>
                  </a:lnTo>
                  <a:lnTo>
                    <a:pt x="141" y="71"/>
                  </a:lnTo>
                  <a:lnTo>
                    <a:pt x="141" y="227"/>
                  </a:lnTo>
                  <a:lnTo>
                    <a:pt x="139" y="246"/>
                  </a:lnTo>
                  <a:lnTo>
                    <a:pt x="131" y="263"/>
                  </a:lnTo>
                  <a:lnTo>
                    <a:pt x="121" y="276"/>
                  </a:lnTo>
                  <a:lnTo>
                    <a:pt x="106" y="288"/>
                  </a:lnTo>
                  <a:lnTo>
                    <a:pt x="89" y="296"/>
                  </a:lnTo>
                  <a:lnTo>
                    <a:pt x="71" y="298"/>
                  </a:lnTo>
                  <a:lnTo>
                    <a:pt x="52" y="294"/>
                  </a:lnTo>
                  <a:lnTo>
                    <a:pt x="35" y="288"/>
                  </a:lnTo>
                  <a:lnTo>
                    <a:pt x="21" y="276"/>
                  </a:lnTo>
                  <a:lnTo>
                    <a:pt x="10" y="263"/>
                  </a:lnTo>
                  <a:lnTo>
                    <a:pt x="3" y="246"/>
                  </a:lnTo>
                  <a:lnTo>
                    <a:pt x="0" y="227"/>
                  </a:lnTo>
                  <a:lnTo>
                    <a:pt x="0" y="71"/>
                  </a:lnTo>
                  <a:lnTo>
                    <a:pt x="3" y="52"/>
                  </a:lnTo>
                  <a:lnTo>
                    <a:pt x="10" y="35"/>
                  </a:lnTo>
                  <a:lnTo>
                    <a:pt x="21" y="21"/>
                  </a:lnTo>
                  <a:lnTo>
                    <a:pt x="35" y="10"/>
                  </a:lnTo>
                  <a:lnTo>
                    <a:pt x="52" y="3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55"/>
            <p:cNvSpPr>
              <a:spLocks/>
            </p:cNvSpPr>
            <p:nvPr/>
          </p:nvSpPr>
          <p:spPr bwMode="auto">
            <a:xfrm>
              <a:off x="5548313" y="4678363"/>
              <a:ext cx="22225" cy="47625"/>
            </a:xfrm>
            <a:custGeom>
              <a:avLst/>
              <a:gdLst>
                <a:gd name="T0" fmla="*/ 69 w 140"/>
                <a:gd name="T1" fmla="*/ 0 h 298"/>
                <a:gd name="T2" fmla="*/ 88 w 140"/>
                <a:gd name="T3" fmla="*/ 3 h 298"/>
                <a:gd name="T4" fmla="*/ 105 w 140"/>
                <a:gd name="T5" fmla="*/ 10 h 298"/>
                <a:gd name="T6" fmla="*/ 119 w 140"/>
                <a:gd name="T7" fmla="*/ 21 h 298"/>
                <a:gd name="T8" fmla="*/ 131 w 140"/>
                <a:gd name="T9" fmla="*/ 35 h 298"/>
                <a:gd name="T10" fmla="*/ 137 w 140"/>
                <a:gd name="T11" fmla="*/ 52 h 298"/>
                <a:gd name="T12" fmla="*/ 140 w 140"/>
                <a:gd name="T13" fmla="*/ 71 h 298"/>
                <a:gd name="T14" fmla="*/ 140 w 140"/>
                <a:gd name="T15" fmla="*/ 227 h 298"/>
                <a:gd name="T16" fmla="*/ 137 w 140"/>
                <a:gd name="T17" fmla="*/ 246 h 298"/>
                <a:gd name="T18" fmla="*/ 131 w 140"/>
                <a:gd name="T19" fmla="*/ 263 h 298"/>
                <a:gd name="T20" fmla="*/ 119 w 140"/>
                <a:gd name="T21" fmla="*/ 276 h 298"/>
                <a:gd name="T22" fmla="*/ 105 w 140"/>
                <a:gd name="T23" fmla="*/ 288 h 298"/>
                <a:gd name="T24" fmla="*/ 88 w 140"/>
                <a:gd name="T25" fmla="*/ 296 h 298"/>
                <a:gd name="T26" fmla="*/ 69 w 140"/>
                <a:gd name="T27" fmla="*/ 298 h 298"/>
                <a:gd name="T28" fmla="*/ 52 w 140"/>
                <a:gd name="T29" fmla="*/ 294 h 298"/>
                <a:gd name="T30" fmla="*/ 35 w 140"/>
                <a:gd name="T31" fmla="*/ 288 h 298"/>
                <a:gd name="T32" fmla="*/ 20 w 140"/>
                <a:gd name="T33" fmla="*/ 276 h 298"/>
                <a:gd name="T34" fmla="*/ 9 w 140"/>
                <a:gd name="T35" fmla="*/ 263 h 298"/>
                <a:gd name="T36" fmla="*/ 2 w 140"/>
                <a:gd name="T37" fmla="*/ 246 h 298"/>
                <a:gd name="T38" fmla="*/ 0 w 140"/>
                <a:gd name="T39" fmla="*/ 227 h 298"/>
                <a:gd name="T40" fmla="*/ 0 w 140"/>
                <a:gd name="T41" fmla="*/ 71 h 298"/>
                <a:gd name="T42" fmla="*/ 2 w 140"/>
                <a:gd name="T43" fmla="*/ 52 h 298"/>
                <a:gd name="T44" fmla="*/ 9 w 140"/>
                <a:gd name="T45" fmla="*/ 35 h 298"/>
                <a:gd name="T46" fmla="*/ 20 w 140"/>
                <a:gd name="T47" fmla="*/ 21 h 298"/>
                <a:gd name="T48" fmla="*/ 35 w 140"/>
                <a:gd name="T49" fmla="*/ 10 h 298"/>
                <a:gd name="T50" fmla="*/ 50 w 140"/>
                <a:gd name="T51" fmla="*/ 3 h 298"/>
                <a:gd name="T52" fmla="*/ 69 w 140"/>
                <a:gd name="T53" fmla="*/ 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8">
                  <a:moveTo>
                    <a:pt x="69" y="0"/>
                  </a:moveTo>
                  <a:lnTo>
                    <a:pt x="88" y="3"/>
                  </a:lnTo>
                  <a:lnTo>
                    <a:pt x="105" y="10"/>
                  </a:lnTo>
                  <a:lnTo>
                    <a:pt x="119" y="21"/>
                  </a:lnTo>
                  <a:lnTo>
                    <a:pt x="131" y="35"/>
                  </a:lnTo>
                  <a:lnTo>
                    <a:pt x="137" y="52"/>
                  </a:lnTo>
                  <a:lnTo>
                    <a:pt x="140" y="71"/>
                  </a:lnTo>
                  <a:lnTo>
                    <a:pt x="140" y="227"/>
                  </a:lnTo>
                  <a:lnTo>
                    <a:pt x="137" y="246"/>
                  </a:lnTo>
                  <a:lnTo>
                    <a:pt x="131" y="263"/>
                  </a:lnTo>
                  <a:lnTo>
                    <a:pt x="119" y="276"/>
                  </a:lnTo>
                  <a:lnTo>
                    <a:pt x="105" y="288"/>
                  </a:lnTo>
                  <a:lnTo>
                    <a:pt x="88" y="296"/>
                  </a:lnTo>
                  <a:lnTo>
                    <a:pt x="69" y="298"/>
                  </a:lnTo>
                  <a:lnTo>
                    <a:pt x="52" y="294"/>
                  </a:lnTo>
                  <a:lnTo>
                    <a:pt x="35" y="288"/>
                  </a:lnTo>
                  <a:lnTo>
                    <a:pt x="20" y="276"/>
                  </a:lnTo>
                  <a:lnTo>
                    <a:pt x="9" y="263"/>
                  </a:lnTo>
                  <a:lnTo>
                    <a:pt x="2" y="246"/>
                  </a:lnTo>
                  <a:lnTo>
                    <a:pt x="0" y="227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9" y="35"/>
                  </a:lnTo>
                  <a:lnTo>
                    <a:pt x="20" y="21"/>
                  </a:lnTo>
                  <a:lnTo>
                    <a:pt x="35" y="10"/>
                  </a:lnTo>
                  <a:lnTo>
                    <a:pt x="50" y="3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56"/>
            <p:cNvSpPr>
              <a:spLocks/>
            </p:cNvSpPr>
            <p:nvPr/>
          </p:nvSpPr>
          <p:spPr bwMode="auto">
            <a:xfrm>
              <a:off x="5608638" y="4678363"/>
              <a:ext cx="22225" cy="47625"/>
            </a:xfrm>
            <a:custGeom>
              <a:avLst/>
              <a:gdLst>
                <a:gd name="T0" fmla="*/ 71 w 140"/>
                <a:gd name="T1" fmla="*/ 0 h 298"/>
                <a:gd name="T2" fmla="*/ 89 w 140"/>
                <a:gd name="T3" fmla="*/ 3 h 298"/>
                <a:gd name="T4" fmla="*/ 106 w 140"/>
                <a:gd name="T5" fmla="*/ 10 h 298"/>
                <a:gd name="T6" fmla="*/ 120 w 140"/>
                <a:gd name="T7" fmla="*/ 21 h 298"/>
                <a:gd name="T8" fmla="*/ 131 w 140"/>
                <a:gd name="T9" fmla="*/ 35 h 298"/>
                <a:gd name="T10" fmla="*/ 138 w 140"/>
                <a:gd name="T11" fmla="*/ 52 h 298"/>
                <a:gd name="T12" fmla="*/ 140 w 140"/>
                <a:gd name="T13" fmla="*/ 71 h 298"/>
                <a:gd name="T14" fmla="*/ 140 w 140"/>
                <a:gd name="T15" fmla="*/ 227 h 298"/>
                <a:gd name="T16" fmla="*/ 138 w 140"/>
                <a:gd name="T17" fmla="*/ 246 h 298"/>
                <a:gd name="T18" fmla="*/ 131 w 140"/>
                <a:gd name="T19" fmla="*/ 263 h 298"/>
                <a:gd name="T20" fmla="*/ 120 w 140"/>
                <a:gd name="T21" fmla="*/ 276 h 298"/>
                <a:gd name="T22" fmla="*/ 106 w 140"/>
                <a:gd name="T23" fmla="*/ 288 h 298"/>
                <a:gd name="T24" fmla="*/ 89 w 140"/>
                <a:gd name="T25" fmla="*/ 296 h 298"/>
                <a:gd name="T26" fmla="*/ 71 w 140"/>
                <a:gd name="T27" fmla="*/ 298 h 298"/>
                <a:gd name="T28" fmla="*/ 52 w 140"/>
                <a:gd name="T29" fmla="*/ 294 h 298"/>
                <a:gd name="T30" fmla="*/ 35 w 140"/>
                <a:gd name="T31" fmla="*/ 288 h 298"/>
                <a:gd name="T32" fmla="*/ 21 w 140"/>
                <a:gd name="T33" fmla="*/ 276 h 298"/>
                <a:gd name="T34" fmla="*/ 10 w 140"/>
                <a:gd name="T35" fmla="*/ 263 h 298"/>
                <a:gd name="T36" fmla="*/ 2 w 140"/>
                <a:gd name="T37" fmla="*/ 246 h 298"/>
                <a:gd name="T38" fmla="*/ 0 w 140"/>
                <a:gd name="T39" fmla="*/ 227 h 298"/>
                <a:gd name="T40" fmla="*/ 0 w 140"/>
                <a:gd name="T41" fmla="*/ 71 h 298"/>
                <a:gd name="T42" fmla="*/ 2 w 140"/>
                <a:gd name="T43" fmla="*/ 52 h 298"/>
                <a:gd name="T44" fmla="*/ 10 w 140"/>
                <a:gd name="T45" fmla="*/ 35 h 298"/>
                <a:gd name="T46" fmla="*/ 21 w 140"/>
                <a:gd name="T47" fmla="*/ 21 h 298"/>
                <a:gd name="T48" fmla="*/ 35 w 140"/>
                <a:gd name="T49" fmla="*/ 10 h 298"/>
                <a:gd name="T50" fmla="*/ 52 w 140"/>
                <a:gd name="T51" fmla="*/ 3 h 298"/>
                <a:gd name="T52" fmla="*/ 71 w 140"/>
                <a:gd name="T53" fmla="*/ 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298">
                  <a:moveTo>
                    <a:pt x="71" y="0"/>
                  </a:moveTo>
                  <a:lnTo>
                    <a:pt x="89" y="3"/>
                  </a:lnTo>
                  <a:lnTo>
                    <a:pt x="106" y="10"/>
                  </a:lnTo>
                  <a:lnTo>
                    <a:pt x="120" y="21"/>
                  </a:lnTo>
                  <a:lnTo>
                    <a:pt x="131" y="35"/>
                  </a:lnTo>
                  <a:lnTo>
                    <a:pt x="138" y="52"/>
                  </a:lnTo>
                  <a:lnTo>
                    <a:pt x="140" y="71"/>
                  </a:lnTo>
                  <a:lnTo>
                    <a:pt x="140" y="227"/>
                  </a:lnTo>
                  <a:lnTo>
                    <a:pt x="138" y="246"/>
                  </a:lnTo>
                  <a:lnTo>
                    <a:pt x="131" y="263"/>
                  </a:lnTo>
                  <a:lnTo>
                    <a:pt x="120" y="276"/>
                  </a:lnTo>
                  <a:lnTo>
                    <a:pt x="106" y="288"/>
                  </a:lnTo>
                  <a:lnTo>
                    <a:pt x="89" y="296"/>
                  </a:lnTo>
                  <a:lnTo>
                    <a:pt x="71" y="298"/>
                  </a:lnTo>
                  <a:lnTo>
                    <a:pt x="52" y="294"/>
                  </a:lnTo>
                  <a:lnTo>
                    <a:pt x="35" y="288"/>
                  </a:lnTo>
                  <a:lnTo>
                    <a:pt x="21" y="276"/>
                  </a:lnTo>
                  <a:lnTo>
                    <a:pt x="10" y="263"/>
                  </a:lnTo>
                  <a:lnTo>
                    <a:pt x="2" y="246"/>
                  </a:lnTo>
                  <a:lnTo>
                    <a:pt x="0" y="227"/>
                  </a:lnTo>
                  <a:lnTo>
                    <a:pt x="0" y="71"/>
                  </a:lnTo>
                  <a:lnTo>
                    <a:pt x="2" y="52"/>
                  </a:lnTo>
                  <a:lnTo>
                    <a:pt x="10" y="35"/>
                  </a:lnTo>
                  <a:lnTo>
                    <a:pt x="21" y="21"/>
                  </a:lnTo>
                  <a:lnTo>
                    <a:pt x="35" y="10"/>
                  </a:lnTo>
                  <a:lnTo>
                    <a:pt x="52" y="3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2" name="Group 381"/>
          <p:cNvGrpSpPr/>
          <p:nvPr/>
        </p:nvGrpSpPr>
        <p:grpSpPr>
          <a:xfrm>
            <a:off x="886706" y="5079903"/>
            <a:ext cx="777061" cy="696608"/>
            <a:chOff x="5373688" y="3495675"/>
            <a:chExt cx="525462" cy="477838"/>
          </a:xfrm>
          <a:solidFill>
            <a:srgbClr val="343467"/>
          </a:solidFill>
        </p:grpSpPr>
        <p:sp>
          <p:nvSpPr>
            <p:cNvPr id="43" name="Freeform 326"/>
            <p:cNvSpPr>
              <a:spLocks noEditPoints="1"/>
            </p:cNvSpPr>
            <p:nvPr/>
          </p:nvSpPr>
          <p:spPr bwMode="auto">
            <a:xfrm>
              <a:off x="5373688" y="3606800"/>
              <a:ext cx="525462" cy="366713"/>
            </a:xfrm>
            <a:custGeom>
              <a:avLst/>
              <a:gdLst>
                <a:gd name="T0" fmla="*/ 118 w 3315"/>
                <a:gd name="T1" fmla="*/ 117 h 2303"/>
                <a:gd name="T2" fmla="*/ 118 w 3315"/>
                <a:gd name="T3" fmla="*/ 2184 h 2303"/>
                <a:gd name="T4" fmla="*/ 3197 w 3315"/>
                <a:gd name="T5" fmla="*/ 2184 h 2303"/>
                <a:gd name="T6" fmla="*/ 3197 w 3315"/>
                <a:gd name="T7" fmla="*/ 117 h 2303"/>
                <a:gd name="T8" fmla="*/ 118 w 3315"/>
                <a:gd name="T9" fmla="*/ 117 h 2303"/>
                <a:gd name="T10" fmla="*/ 0 w 3315"/>
                <a:gd name="T11" fmla="*/ 0 h 2303"/>
                <a:gd name="T12" fmla="*/ 3315 w 3315"/>
                <a:gd name="T13" fmla="*/ 0 h 2303"/>
                <a:gd name="T14" fmla="*/ 3315 w 3315"/>
                <a:gd name="T15" fmla="*/ 2303 h 2303"/>
                <a:gd name="T16" fmla="*/ 0 w 3315"/>
                <a:gd name="T17" fmla="*/ 2303 h 2303"/>
                <a:gd name="T18" fmla="*/ 0 w 3315"/>
                <a:gd name="T19" fmla="*/ 0 h 2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15" h="2303">
                  <a:moveTo>
                    <a:pt x="118" y="117"/>
                  </a:moveTo>
                  <a:lnTo>
                    <a:pt x="118" y="2184"/>
                  </a:lnTo>
                  <a:lnTo>
                    <a:pt x="3197" y="2184"/>
                  </a:lnTo>
                  <a:lnTo>
                    <a:pt x="3197" y="117"/>
                  </a:lnTo>
                  <a:lnTo>
                    <a:pt x="118" y="117"/>
                  </a:lnTo>
                  <a:close/>
                  <a:moveTo>
                    <a:pt x="0" y="0"/>
                  </a:moveTo>
                  <a:lnTo>
                    <a:pt x="3315" y="0"/>
                  </a:lnTo>
                  <a:lnTo>
                    <a:pt x="3315" y="2303"/>
                  </a:lnTo>
                  <a:lnTo>
                    <a:pt x="0" y="230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27"/>
            <p:cNvSpPr>
              <a:spLocks/>
            </p:cNvSpPr>
            <p:nvPr/>
          </p:nvSpPr>
          <p:spPr bwMode="auto">
            <a:xfrm>
              <a:off x="5392738" y="3570288"/>
              <a:ext cx="488950" cy="17463"/>
            </a:xfrm>
            <a:custGeom>
              <a:avLst/>
              <a:gdLst>
                <a:gd name="T0" fmla="*/ 60 w 3079"/>
                <a:gd name="T1" fmla="*/ 0 h 118"/>
                <a:gd name="T2" fmla="*/ 3019 w 3079"/>
                <a:gd name="T3" fmla="*/ 0 h 118"/>
                <a:gd name="T4" fmla="*/ 3038 w 3079"/>
                <a:gd name="T5" fmla="*/ 3 h 118"/>
                <a:gd name="T6" fmla="*/ 3055 w 3079"/>
                <a:gd name="T7" fmla="*/ 11 h 118"/>
                <a:gd name="T8" fmla="*/ 3068 w 3079"/>
                <a:gd name="T9" fmla="*/ 24 h 118"/>
                <a:gd name="T10" fmla="*/ 3076 w 3079"/>
                <a:gd name="T11" fmla="*/ 40 h 118"/>
                <a:gd name="T12" fmla="*/ 3079 w 3079"/>
                <a:gd name="T13" fmla="*/ 60 h 118"/>
                <a:gd name="T14" fmla="*/ 3076 w 3079"/>
                <a:gd name="T15" fmla="*/ 78 h 118"/>
                <a:gd name="T16" fmla="*/ 3068 w 3079"/>
                <a:gd name="T17" fmla="*/ 94 h 118"/>
                <a:gd name="T18" fmla="*/ 3055 w 3079"/>
                <a:gd name="T19" fmla="*/ 107 h 118"/>
                <a:gd name="T20" fmla="*/ 3038 w 3079"/>
                <a:gd name="T21" fmla="*/ 115 h 118"/>
                <a:gd name="T22" fmla="*/ 3019 w 3079"/>
                <a:gd name="T23" fmla="*/ 118 h 118"/>
                <a:gd name="T24" fmla="*/ 60 w 3079"/>
                <a:gd name="T25" fmla="*/ 118 h 118"/>
                <a:gd name="T26" fmla="*/ 40 w 3079"/>
                <a:gd name="T27" fmla="*/ 115 h 118"/>
                <a:gd name="T28" fmla="*/ 24 w 3079"/>
                <a:gd name="T29" fmla="*/ 107 h 118"/>
                <a:gd name="T30" fmla="*/ 12 w 3079"/>
                <a:gd name="T31" fmla="*/ 94 h 118"/>
                <a:gd name="T32" fmla="*/ 3 w 3079"/>
                <a:gd name="T33" fmla="*/ 78 h 118"/>
                <a:gd name="T34" fmla="*/ 0 w 3079"/>
                <a:gd name="T35" fmla="*/ 60 h 118"/>
                <a:gd name="T36" fmla="*/ 3 w 3079"/>
                <a:gd name="T37" fmla="*/ 40 h 118"/>
                <a:gd name="T38" fmla="*/ 12 w 3079"/>
                <a:gd name="T39" fmla="*/ 24 h 118"/>
                <a:gd name="T40" fmla="*/ 24 w 3079"/>
                <a:gd name="T41" fmla="*/ 11 h 118"/>
                <a:gd name="T42" fmla="*/ 40 w 3079"/>
                <a:gd name="T43" fmla="*/ 3 h 118"/>
                <a:gd name="T44" fmla="*/ 60 w 3079"/>
                <a:gd name="T45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079" h="118">
                  <a:moveTo>
                    <a:pt x="60" y="0"/>
                  </a:moveTo>
                  <a:lnTo>
                    <a:pt x="3019" y="0"/>
                  </a:lnTo>
                  <a:lnTo>
                    <a:pt x="3038" y="3"/>
                  </a:lnTo>
                  <a:lnTo>
                    <a:pt x="3055" y="11"/>
                  </a:lnTo>
                  <a:lnTo>
                    <a:pt x="3068" y="24"/>
                  </a:lnTo>
                  <a:lnTo>
                    <a:pt x="3076" y="40"/>
                  </a:lnTo>
                  <a:lnTo>
                    <a:pt x="3079" y="60"/>
                  </a:lnTo>
                  <a:lnTo>
                    <a:pt x="3076" y="78"/>
                  </a:lnTo>
                  <a:lnTo>
                    <a:pt x="3068" y="94"/>
                  </a:lnTo>
                  <a:lnTo>
                    <a:pt x="3055" y="107"/>
                  </a:lnTo>
                  <a:lnTo>
                    <a:pt x="3038" y="115"/>
                  </a:lnTo>
                  <a:lnTo>
                    <a:pt x="3019" y="118"/>
                  </a:lnTo>
                  <a:lnTo>
                    <a:pt x="60" y="118"/>
                  </a:lnTo>
                  <a:lnTo>
                    <a:pt x="40" y="115"/>
                  </a:lnTo>
                  <a:lnTo>
                    <a:pt x="24" y="107"/>
                  </a:lnTo>
                  <a:lnTo>
                    <a:pt x="12" y="94"/>
                  </a:lnTo>
                  <a:lnTo>
                    <a:pt x="3" y="78"/>
                  </a:lnTo>
                  <a:lnTo>
                    <a:pt x="0" y="60"/>
                  </a:lnTo>
                  <a:lnTo>
                    <a:pt x="3" y="40"/>
                  </a:lnTo>
                  <a:lnTo>
                    <a:pt x="12" y="24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6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28"/>
            <p:cNvSpPr>
              <a:spLocks/>
            </p:cNvSpPr>
            <p:nvPr/>
          </p:nvSpPr>
          <p:spPr bwMode="auto">
            <a:xfrm>
              <a:off x="5421313" y="3532188"/>
              <a:ext cx="431800" cy="19050"/>
            </a:xfrm>
            <a:custGeom>
              <a:avLst/>
              <a:gdLst>
                <a:gd name="T0" fmla="*/ 59 w 2723"/>
                <a:gd name="T1" fmla="*/ 0 h 118"/>
                <a:gd name="T2" fmla="*/ 2664 w 2723"/>
                <a:gd name="T3" fmla="*/ 0 h 118"/>
                <a:gd name="T4" fmla="*/ 2683 w 2723"/>
                <a:gd name="T5" fmla="*/ 3 h 118"/>
                <a:gd name="T6" fmla="*/ 2699 w 2723"/>
                <a:gd name="T7" fmla="*/ 12 h 118"/>
                <a:gd name="T8" fmla="*/ 2712 w 2723"/>
                <a:gd name="T9" fmla="*/ 24 h 118"/>
                <a:gd name="T10" fmla="*/ 2720 w 2723"/>
                <a:gd name="T11" fmla="*/ 40 h 118"/>
                <a:gd name="T12" fmla="*/ 2723 w 2723"/>
                <a:gd name="T13" fmla="*/ 59 h 118"/>
                <a:gd name="T14" fmla="*/ 2720 w 2723"/>
                <a:gd name="T15" fmla="*/ 78 h 118"/>
                <a:gd name="T16" fmla="*/ 2712 w 2723"/>
                <a:gd name="T17" fmla="*/ 94 h 118"/>
                <a:gd name="T18" fmla="*/ 2699 w 2723"/>
                <a:gd name="T19" fmla="*/ 106 h 118"/>
                <a:gd name="T20" fmla="*/ 2683 w 2723"/>
                <a:gd name="T21" fmla="*/ 115 h 118"/>
                <a:gd name="T22" fmla="*/ 2664 w 2723"/>
                <a:gd name="T23" fmla="*/ 118 h 118"/>
                <a:gd name="T24" fmla="*/ 59 w 2723"/>
                <a:gd name="T25" fmla="*/ 118 h 118"/>
                <a:gd name="T26" fmla="*/ 41 w 2723"/>
                <a:gd name="T27" fmla="*/ 115 h 118"/>
                <a:gd name="T28" fmla="*/ 24 w 2723"/>
                <a:gd name="T29" fmla="*/ 106 h 118"/>
                <a:gd name="T30" fmla="*/ 12 w 2723"/>
                <a:gd name="T31" fmla="*/ 94 h 118"/>
                <a:gd name="T32" fmla="*/ 3 w 2723"/>
                <a:gd name="T33" fmla="*/ 78 h 118"/>
                <a:gd name="T34" fmla="*/ 0 w 2723"/>
                <a:gd name="T35" fmla="*/ 59 h 118"/>
                <a:gd name="T36" fmla="*/ 3 w 2723"/>
                <a:gd name="T37" fmla="*/ 40 h 118"/>
                <a:gd name="T38" fmla="*/ 12 w 2723"/>
                <a:gd name="T39" fmla="*/ 24 h 118"/>
                <a:gd name="T40" fmla="*/ 24 w 2723"/>
                <a:gd name="T41" fmla="*/ 12 h 118"/>
                <a:gd name="T42" fmla="*/ 41 w 2723"/>
                <a:gd name="T43" fmla="*/ 3 h 118"/>
                <a:gd name="T44" fmla="*/ 59 w 2723"/>
                <a:gd name="T45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723" h="118">
                  <a:moveTo>
                    <a:pt x="59" y="0"/>
                  </a:moveTo>
                  <a:lnTo>
                    <a:pt x="2664" y="0"/>
                  </a:lnTo>
                  <a:lnTo>
                    <a:pt x="2683" y="3"/>
                  </a:lnTo>
                  <a:lnTo>
                    <a:pt x="2699" y="12"/>
                  </a:lnTo>
                  <a:lnTo>
                    <a:pt x="2712" y="24"/>
                  </a:lnTo>
                  <a:lnTo>
                    <a:pt x="2720" y="40"/>
                  </a:lnTo>
                  <a:lnTo>
                    <a:pt x="2723" y="59"/>
                  </a:lnTo>
                  <a:lnTo>
                    <a:pt x="2720" y="78"/>
                  </a:lnTo>
                  <a:lnTo>
                    <a:pt x="2712" y="94"/>
                  </a:lnTo>
                  <a:lnTo>
                    <a:pt x="2699" y="106"/>
                  </a:lnTo>
                  <a:lnTo>
                    <a:pt x="2683" y="115"/>
                  </a:lnTo>
                  <a:lnTo>
                    <a:pt x="2664" y="118"/>
                  </a:lnTo>
                  <a:lnTo>
                    <a:pt x="59" y="118"/>
                  </a:lnTo>
                  <a:lnTo>
                    <a:pt x="41" y="115"/>
                  </a:lnTo>
                  <a:lnTo>
                    <a:pt x="24" y="106"/>
                  </a:lnTo>
                  <a:lnTo>
                    <a:pt x="12" y="94"/>
                  </a:lnTo>
                  <a:lnTo>
                    <a:pt x="3" y="78"/>
                  </a:lnTo>
                  <a:lnTo>
                    <a:pt x="0" y="59"/>
                  </a:lnTo>
                  <a:lnTo>
                    <a:pt x="3" y="40"/>
                  </a:lnTo>
                  <a:lnTo>
                    <a:pt x="12" y="24"/>
                  </a:lnTo>
                  <a:lnTo>
                    <a:pt x="24" y="12"/>
                  </a:lnTo>
                  <a:lnTo>
                    <a:pt x="41" y="3"/>
                  </a:lnTo>
                  <a:lnTo>
                    <a:pt x="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29"/>
            <p:cNvSpPr>
              <a:spLocks/>
            </p:cNvSpPr>
            <p:nvPr/>
          </p:nvSpPr>
          <p:spPr bwMode="auto">
            <a:xfrm>
              <a:off x="5448300" y="3495675"/>
              <a:ext cx="376237" cy="17463"/>
            </a:xfrm>
            <a:custGeom>
              <a:avLst/>
              <a:gdLst>
                <a:gd name="T0" fmla="*/ 60 w 2369"/>
                <a:gd name="T1" fmla="*/ 0 h 118"/>
                <a:gd name="T2" fmla="*/ 2309 w 2369"/>
                <a:gd name="T3" fmla="*/ 0 h 118"/>
                <a:gd name="T4" fmla="*/ 2328 w 2369"/>
                <a:gd name="T5" fmla="*/ 3 h 118"/>
                <a:gd name="T6" fmla="*/ 2344 w 2369"/>
                <a:gd name="T7" fmla="*/ 11 h 118"/>
                <a:gd name="T8" fmla="*/ 2358 w 2369"/>
                <a:gd name="T9" fmla="*/ 24 h 118"/>
                <a:gd name="T10" fmla="*/ 2366 w 2369"/>
                <a:gd name="T11" fmla="*/ 40 h 118"/>
                <a:gd name="T12" fmla="*/ 2369 w 2369"/>
                <a:gd name="T13" fmla="*/ 58 h 118"/>
                <a:gd name="T14" fmla="*/ 2366 w 2369"/>
                <a:gd name="T15" fmla="*/ 78 h 118"/>
                <a:gd name="T16" fmla="*/ 2358 w 2369"/>
                <a:gd name="T17" fmla="*/ 94 h 118"/>
                <a:gd name="T18" fmla="*/ 2344 w 2369"/>
                <a:gd name="T19" fmla="*/ 107 h 118"/>
                <a:gd name="T20" fmla="*/ 2328 w 2369"/>
                <a:gd name="T21" fmla="*/ 115 h 118"/>
                <a:gd name="T22" fmla="*/ 2309 w 2369"/>
                <a:gd name="T23" fmla="*/ 118 h 118"/>
                <a:gd name="T24" fmla="*/ 60 w 2369"/>
                <a:gd name="T25" fmla="*/ 118 h 118"/>
                <a:gd name="T26" fmla="*/ 41 w 2369"/>
                <a:gd name="T27" fmla="*/ 115 h 118"/>
                <a:gd name="T28" fmla="*/ 24 w 2369"/>
                <a:gd name="T29" fmla="*/ 107 h 118"/>
                <a:gd name="T30" fmla="*/ 12 w 2369"/>
                <a:gd name="T31" fmla="*/ 94 h 118"/>
                <a:gd name="T32" fmla="*/ 3 w 2369"/>
                <a:gd name="T33" fmla="*/ 78 h 118"/>
                <a:gd name="T34" fmla="*/ 0 w 2369"/>
                <a:gd name="T35" fmla="*/ 58 h 118"/>
                <a:gd name="T36" fmla="*/ 3 w 2369"/>
                <a:gd name="T37" fmla="*/ 40 h 118"/>
                <a:gd name="T38" fmla="*/ 12 w 2369"/>
                <a:gd name="T39" fmla="*/ 24 h 118"/>
                <a:gd name="T40" fmla="*/ 24 w 2369"/>
                <a:gd name="T41" fmla="*/ 11 h 118"/>
                <a:gd name="T42" fmla="*/ 41 w 2369"/>
                <a:gd name="T43" fmla="*/ 3 h 118"/>
                <a:gd name="T44" fmla="*/ 60 w 2369"/>
                <a:gd name="T45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369" h="118">
                  <a:moveTo>
                    <a:pt x="60" y="0"/>
                  </a:moveTo>
                  <a:lnTo>
                    <a:pt x="2309" y="0"/>
                  </a:lnTo>
                  <a:lnTo>
                    <a:pt x="2328" y="3"/>
                  </a:lnTo>
                  <a:lnTo>
                    <a:pt x="2344" y="11"/>
                  </a:lnTo>
                  <a:lnTo>
                    <a:pt x="2358" y="24"/>
                  </a:lnTo>
                  <a:lnTo>
                    <a:pt x="2366" y="40"/>
                  </a:lnTo>
                  <a:lnTo>
                    <a:pt x="2369" y="58"/>
                  </a:lnTo>
                  <a:lnTo>
                    <a:pt x="2366" y="78"/>
                  </a:lnTo>
                  <a:lnTo>
                    <a:pt x="2358" y="94"/>
                  </a:lnTo>
                  <a:lnTo>
                    <a:pt x="2344" y="107"/>
                  </a:lnTo>
                  <a:lnTo>
                    <a:pt x="2328" y="115"/>
                  </a:lnTo>
                  <a:lnTo>
                    <a:pt x="2309" y="118"/>
                  </a:lnTo>
                  <a:lnTo>
                    <a:pt x="60" y="118"/>
                  </a:lnTo>
                  <a:lnTo>
                    <a:pt x="41" y="115"/>
                  </a:lnTo>
                  <a:lnTo>
                    <a:pt x="24" y="107"/>
                  </a:lnTo>
                  <a:lnTo>
                    <a:pt x="12" y="94"/>
                  </a:lnTo>
                  <a:lnTo>
                    <a:pt x="3" y="78"/>
                  </a:lnTo>
                  <a:lnTo>
                    <a:pt x="0" y="58"/>
                  </a:lnTo>
                  <a:lnTo>
                    <a:pt x="3" y="40"/>
                  </a:lnTo>
                  <a:lnTo>
                    <a:pt x="12" y="24"/>
                  </a:lnTo>
                  <a:lnTo>
                    <a:pt x="24" y="11"/>
                  </a:lnTo>
                  <a:lnTo>
                    <a:pt x="41" y="3"/>
                  </a:lnTo>
                  <a:lnTo>
                    <a:pt x="6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414976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7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Заголовок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chnical </a:t>
            </a:r>
            <a:r>
              <a:rPr lang="en-US" dirty="0"/>
              <a:t>Assistance as a </a:t>
            </a:r>
            <a:r>
              <a:rPr lang="en-US" dirty="0" smtClean="0"/>
              <a:t>New </a:t>
            </a:r>
            <a:r>
              <a:rPr lang="en-US" dirty="0"/>
              <a:t>Tool </a:t>
            </a:r>
            <a:r>
              <a:rPr lang="en-US" dirty="0" smtClean="0"/>
              <a:t>of </a:t>
            </a:r>
            <a:r>
              <a:rPr lang="en-US" dirty="0"/>
              <a:t>the EFSD</a:t>
            </a:r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idx="16"/>
          </p:nvPr>
        </p:nvSpPr>
        <p:spPr/>
        <p:txBody>
          <a:bodyPr/>
          <a:lstStyle/>
          <a:p>
            <a:r>
              <a:rPr lang="en-US" smtClean="0"/>
              <a:t>Footer goes here</a:t>
            </a:r>
            <a:endParaRPr lang="en-US" dirty="0" smtClean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idx="17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mtClean="0"/>
              <a:t>12</a:t>
            </a:fld>
            <a:endParaRPr lang="en-GB"/>
          </a:p>
        </p:txBody>
      </p:sp>
      <p:sp>
        <p:nvSpPr>
          <p:cNvPr id="9" name="Текст 4"/>
          <p:cNvSpPr txBox="1">
            <a:spLocks/>
          </p:cNvSpPr>
          <p:nvPr/>
        </p:nvSpPr>
        <p:spPr>
          <a:xfrm>
            <a:off x="1138279" y="1484440"/>
            <a:ext cx="4866602" cy="692208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/>
              <a:defRPr sz="1800" b="0" i="0" u="none" strike="noStrike" cap="none">
                <a:solidFill>
                  <a:srgbClr val="000000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  <a:sym typeface="Arial"/>
              </a:defRPr>
            </a:lvl1pPr>
            <a:lvl2pPr marL="0" marR="0" lvl="1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285750" marR="0" lvl="2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800" b="0" i="0" u="none" strike="noStrike" cap="none">
                <a:solidFill>
                  <a:srgbClr val="000000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  <a:sym typeface="Arial"/>
              </a:defRPr>
            </a:lvl3pPr>
            <a:lvl4pPr marL="285750" marR="0" lvl="3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38163" marR="0" lvl="4" indent="-25558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­"/>
              <a:defRPr sz="1800" b="0" i="0" u="none" strike="noStrike" cap="none">
                <a:solidFill>
                  <a:srgbClr val="000000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  <a:sym typeface="Arial"/>
              </a:defRPr>
            </a:lvl5pPr>
            <a:lvl6pPr marL="285750" marR="0" lvl="5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 dirty="0" smtClean="0">
                <a:solidFill>
                  <a:schemeClr val="bg2"/>
                </a:solidFill>
              </a:rPr>
              <a:t>The </a:t>
            </a:r>
            <a:r>
              <a:rPr lang="en-US" dirty="0">
                <a:solidFill>
                  <a:schemeClr val="bg2"/>
                </a:solidFill>
              </a:rPr>
              <a:t>current objectives </a:t>
            </a:r>
            <a:r>
              <a:rPr lang="en-US" dirty="0" smtClean="0">
                <a:solidFill>
                  <a:schemeClr val="bg2"/>
                </a:solidFill>
              </a:rPr>
              <a:t>for </a:t>
            </a:r>
            <a:r>
              <a:rPr lang="en-US" dirty="0">
                <a:solidFill>
                  <a:schemeClr val="bg2"/>
                </a:solidFill>
              </a:rPr>
              <a:t>all the countries in </a:t>
            </a:r>
            <a:r>
              <a:rPr lang="en-US" dirty="0" smtClean="0">
                <a:solidFill>
                  <a:schemeClr val="bg2"/>
                </a:solidFill>
              </a:rPr>
              <a:t>2022-2026 are </a:t>
            </a:r>
            <a:r>
              <a:rPr lang="en-US" dirty="0">
                <a:solidFill>
                  <a:schemeClr val="bg2"/>
                </a:solidFill>
              </a:rPr>
              <a:t>to</a:t>
            </a:r>
            <a:r>
              <a:rPr lang="ru-RU" dirty="0" smtClean="0">
                <a:solidFill>
                  <a:schemeClr val="bg2"/>
                </a:solidFill>
              </a:rPr>
              <a:t>:</a:t>
            </a:r>
            <a:endParaRPr lang="ru-RU" dirty="0">
              <a:solidFill>
                <a:schemeClr val="bg2"/>
              </a:solidFill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725225" y="2291741"/>
            <a:ext cx="5400000" cy="2610877"/>
            <a:chOff x="442913" y="2296748"/>
            <a:chExt cx="5400000" cy="2610877"/>
          </a:xfrm>
        </p:grpSpPr>
        <p:grpSp>
          <p:nvGrpSpPr>
            <p:cNvPr id="13" name="Группа 12"/>
            <p:cNvGrpSpPr/>
            <p:nvPr/>
          </p:nvGrpSpPr>
          <p:grpSpPr>
            <a:xfrm>
              <a:off x="442913" y="2296748"/>
              <a:ext cx="5400000" cy="2610877"/>
              <a:chOff x="452720" y="2108212"/>
              <a:chExt cx="5400000" cy="2610877"/>
            </a:xfrm>
          </p:grpSpPr>
          <p:grpSp>
            <p:nvGrpSpPr>
              <p:cNvPr id="93" name="Группа 92"/>
              <p:cNvGrpSpPr>
                <a:grpSpLocks noChangeAspect="1"/>
              </p:cNvGrpSpPr>
              <p:nvPr/>
            </p:nvGrpSpPr>
            <p:grpSpPr>
              <a:xfrm>
                <a:off x="452720" y="2108212"/>
                <a:ext cx="5400000" cy="2610877"/>
                <a:chOff x="3885926" y="3578394"/>
                <a:chExt cx="16612148" cy="8031904"/>
              </a:xfrm>
            </p:grpSpPr>
            <p:sp>
              <p:nvSpPr>
                <p:cNvPr id="97" name="Shape"/>
                <p:cNvSpPr/>
                <p:nvPr/>
              </p:nvSpPr>
              <p:spPr>
                <a:xfrm>
                  <a:off x="3885926" y="3578394"/>
                  <a:ext cx="8625565" cy="294581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594" h="21582" extrusionOk="0">
                      <a:moveTo>
                        <a:pt x="2366" y="1"/>
                      </a:moveTo>
                      <a:lnTo>
                        <a:pt x="19193" y="1"/>
                      </a:lnTo>
                      <a:cubicBezTo>
                        <a:pt x="19302" y="-10"/>
                        <a:pt x="19410" y="68"/>
                        <a:pt x="19505" y="226"/>
                      </a:cubicBezTo>
                      <a:cubicBezTo>
                        <a:pt x="19587" y="361"/>
                        <a:pt x="19657" y="553"/>
                        <a:pt x="19709" y="783"/>
                      </a:cubicBezTo>
                      <a:lnTo>
                        <a:pt x="21500" y="9760"/>
                      </a:lnTo>
                      <a:cubicBezTo>
                        <a:pt x="21557" y="10056"/>
                        <a:pt x="21589" y="10387"/>
                        <a:pt x="21594" y="10727"/>
                      </a:cubicBezTo>
                      <a:cubicBezTo>
                        <a:pt x="21598" y="11054"/>
                        <a:pt x="21577" y="11380"/>
                        <a:pt x="21531" y="11679"/>
                      </a:cubicBezTo>
                      <a:lnTo>
                        <a:pt x="19722" y="20696"/>
                      </a:lnTo>
                      <a:cubicBezTo>
                        <a:pt x="19671" y="20955"/>
                        <a:pt x="19599" y="21172"/>
                        <a:pt x="19512" y="21326"/>
                      </a:cubicBezTo>
                      <a:cubicBezTo>
                        <a:pt x="19413" y="21501"/>
                        <a:pt x="19299" y="21590"/>
                        <a:pt x="19183" y="21581"/>
                      </a:cubicBezTo>
                      <a:lnTo>
                        <a:pt x="2378" y="21581"/>
                      </a:lnTo>
                      <a:cubicBezTo>
                        <a:pt x="2273" y="21546"/>
                        <a:pt x="2172" y="21453"/>
                        <a:pt x="2078" y="21307"/>
                      </a:cubicBezTo>
                      <a:cubicBezTo>
                        <a:pt x="1969" y="21136"/>
                        <a:pt x="1875" y="20895"/>
                        <a:pt x="1801" y="20604"/>
                      </a:cubicBezTo>
                      <a:lnTo>
                        <a:pt x="85" y="11824"/>
                      </a:lnTo>
                      <a:cubicBezTo>
                        <a:pt x="31" y="11513"/>
                        <a:pt x="2" y="11170"/>
                        <a:pt x="0" y="10821"/>
                      </a:cubicBezTo>
                      <a:cubicBezTo>
                        <a:pt x="-2" y="10470"/>
                        <a:pt x="23" y="10123"/>
                        <a:pt x="74" y="9805"/>
                      </a:cubicBezTo>
                      <a:lnTo>
                        <a:pt x="1814" y="1008"/>
                      </a:lnTo>
                      <a:cubicBezTo>
                        <a:pt x="1870" y="721"/>
                        <a:pt x="1950" y="478"/>
                        <a:pt x="2046" y="302"/>
                      </a:cubicBezTo>
                      <a:cubicBezTo>
                        <a:pt x="2142" y="125"/>
                        <a:pt x="2252" y="21"/>
                        <a:pt x="2366" y="1"/>
                      </a:cubicBezTo>
                      <a:close/>
                    </a:path>
                  </a:pathLst>
                </a:custGeom>
                <a:ln w="50800">
                  <a:solidFill>
                    <a:schemeClr val="accent1"/>
                  </a:solidFill>
                  <a:miter lim="400000"/>
                </a:ln>
              </p:spPr>
              <p:txBody>
                <a:bodyPr lIns="0" tIns="0" rIns="0" bIns="0" anchor="ctr"/>
                <a:lstStyle/>
                <a:p>
                  <a:pPr>
                    <a:defRPr sz="3200" b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  <a:sym typeface="Helvetica Neue Medium"/>
                    </a:defRPr>
                  </a:pPr>
                  <a:endParaRPr/>
                </a:p>
              </p:txBody>
            </p:sp>
            <p:sp>
              <p:nvSpPr>
                <p:cNvPr id="98" name="Shape"/>
                <p:cNvSpPr/>
                <p:nvPr/>
              </p:nvSpPr>
              <p:spPr>
                <a:xfrm>
                  <a:off x="4092727" y="3762176"/>
                  <a:ext cx="2901192" cy="257825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585" h="21582" extrusionOk="0">
                      <a:moveTo>
                        <a:pt x="6154" y="1"/>
                      </a:moveTo>
                      <a:lnTo>
                        <a:pt x="15339" y="1"/>
                      </a:lnTo>
                      <a:cubicBezTo>
                        <a:pt x="15623" y="-10"/>
                        <a:pt x="15905" y="68"/>
                        <a:pt x="16152" y="226"/>
                      </a:cubicBezTo>
                      <a:cubicBezTo>
                        <a:pt x="16366" y="361"/>
                        <a:pt x="16547" y="553"/>
                        <a:pt x="16682" y="783"/>
                      </a:cubicBezTo>
                      <a:lnTo>
                        <a:pt x="21341" y="9760"/>
                      </a:lnTo>
                      <a:cubicBezTo>
                        <a:pt x="21489" y="10056"/>
                        <a:pt x="21572" y="10387"/>
                        <a:pt x="21584" y="10727"/>
                      </a:cubicBezTo>
                      <a:cubicBezTo>
                        <a:pt x="21595" y="11054"/>
                        <a:pt x="21539" y="11380"/>
                        <a:pt x="21421" y="11679"/>
                      </a:cubicBezTo>
                      <a:lnTo>
                        <a:pt x="16714" y="20696"/>
                      </a:lnTo>
                      <a:cubicBezTo>
                        <a:pt x="16583" y="20955"/>
                        <a:pt x="16395" y="21172"/>
                        <a:pt x="16168" y="21326"/>
                      </a:cubicBezTo>
                      <a:cubicBezTo>
                        <a:pt x="15911" y="21501"/>
                        <a:pt x="15615" y="21590"/>
                        <a:pt x="15314" y="21581"/>
                      </a:cubicBezTo>
                      <a:lnTo>
                        <a:pt x="6187" y="21581"/>
                      </a:lnTo>
                      <a:cubicBezTo>
                        <a:pt x="5913" y="21546"/>
                        <a:pt x="5649" y="21453"/>
                        <a:pt x="5406" y="21307"/>
                      </a:cubicBezTo>
                      <a:cubicBezTo>
                        <a:pt x="5122" y="21136"/>
                        <a:pt x="4876" y="20895"/>
                        <a:pt x="4684" y="20604"/>
                      </a:cubicBezTo>
                      <a:lnTo>
                        <a:pt x="221" y="11824"/>
                      </a:lnTo>
                      <a:cubicBezTo>
                        <a:pt x="81" y="11513"/>
                        <a:pt x="6" y="11170"/>
                        <a:pt x="1" y="10821"/>
                      </a:cubicBezTo>
                      <a:cubicBezTo>
                        <a:pt x="-5" y="10470"/>
                        <a:pt x="60" y="10123"/>
                        <a:pt x="192" y="9805"/>
                      </a:cubicBezTo>
                      <a:lnTo>
                        <a:pt x="4719" y="1008"/>
                      </a:lnTo>
                      <a:cubicBezTo>
                        <a:pt x="4864" y="721"/>
                        <a:pt x="5071" y="478"/>
                        <a:pt x="5321" y="302"/>
                      </a:cubicBezTo>
                      <a:cubicBezTo>
                        <a:pt x="5572" y="125"/>
                        <a:pt x="5859" y="21"/>
                        <a:pt x="6154" y="1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>
                    <a:defRPr sz="3200" b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  <a:sym typeface="Helvetica Neue Medium"/>
                    </a:defRPr>
                  </a:pPr>
                  <a:endParaRPr/>
                </a:p>
              </p:txBody>
            </p:sp>
            <p:sp>
              <p:nvSpPr>
                <p:cNvPr id="99" name="Shape"/>
                <p:cNvSpPr/>
                <p:nvPr/>
              </p:nvSpPr>
              <p:spPr>
                <a:xfrm>
                  <a:off x="11872509" y="5273756"/>
                  <a:ext cx="8625565" cy="294581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594" h="21582" extrusionOk="0">
                      <a:moveTo>
                        <a:pt x="2366" y="1"/>
                      </a:moveTo>
                      <a:lnTo>
                        <a:pt x="19193" y="1"/>
                      </a:lnTo>
                      <a:cubicBezTo>
                        <a:pt x="19302" y="-10"/>
                        <a:pt x="19410" y="68"/>
                        <a:pt x="19505" y="226"/>
                      </a:cubicBezTo>
                      <a:cubicBezTo>
                        <a:pt x="19587" y="361"/>
                        <a:pt x="19657" y="553"/>
                        <a:pt x="19709" y="783"/>
                      </a:cubicBezTo>
                      <a:lnTo>
                        <a:pt x="21500" y="9760"/>
                      </a:lnTo>
                      <a:cubicBezTo>
                        <a:pt x="21557" y="10056"/>
                        <a:pt x="21589" y="10387"/>
                        <a:pt x="21594" y="10727"/>
                      </a:cubicBezTo>
                      <a:cubicBezTo>
                        <a:pt x="21598" y="11054"/>
                        <a:pt x="21577" y="11380"/>
                        <a:pt x="21531" y="11679"/>
                      </a:cubicBezTo>
                      <a:lnTo>
                        <a:pt x="19722" y="20696"/>
                      </a:lnTo>
                      <a:cubicBezTo>
                        <a:pt x="19671" y="20955"/>
                        <a:pt x="19599" y="21172"/>
                        <a:pt x="19512" y="21326"/>
                      </a:cubicBezTo>
                      <a:cubicBezTo>
                        <a:pt x="19413" y="21501"/>
                        <a:pt x="19299" y="21590"/>
                        <a:pt x="19183" y="21581"/>
                      </a:cubicBezTo>
                      <a:lnTo>
                        <a:pt x="2378" y="21581"/>
                      </a:lnTo>
                      <a:cubicBezTo>
                        <a:pt x="2273" y="21546"/>
                        <a:pt x="2172" y="21453"/>
                        <a:pt x="2078" y="21307"/>
                      </a:cubicBezTo>
                      <a:cubicBezTo>
                        <a:pt x="1969" y="21136"/>
                        <a:pt x="1875" y="20895"/>
                        <a:pt x="1801" y="20604"/>
                      </a:cubicBezTo>
                      <a:lnTo>
                        <a:pt x="85" y="11824"/>
                      </a:lnTo>
                      <a:cubicBezTo>
                        <a:pt x="31" y="11513"/>
                        <a:pt x="2" y="11170"/>
                        <a:pt x="0" y="10821"/>
                      </a:cubicBezTo>
                      <a:cubicBezTo>
                        <a:pt x="-2" y="10470"/>
                        <a:pt x="23" y="10123"/>
                        <a:pt x="74" y="9805"/>
                      </a:cubicBezTo>
                      <a:lnTo>
                        <a:pt x="1814" y="1008"/>
                      </a:lnTo>
                      <a:cubicBezTo>
                        <a:pt x="1870" y="721"/>
                        <a:pt x="1950" y="478"/>
                        <a:pt x="2046" y="302"/>
                      </a:cubicBezTo>
                      <a:cubicBezTo>
                        <a:pt x="2142" y="125"/>
                        <a:pt x="2252" y="21"/>
                        <a:pt x="2366" y="1"/>
                      </a:cubicBezTo>
                      <a:close/>
                    </a:path>
                  </a:pathLst>
                </a:custGeom>
                <a:ln w="50800">
                  <a:solidFill>
                    <a:schemeClr val="accent2"/>
                  </a:solidFill>
                  <a:miter lim="400000"/>
                </a:ln>
              </p:spPr>
              <p:txBody>
                <a:bodyPr lIns="0" tIns="0" rIns="0" bIns="0" anchor="ctr"/>
                <a:lstStyle/>
                <a:p>
                  <a:pPr>
                    <a:defRPr sz="3200" b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  <a:sym typeface="Helvetica Neue Medium"/>
                    </a:defRPr>
                  </a:pPr>
                  <a:endParaRPr/>
                </a:p>
              </p:txBody>
            </p:sp>
            <p:sp>
              <p:nvSpPr>
                <p:cNvPr id="100" name="Shape"/>
                <p:cNvSpPr/>
                <p:nvPr/>
              </p:nvSpPr>
              <p:spPr>
                <a:xfrm>
                  <a:off x="12079310" y="5457537"/>
                  <a:ext cx="2901192" cy="257825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585" h="21582" extrusionOk="0">
                      <a:moveTo>
                        <a:pt x="6154" y="1"/>
                      </a:moveTo>
                      <a:lnTo>
                        <a:pt x="15339" y="1"/>
                      </a:lnTo>
                      <a:cubicBezTo>
                        <a:pt x="15623" y="-10"/>
                        <a:pt x="15905" y="68"/>
                        <a:pt x="16152" y="226"/>
                      </a:cubicBezTo>
                      <a:cubicBezTo>
                        <a:pt x="16366" y="361"/>
                        <a:pt x="16547" y="553"/>
                        <a:pt x="16682" y="783"/>
                      </a:cubicBezTo>
                      <a:lnTo>
                        <a:pt x="21341" y="9760"/>
                      </a:lnTo>
                      <a:cubicBezTo>
                        <a:pt x="21489" y="10056"/>
                        <a:pt x="21572" y="10387"/>
                        <a:pt x="21584" y="10727"/>
                      </a:cubicBezTo>
                      <a:cubicBezTo>
                        <a:pt x="21595" y="11054"/>
                        <a:pt x="21539" y="11380"/>
                        <a:pt x="21421" y="11679"/>
                      </a:cubicBezTo>
                      <a:lnTo>
                        <a:pt x="16714" y="20696"/>
                      </a:lnTo>
                      <a:cubicBezTo>
                        <a:pt x="16583" y="20955"/>
                        <a:pt x="16395" y="21172"/>
                        <a:pt x="16168" y="21326"/>
                      </a:cubicBezTo>
                      <a:cubicBezTo>
                        <a:pt x="15911" y="21501"/>
                        <a:pt x="15615" y="21590"/>
                        <a:pt x="15314" y="21581"/>
                      </a:cubicBezTo>
                      <a:lnTo>
                        <a:pt x="6187" y="21581"/>
                      </a:lnTo>
                      <a:cubicBezTo>
                        <a:pt x="5913" y="21546"/>
                        <a:pt x="5649" y="21453"/>
                        <a:pt x="5406" y="21307"/>
                      </a:cubicBezTo>
                      <a:cubicBezTo>
                        <a:pt x="5122" y="21136"/>
                        <a:pt x="4876" y="20895"/>
                        <a:pt x="4684" y="20604"/>
                      </a:cubicBezTo>
                      <a:lnTo>
                        <a:pt x="221" y="11824"/>
                      </a:lnTo>
                      <a:cubicBezTo>
                        <a:pt x="81" y="11513"/>
                        <a:pt x="6" y="11170"/>
                        <a:pt x="1" y="10821"/>
                      </a:cubicBezTo>
                      <a:cubicBezTo>
                        <a:pt x="-5" y="10470"/>
                        <a:pt x="60" y="10123"/>
                        <a:pt x="192" y="9805"/>
                      </a:cubicBezTo>
                      <a:lnTo>
                        <a:pt x="4719" y="1008"/>
                      </a:lnTo>
                      <a:cubicBezTo>
                        <a:pt x="4864" y="721"/>
                        <a:pt x="5071" y="478"/>
                        <a:pt x="5321" y="302"/>
                      </a:cubicBezTo>
                      <a:cubicBezTo>
                        <a:pt x="5572" y="125"/>
                        <a:pt x="5859" y="21"/>
                        <a:pt x="6154" y="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>
                    <a:defRPr sz="3200" b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  <a:sym typeface="Helvetica Neue Medium"/>
                    </a:defRPr>
                  </a:pPr>
                  <a:endParaRPr/>
                </a:p>
              </p:txBody>
            </p:sp>
            <p:sp>
              <p:nvSpPr>
                <p:cNvPr id="101" name="Shape"/>
                <p:cNvSpPr/>
                <p:nvPr/>
              </p:nvSpPr>
              <p:spPr>
                <a:xfrm>
                  <a:off x="3885926" y="6969117"/>
                  <a:ext cx="8625565" cy="294581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594" h="21582" extrusionOk="0">
                      <a:moveTo>
                        <a:pt x="2366" y="1"/>
                      </a:moveTo>
                      <a:lnTo>
                        <a:pt x="19193" y="1"/>
                      </a:lnTo>
                      <a:cubicBezTo>
                        <a:pt x="19302" y="-10"/>
                        <a:pt x="19410" y="68"/>
                        <a:pt x="19505" y="226"/>
                      </a:cubicBezTo>
                      <a:cubicBezTo>
                        <a:pt x="19587" y="361"/>
                        <a:pt x="19657" y="553"/>
                        <a:pt x="19709" y="783"/>
                      </a:cubicBezTo>
                      <a:lnTo>
                        <a:pt x="21500" y="9760"/>
                      </a:lnTo>
                      <a:cubicBezTo>
                        <a:pt x="21557" y="10056"/>
                        <a:pt x="21589" y="10387"/>
                        <a:pt x="21594" y="10727"/>
                      </a:cubicBezTo>
                      <a:cubicBezTo>
                        <a:pt x="21598" y="11054"/>
                        <a:pt x="21577" y="11380"/>
                        <a:pt x="21531" y="11679"/>
                      </a:cubicBezTo>
                      <a:lnTo>
                        <a:pt x="19722" y="20696"/>
                      </a:lnTo>
                      <a:cubicBezTo>
                        <a:pt x="19671" y="20955"/>
                        <a:pt x="19599" y="21172"/>
                        <a:pt x="19512" y="21326"/>
                      </a:cubicBezTo>
                      <a:cubicBezTo>
                        <a:pt x="19413" y="21501"/>
                        <a:pt x="19299" y="21590"/>
                        <a:pt x="19183" y="21581"/>
                      </a:cubicBezTo>
                      <a:lnTo>
                        <a:pt x="2378" y="21581"/>
                      </a:lnTo>
                      <a:cubicBezTo>
                        <a:pt x="2273" y="21546"/>
                        <a:pt x="2172" y="21453"/>
                        <a:pt x="2078" y="21307"/>
                      </a:cubicBezTo>
                      <a:cubicBezTo>
                        <a:pt x="1969" y="21136"/>
                        <a:pt x="1875" y="20895"/>
                        <a:pt x="1801" y="20604"/>
                      </a:cubicBezTo>
                      <a:lnTo>
                        <a:pt x="85" y="11824"/>
                      </a:lnTo>
                      <a:cubicBezTo>
                        <a:pt x="31" y="11513"/>
                        <a:pt x="2" y="11170"/>
                        <a:pt x="0" y="10821"/>
                      </a:cubicBezTo>
                      <a:cubicBezTo>
                        <a:pt x="-2" y="10470"/>
                        <a:pt x="23" y="10123"/>
                        <a:pt x="74" y="9805"/>
                      </a:cubicBezTo>
                      <a:lnTo>
                        <a:pt x="1814" y="1008"/>
                      </a:lnTo>
                      <a:cubicBezTo>
                        <a:pt x="1870" y="721"/>
                        <a:pt x="1950" y="478"/>
                        <a:pt x="2046" y="302"/>
                      </a:cubicBezTo>
                      <a:cubicBezTo>
                        <a:pt x="2142" y="125"/>
                        <a:pt x="2252" y="21"/>
                        <a:pt x="2366" y="1"/>
                      </a:cubicBezTo>
                      <a:close/>
                    </a:path>
                  </a:pathLst>
                </a:custGeom>
                <a:ln w="50800">
                  <a:solidFill>
                    <a:schemeClr val="accent3"/>
                  </a:solidFill>
                  <a:miter lim="400000"/>
                </a:ln>
              </p:spPr>
              <p:txBody>
                <a:bodyPr lIns="0" tIns="0" rIns="0" bIns="0" anchor="ctr"/>
                <a:lstStyle/>
                <a:p>
                  <a:pPr>
                    <a:defRPr sz="3200" b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  <a:sym typeface="Helvetica Neue Medium"/>
                    </a:defRPr>
                  </a:pPr>
                  <a:endParaRPr/>
                </a:p>
              </p:txBody>
            </p:sp>
            <p:sp>
              <p:nvSpPr>
                <p:cNvPr id="102" name="Shape"/>
                <p:cNvSpPr/>
                <p:nvPr/>
              </p:nvSpPr>
              <p:spPr>
                <a:xfrm>
                  <a:off x="4092727" y="7152899"/>
                  <a:ext cx="2901192" cy="257825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585" h="21582" extrusionOk="0">
                      <a:moveTo>
                        <a:pt x="6154" y="1"/>
                      </a:moveTo>
                      <a:lnTo>
                        <a:pt x="15339" y="1"/>
                      </a:lnTo>
                      <a:cubicBezTo>
                        <a:pt x="15623" y="-10"/>
                        <a:pt x="15905" y="68"/>
                        <a:pt x="16152" y="226"/>
                      </a:cubicBezTo>
                      <a:cubicBezTo>
                        <a:pt x="16366" y="361"/>
                        <a:pt x="16547" y="553"/>
                        <a:pt x="16682" y="783"/>
                      </a:cubicBezTo>
                      <a:lnTo>
                        <a:pt x="21341" y="9760"/>
                      </a:lnTo>
                      <a:cubicBezTo>
                        <a:pt x="21489" y="10056"/>
                        <a:pt x="21572" y="10387"/>
                        <a:pt x="21584" y="10727"/>
                      </a:cubicBezTo>
                      <a:cubicBezTo>
                        <a:pt x="21595" y="11054"/>
                        <a:pt x="21539" y="11380"/>
                        <a:pt x="21421" y="11679"/>
                      </a:cubicBezTo>
                      <a:lnTo>
                        <a:pt x="16714" y="20696"/>
                      </a:lnTo>
                      <a:cubicBezTo>
                        <a:pt x="16583" y="20955"/>
                        <a:pt x="16395" y="21172"/>
                        <a:pt x="16168" y="21326"/>
                      </a:cubicBezTo>
                      <a:cubicBezTo>
                        <a:pt x="15911" y="21501"/>
                        <a:pt x="15615" y="21590"/>
                        <a:pt x="15314" y="21581"/>
                      </a:cubicBezTo>
                      <a:lnTo>
                        <a:pt x="6187" y="21581"/>
                      </a:lnTo>
                      <a:cubicBezTo>
                        <a:pt x="5913" y="21546"/>
                        <a:pt x="5649" y="21453"/>
                        <a:pt x="5406" y="21307"/>
                      </a:cubicBezTo>
                      <a:cubicBezTo>
                        <a:pt x="5122" y="21136"/>
                        <a:pt x="4876" y="20895"/>
                        <a:pt x="4684" y="20604"/>
                      </a:cubicBezTo>
                      <a:lnTo>
                        <a:pt x="221" y="11824"/>
                      </a:lnTo>
                      <a:cubicBezTo>
                        <a:pt x="81" y="11513"/>
                        <a:pt x="6" y="11170"/>
                        <a:pt x="1" y="10821"/>
                      </a:cubicBezTo>
                      <a:cubicBezTo>
                        <a:pt x="-5" y="10470"/>
                        <a:pt x="60" y="10123"/>
                        <a:pt x="192" y="9805"/>
                      </a:cubicBezTo>
                      <a:lnTo>
                        <a:pt x="4719" y="1008"/>
                      </a:lnTo>
                      <a:cubicBezTo>
                        <a:pt x="4864" y="721"/>
                        <a:pt x="5071" y="478"/>
                        <a:pt x="5321" y="302"/>
                      </a:cubicBezTo>
                      <a:cubicBezTo>
                        <a:pt x="5572" y="125"/>
                        <a:pt x="5859" y="21"/>
                        <a:pt x="6154" y="1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>
                    <a:defRPr sz="3200" b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  <a:sym typeface="Helvetica Neue Medium"/>
                    </a:defRPr>
                  </a:pPr>
                  <a:endParaRPr/>
                </a:p>
              </p:txBody>
            </p:sp>
            <p:sp>
              <p:nvSpPr>
                <p:cNvPr id="103" name="Shape"/>
                <p:cNvSpPr/>
                <p:nvPr/>
              </p:nvSpPr>
              <p:spPr>
                <a:xfrm>
                  <a:off x="11872509" y="8664478"/>
                  <a:ext cx="8625565" cy="294582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594" h="21582" extrusionOk="0">
                      <a:moveTo>
                        <a:pt x="2366" y="1"/>
                      </a:moveTo>
                      <a:lnTo>
                        <a:pt x="19193" y="1"/>
                      </a:lnTo>
                      <a:cubicBezTo>
                        <a:pt x="19302" y="-10"/>
                        <a:pt x="19410" y="68"/>
                        <a:pt x="19505" y="226"/>
                      </a:cubicBezTo>
                      <a:cubicBezTo>
                        <a:pt x="19587" y="361"/>
                        <a:pt x="19657" y="553"/>
                        <a:pt x="19709" y="783"/>
                      </a:cubicBezTo>
                      <a:lnTo>
                        <a:pt x="21500" y="9760"/>
                      </a:lnTo>
                      <a:cubicBezTo>
                        <a:pt x="21557" y="10056"/>
                        <a:pt x="21589" y="10387"/>
                        <a:pt x="21594" y="10727"/>
                      </a:cubicBezTo>
                      <a:cubicBezTo>
                        <a:pt x="21598" y="11054"/>
                        <a:pt x="21577" y="11380"/>
                        <a:pt x="21531" y="11679"/>
                      </a:cubicBezTo>
                      <a:lnTo>
                        <a:pt x="19722" y="20696"/>
                      </a:lnTo>
                      <a:cubicBezTo>
                        <a:pt x="19671" y="20955"/>
                        <a:pt x="19599" y="21172"/>
                        <a:pt x="19512" y="21326"/>
                      </a:cubicBezTo>
                      <a:cubicBezTo>
                        <a:pt x="19413" y="21501"/>
                        <a:pt x="19299" y="21590"/>
                        <a:pt x="19183" y="21581"/>
                      </a:cubicBezTo>
                      <a:lnTo>
                        <a:pt x="2378" y="21581"/>
                      </a:lnTo>
                      <a:cubicBezTo>
                        <a:pt x="2273" y="21546"/>
                        <a:pt x="2172" y="21453"/>
                        <a:pt x="2078" y="21307"/>
                      </a:cubicBezTo>
                      <a:cubicBezTo>
                        <a:pt x="1969" y="21136"/>
                        <a:pt x="1875" y="20895"/>
                        <a:pt x="1801" y="20604"/>
                      </a:cubicBezTo>
                      <a:lnTo>
                        <a:pt x="85" y="11824"/>
                      </a:lnTo>
                      <a:cubicBezTo>
                        <a:pt x="31" y="11513"/>
                        <a:pt x="2" y="11170"/>
                        <a:pt x="0" y="10821"/>
                      </a:cubicBezTo>
                      <a:cubicBezTo>
                        <a:pt x="-2" y="10470"/>
                        <a:pt x="23" y="10123"/>
                        <a:pt x="74" y="9805"/>
                      </a:cubicBezTo>
                      <a:lnTo>
                        <a:pt x="1814" y="1008"/>
                      </a:lnTo>
                      <a:cubicBezTo>
                        <a:pt x="1870" y="721"/>
                        <a:pt x="1950" y="478"/>
                        <a:pt x="2046" y="302"/>
                      </a:cubicBezTo>
                      <a:cubicBezTo>
                        <a:pt x="2142" y="125"/>
                        <a:pt x="2252" y="21"/>
                        <a:pt x="2366" y="1"/>
                      </a:cubicBezTo>
                      <a:close/>
                    </a:path>
                  </a:pathLst>
                </a:custGeom>
                <a:ln w="50800">
                  <a:solidFill>
                    <a:schemeClr val="accent4"/>
                  </a:solidFill>
                  <a:miter lim="400000"/>
                </a:ln>
              </p:spPr>
              <p:txBody>
                <a:bodyPr lIns="0" tIns="0" rIns="0" bIns="0" anchor="ctr"/>
                <a:lstStyle/>
                <a:p>
                  <a:pPr>
                    <a:defRPr sz="3200" b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  <a:sym typeface="Helvetica Neue Medium"/>
                    </a:defRPr>
                  </a:pPr>
                  <a:endParaRPr/>
                </a:p>
              </p:txBody>
            </p:sp>
            <p:sp>
              <p:nvSpPr>
                <p:cNvPr id="104" name="Shape"/>
                <p:cNvSpPr/>
                <p:nvPr/>
              </p:nvSpPr>
              <p:spPr>
                <a:xfrm>
                  <a:off x="12079310" y="8848260"/>
                  <a:ext cx="2901192" cy="257825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585" h="21582" extrusionOk="0">
                      <a:moveTo>
                        <a:pt x="6154" y="1"/>
                      </a:moveTo>
                      <a:lnTo>
                        <a:pt x="15339" y="1"/>
                      </a:lnTo>
                      <a:cubicBezTo>
                        <a:pt x="15623" y="-10"/>
                        <a:pt x="15905" y="68"/>
                        <a:pt x="16152" y="226"/>
                      </a:cubicBezTo>
                      <a:cubicBezTo>
                        <a:pt x="16366" y="361"/>
                        <a:pt x="16547" y="553"/>
                        <a:pt x="16682" y="783"/>
                      </a:cubicBezTo>
                      <a:lnTo>
                        <a:pt x="21341" y="9760"/>
                      </a:lnTo>
                      <a:cubicBezTo>
                        <a:pt x="21489" y="10056"/>
                        <a:pt x="21572" y="10387"/>
                        <a:pt x="21584" y="10727"/>
                      </a:cubicBezTo>
                      <a:cubicBezTo>
                        <a:pt x="21595" y="11054"/>
                        <a:pt x="21539" y="11380"/>
                        <a:pt x="21421" y="11679"/>
                      </a:cubicBezTo>
                      <a:lnTo>
                        <a:pt x="16714" y="20696"/>
                      </a:lnTo>
                      <a:cubicBezTo>
                        <a:pt x="16583" y="20955"/>
                        <a:pt x="16395" y="21172"/>
                        <a:pt x="16168" y="21326"/>
                      </a:cubicBezTo>
                      <a:cubicBezTo>
                        <a:pt x="15911" y="21501"/>
                        <a:pt x="15615" y="21590"/>
                        <a:pt x="15314" y="21581"/>
                      </a:cubicBezTo>
                      <a:lnTo>
                        <a:pt x="6187" y="21581"/>
                      </a:lnTo>
                      <a:cubicBezTo>
                        <a:pt x="5913" y="21546"/>
                        <a:pt x="5649" y="21453"/>
                        <a:pt x="5406" y="21307"/>
                      </a:cubicBezTo>
                      <a:cubicBezTo>
                        <a:pt x="5122" y="21136"/>
                        <a:pt x="4876" y="20895"/>
                        <a:pt x="4684" y="20604"/>
                      </a:cubicBezTo>
                      <a:lnTo>
                        <a:pt x="221" y="11824"/>
                      </a:lnTo>
                      <a:cubicBezTo>
                        <a:pt x="81" y="11513"/>
                        <a:pt x="6" y="11170"/>
                        <a:pt x="1" y="10821"/>
                      </a:cubicBezTo>
                      <a:cubicBezTo>
                        <a:pt x="-5" y="10470"/>
                        <a:pt x="60" y="10123"/>
                        <a:pt x="192" y="9805"/>
                      </a:cubicBezTo>
                      <a:lnTo>
                        <a:pt x="4719" y="1008"/>
                      </a:lnTo>
                      <a:cubicBezTo>
                        <a:pt x="4864" y="721"/>
                        <a:pt x="5071" y="478"/>
                        <a:pt x="5321" y="302"/>
                      </a:cubicBezTo>
                      <a:cubicBezTo>
                        <a:pt x="5572" y="125"/>
                        <a:pt x="5859" y="21"/>
                        <a:pt x="6154" y="1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>
                    <a:defRPr sz="3200" b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  <a:sym typeface="Helvetica Neue Medium"/>
                    </a:defRPr>
                  </a:pPr>
                  <a:endParaRPr/>
                </a:p>
              </p:txBody>
            </p:sp>
            <p:sp>
              <p:nvSpPr>
                <p:cNvPr id="105" name="Placeholder text"/>
                <p:cNvSpPr/>
                <p:nvPr/>
              </p:nvSpPr>
              <p:spPr>
                <a:xfrm>
                  <a:off x="6957063" y="7668792"/>
                  <a:ext cx="5183630" cy="154647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extrusionOk="0">
                      <a:moveTo>
                        <a:pt x="0" y="0"/>
                      </a:moveTo>
                      <a:lnTo>
                        <a:pt x="21600" y="0"/>
                      </a:lnTo>
                      <a:lnTo>
                        <a:pt x="2160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  </a:ext>
                </a:extLst>
              </p:spPr>
              <p:txBody>
                <a:bodyPr wrap="square" lIns="50800" tIns="50800" rIns="50800" bIns="50800" numCol="1" anchor="t">
                  <a:spAutoFit/>
                </a:bodyPr>
                <a:lstStyle>
                  <a:lvl1pPr algn="l">
                    <a:defRPr sz="2800" b="0">
                      <a:solidFill>
                        <a:srgbClr val="2D3640"/>
                      </a:solidFill>
                      <a:latin typeface="Barlow SemiBold"/>
                      <a:ea typeface="Barlow SemiBold"/>
                      <a:cs typeface="Barlow SemiBold"/>
                      <a:sym typeface="Barlow SemiBold"/>
                    </a:defRPr>
                  </a:lvl1pPr>
                </a:lstStyle>
                <a:p>
                  <a:r>
                    <a:rPr lang="en-US" sz="1300" dirty="0" smtClean="0">
                      <a:latin typeface="+mn-lt"/>
                    </a:rPr>
                    <a:t>Support </a:t>
                  </a:r>
                  <a:r>
                    <a:rPr lang="en-US" sz="1300" dirty="0">
                      <a:latin typeface="+mn-lt"/>
                    </a:rPr>
                    <a:t>structural and institutional reforms</a:t>
                  </a:r>
                  <a:endParaRPr sz="1300" dirty="0">
                    <a:latin typeface="+mn-lt"/>
                  </a:endParaRPr>
                </a:p>
              </p:txBody>
            </p:sp>
          </p:grpSp>
          <p:sp>
            <p:nvSpPr>
              <p:cNvPr id="94" name="Placeholder text"/>
              <p:cNvSpPr/>
              <p:nvPr/>
            </p:nvSpPr>
            <p:spPr>
              <a:xfrm>
                <a:off x="1460951" y="2253888"/>
                <a:ext cx="1605416" cy="70275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extrusionOk="0">
                    <a:moveTo>
                      <a:pt x="0" y="0"/>
                    </a:moveTo>
                    <a:lnTo>
                      <a:pt x="21600" y="0"/>
                    </a:lnTo>
                    <a:lnTo>
                      <a:pt x="21600" y="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50800" tIns="50800" rIns="50800" bIns="50800" numCol="1" anchor="t">
                <a:spAutoFit/>
              </a:bodyPr>
              <a:lstStyle>
                <a:lvl1pPr algn="l">
                  <a:defRPr sz="2800" b="0">
                    <a:solidFill>
                      <a:srgbClr val="2D3640"/>
                    </a:solidFill>
                    <a:latin typeface="Barlow SemiBold"/>
                    <a:ea typeface="Barlow SemiBold"/>
                    <a:cs typeface="Barlow SemiBold"/>
                    <a:sym typeface="Barlow SemiBold"/>
                  </a:defRPr>
                </a:lvl1pPr>
              </a:lstStyle>
              <a:p>
                <a:r>
                  <a:rPr lang="en-US" sz="1300" dirty="0" smtClean="0">
                    <a:latin typeface="+mn-lt"/>
                  </a:rPr>
                  <a:t>Promote </a:t>
                </a:r>
                <a:r>
                  <a:rPr lang="en-US" sz="1300" dirty="0">
                    <a:latin typeface="+mn-lt"/>
                  </a:rPr>
                  <a:t>macroeconomic and financial stability</a:t>
                </a:r>
                <a:endParaRPr sz="1300" dirty="0">
                  <a:latin typeface="+mn-lt"/>
                </a:endParaRPr>
              </a:p>
            </p:txBody>
          </p:sp>
          <p:sp>
            <p:nvSpPr>
              <p:cNvPr id="95" name="Placeholder text"/>
              <p:cNvSpPr/>
              <p:nvPr/>
            </p:nvSpPr>
            <p:spPr>
              <a:xfrm>
                <a:off x="4058773" y="2894603"/>
                <a:ext cx="1685008" cy="50270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extrusionOk="0">
                    <a:moveTo>
                      <a:pt x="0" y="0"/>
                    </a:moveTo>
                    <a:lnTo>
                      <a:pt x="21600" y="0"/>
                    </a:lnTo>
                    <a:lnTo>
                      <a:pt x="21600" y="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50800" tIns="50800" rIns="50800" bIns="50800" numCol="1" anchor="t">
                <a:spAutoFit/>
              </a:bodyPr>
              <a:lstStyle>
                <a:lvl1pPr algn="l">
                  <a:defRPr sz="2800" b="0">
                    <a:solidFill>
                      <a:srgbClr val="2D3640"/>
                    </a:solidFill>
                    <a:latin typeface="Barlow SemiBold"/>
                    <a:ea typeface="Barlow SemiBold"/>
                    <a:cs typeface="Barlow SemiBold"/>
                    <a:sym typeface="Barlow SemiBold"/>
                  </a:defRPr>
                </a:lvl1pPr>
              </a:lstStyle>
              <a:p>
                <a:r>
                  <a:rPr lang="en-US" sz="1300" dirty="0" smtClean="0">
                    <a:latin typeface="+mn-lt"/>
                  </a:rPr>
                  <a:t>Assist </a:t>
                </a:r>
                <a:r>
                  <a:rPr lang="en-US" sz="1300" dirty="0">
                    <a:latin typeface="+mn-lt"/>
                  </a:rPr>
                  <a:t>in rehabilitating physical infrastructure</a:t>
                </a:r>
                <a:endParaRPr sz="1300" dirty="0">
                  <a:latin typeface="+mn-lt"/>
                </a:endParaRPr>
              </a:p>
            </p:txBody>
          </p:sp>
          <p:sp>
            <p:nvSpPr>
              <p:cNvPr id="96" name="Placeholder text"/>
              <p:cNvSpPr/>
              <p:nvPr/>
            </p:nvSpPr>
            <p:spPr>
              <a:xfrm>
                <a:off x="4058773" y="3888922"/>
                <a:ext cx="1685008" cy="70275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extrusionOk="0">
                    <a:moveTo>
                      <a:pt x="0" y="0"/>
                    </a:moveTo>
                    <a:lnTo>
                      <a:pt x="21600" y="0"/>
                    </a:lnTo>
                    <a:lnTo>
                      <a:pt x="21600" y="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50800" tIns="50800" rIns="50800" bIns="50800" numCol="1" anchor="t">
                <a:spAutoFit/>
              </a:bodyPr>
              <a:lstStyle>
                <a:lvl1pPr algn="l">
                  <a:defRPr sz="2800" b="0">
                    <a:solidFill>
                      <a:srgbClr val="2D3640"/>
                    </a:solidFill>
                    <a:latin typeface="Barlow SemiBold"/>
                    <a:ea typeface="Barlow SemiBold"/>
                    <a:cs typeface="Barlow SemiBold"/>
                    <a:sym typeface="Barlow SemiBold"/>
                  </a:defRPr>
                </a:lvl1pPr>
              </a:lstStyle>
              <a:p>
                <a:r>
                  <a:rPr lang="en-US" sz="1300" dirty="0" smtClean="0">
                    <a:latin typeface="+mn-lt"/>
                  </a:rPr>
                  <a:t>Promote </a:t>
                </a:r>
                <a:r>
                  <a:rPr lang="en-US" sz="1300" dirty="0">
                    <a:latin typeface="+mn-lt"/>
                  </a:rPr>
                  <a:t>the development of </a:t>
                </a:r>
                <a:endParaRPr lang="en-US" sz="1300" dirty="0" smtClean="0">
                  <a:latin typeface="+mn-lt"/>
                </a:endParaRPr>
              </a:p>
              <a:p>
                <a:r>
                  <a:rPr lang="en-US" sz="1300" dirty="0" smtClean="0">
                    <a:latin typeface="+mn-lt"/>
                  </a:rPr>
                  <a:t>social </a:t>
                </a:r>
                <a:r>
                  <a:rPr lang="en-US" sz="1300" dirty="0">
                    <a:latin typeface="+mn-lt"/>
                  </a:rPr>
                  <a:t>sectors</a:t>
                </a:r>
                <a:endParaRPr sz="1300" dirty="0">
                  <a:latin typeface="+mn-lt"/>
                </a:endParaRPr>
              </a:p>
            </p:txBody>
          </p:sp>
        </p:grpSp>
        <p:grpSp>
          <p:nvGrpSpPr>
            <p:cNvPr id="15" name="Группа 14"/>
            <p:cNvGrpSpPr/>
            <p:nvPr/>
          </p:nvGrpSpPr>
          <p:grpSpPr>
            <a:xfrm>
              <a:off x="687518" y="2569753"/>
              <a:ext cx="3159835" cy="1992916"/>
              <a:chOff x="687518" y="2569753"/>
              <a:chExt cx="3159835" cy="1992916"/>
            </a:xfrm>
          </p:grpSpPr>
          <p:grpSp>
            <p:nvGrpSpPr>
              <p:cNvPr id="16" name="Group 1026"/>
              <p:cNvGrpSpPr/>
              <p:nvPr/>
            </p:nvGrpSpPr>
            <p:grpSpPr>
              <a:xfrm>
                <a:off x="687518" y="2569753"/>
                <a:ext cx="536575" cy="460375"/>
                <a:chOff x="9074150" y="3505201"/>
                <a:chExt cx="536575" cy="460375"/>
              </a:xfrm>
              <a:solidFill>
                <a:schemeClr val="bg1"/>
              </a:solidFill>
            </p:grpSpPr>
            <p:sp>
              <p:nvSpPr>
                <p:cNvPr id="80" name="Freeform 441"/>
                <p:cNvSpPr>
                  <a:spLocks noEditPoints="1"/>
                </p:cNvSpPr>
                <p:nvPr/>
              </p:nvSpPr>
              <p:spPr bwMode="auto">
                <a:xfrm>
                  <a:off x="9074150" y="3505201"/>
                  <a:ext cx="536575" cy="460375"/>
                </a:xfrm>
                <a:custGeom>
                  <a:avLst/>
                  <a:gdLst>
                    <a:gd name="T0" fmla="*/ 2817 w 3380"/>
                    <a:gd name="T1" fmla="*/ 2791 h 2904"/>
                    <a:gd name="T2" fmla="*/ 3155 w 3380"/>
                    <a:gd name="T3" fmla="*/ 2680 h 2904"/>
                    <a:gd name="T4" fmla="*/ 225 w 3380"/>
                    <a:gd name="T5" fmla="*/ 2680 h 2904"/>
                    <a:gd name="T6" fmla="*/ 563 w 3380"/>
                    <a:gd name="T7" fmla="*/ 2791 h 2904"/>
                    <a:gd name="T8" fmla="*/ 225 w 3380"/>
                    <a:gd name="T9" fmla="*/ 2680 h 2904"/>
                    <a:gd name="T10" fmla="*/ 2929 w 3380"/>
                    <a:gd name="T11" fmla="*/ 2122 h 2904"/>
                    <a:gd name="T12" fmla="*/ 3267 w 3380"/>
                    <a:gd name="T13" fmla="*/ 2010 h 2904"/>
                    <a:gd name="T14" fmla="*/ 3155 w 3380"/>
                    <a:gd name="T15" fmla="*/ 782 h 2904"/>
                    <a:gd name="T16" fmla="*/ 3267 w 3380"/>
                    <a:gd name="T17" fmla="*/ 1898 h 2904"/>
                    <a:gd name="T18" fmla="*/ 3155 w 3380"/>
                    <a:gd name="T19" fmla="*/ 782 h 2904"/>
                    <a:gd name="T20" fmla="*/ 2929 w 3380"/>
                    <a:gd name="T21" fmla="*/ 671 h 2904"/>
                    <a:gd name="T22" fmla="*/ 3267 w 3380"/>
                    <a:gd name="T23" fmla="*/ 559 h 2904"/>
                    <a:gd name="T24" fmla="*/ 338 w 3380"/>
                    <a:gd name="T25" fmla="*/ 335 h 2904"/>
                    <a:gd name="T26" fmla="*/ 3042 w 3380"/>
                    <a:gd name="T27" fmla="*/ 2346 h 2904"/>
                    <a:gd name="T28" fmla="*/ 2817 w 3380"/>
                    <a:gd name="T29" fmla="*/ 2233 h 2904"/>
                    <a:gd name="T30" fmla="*/ 3042 w 3380"/>
                    <a:gd name="T31" fmla="*/ 1898 h 2904"/>
                    <a:gd name="T32" fmla="*/ 2817 w 3380"/>
                    <a:gd name="T33" fmla="*/ 782 h 2904"/>
                    <a:gd name="T34" fmla="*/ 3042 w 3380"/>
                    <a:gd name="T35" fmla="*/ 447 h 2904"/>
                    <a:gd name="T36" fmla="*/ 338 w 3380"/>
                    <a:gd name="T37" fmla="*/ 335 h 2904"/>
                    <a:gd name="T38" fmla="*/ 113 w 3380"/>
                    <a:gd name="T39" fmla="*/ 2568 h 2904"/>
                    <a:gd name="T40" fmla="*/ 3267 w 3380"/>
                    <a:gd name="T41" fmla="*/ 2233 h 2904"/>
                    <a:gd name="T42" fmla="*/ 3155 w 3380"/>
                    <a:gd name="T43" fmla="*/ 2345 h 2904"/>
                    <a:gd name="T44" fmla="*/ 3143 w 3380"/>
                    <a:gd name="T45" fmla="*/ 2394 h 2904"/>
                    <a:gd name="T46" fmla="*/ 3113 w 3380"/>
                    <a:gd name="T47" fmla="*/ 2432 h 2904"/>
                    <a:gd name="T48" fmla="*/ 3068 w 3380"/>
                    <a:gd name="T49" fmla="*/ 2453 h 2904"/>
                    <a:gd name="T50" fmla="*/ 338 w 3380"/>
                    <a:gd name="T51" fmla="*/ 2456 h 2904"/>
                    <a:gd name="T52" fmla="*/ 289 w 3380"/>
                    <a:gd name="T53" fmla="*/ 2445 h 2904"/>
                    <a:gd name="T54" fmla="*/ 250 w 3380"/>
                    <a:gd name="T55" fmla="*/ 2415 h 2904"/>
                    <a:gd name="T56" fmla="*/ 228 w 3380"/>
                    <a:gd name="T57" fmla="*/ 2370 h 2904"/>
                    <a:gd name="T58" fmla="*/ 225 w 3380"/>
                    <a:gd name="T59" fmla="*/ 336 h 2904"/>
                    <a:gd name="T60" fmla="*/ 237 w 3380"/>
                    <a:gd name="T61" fmla="*/ 287 h 2904"/>
                    <a:gd name="T62" fmla="*/ 267 w 3380"/>
                    <a:gd name="T63" fmla="*/ 249 h 2904"/>
                    <a:gd name="T64" fmla="*/ 312 w 3380"/>
                    <a:gd name="T65" fmla="*/ 227 h 2904"/>
                    <a:gd name="T66" fmla="*/ 3042 w 3380"/>
                    <a:gd name="T67" fmla="*/ 224 h 2904"/>
                    <a:gd name="T68" fmla="*/ 3091 w 3380"/>
                    <a:gd name="T69" fmla="*/ 236 h 2904"/>
                    <a:gd name="T70" fmla="*/ 3130 w 3380"/>
                    <a:gd name="T71" fmla="*/ 266 h 2904"/>
                    <a:gd name="T72" fmla="*/ 3152 w 3380"/>
                    <a:gd name="T73" fmla="*/ 310 h 2904"/>
                    <a:gd name="T74" fmla="*/ 3155 w 3380"/>
                    <a:gd name="T75" fmla="*/ 447 h 2904"/>
                    <a:gd name="T76" fmla="*/ 3267 w 3380"/>
                    <a:gd name="T77" fmla="*/ 113 h 2904"/>
                    <a:gd name="T78" fmla="*/ 0 w 3380"/>
                    <a:gd name="T79" fmla="*/ 0 h 2904"/>
                    <a:gd name="T80" fmla="*/ 3380 w 3380"/>
                    <a:gd name="T81" fmla="*/ 2680 h 2904"/>
                    <a:gd name="T82" fmla="*/ 3267 w 3380"/>
                    <a:gd name="T83" fmla="*/ 2904 h 2904"/>
                    <a:gd name="T84" fmla="*/ 2704 w 3380"/>
                    <a:gd name="T85" fmla="*/ 2680 h 2904"/>
                    <a:gd name="T86" fmla="*/ 676 w 3380"/>
                    <a:gd name="T87" fmla="*/ 2904 h 2904"/>
                    <a:gd name="T88" fmla="*/ 113 w 3380"/>
                    <a:gd name="T89" fmla="*/ 2680 h 2904"/>
                    <a:gd name="T90" fmla="*/ 0 w 3380"/>
                    <a:gd name="T91" fmla="*/ 0 h 29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3380" h="2904">
                      <a:moveTo>
                        <a:pt x="2817" y="2680"/>
                      </a:moveTo>
                      <a:lnTo>
                        <a:pt x="2817" y="2791"/>
                      </a:lnTo>
                      <a:lnTo>
                        <a:pt x="3155" y="2791"/>
                      </a:lnTo>
                      <a:lnTo>
                        <a:pt x="3155" y="2680"/>
                      </a:lnTo>
                      <a:lnTo>
                        <a:pt x="2817" y="2680"/>
                      </a:lnTo>
                      <a:close/>
                      <a:moveTo>
                        <a:pt x="225" y="2680"/>
                      </a:moveTo>
                      <a:lnTo>
                        <a:pt x="225" y="2791"/>
                      </a:lnTo>
                      <a:lnTo>
                        <a:pt x="563" y="2791"/>
                      </a:lnTo>
                      <a:lnTo>
                        <a:pt x="563" y="2680"/>
                      </a:lnTo>
                      <a:lnTo>
                        <a:pt x="225" y="2680"/>
                      </a:lnTo>
                      <a:close/>
                      <a:moveTo>
                        <a:pt x="2929" y="2010"/>
                      </a:moveTo>
                      <a:lnTo>
                        <a:pt x="2929" y="2122"/>
                      </a:lnTo>
                      <a:lnTo>
                        <a:pt x="3267" y="2122"/>
                      </a:lnTo>
                      <a:lnTo>
                        <a:pt x="3267" y="2010"/>
                      </a:lnTo>
                      <a:lnTo>
                        <a:pt x="2929" y="2010"/>
                      </a:lnTo>
                      <a:close/>
                      <a:moveTo>
                        <a:pt x="3155" y="782"/>
                      </a:moveTo>
                      <a:lnTo>
                        <a:pt x="3155" y="1898"/>
                      </a:lnTo>
                      <a:lnTo>
                        <a:pt x="3267" y="1898"/>
                      </a:lnTo>
                      <a:lnTo>
                        <a:pt x="3267" y="782"/>
                      </a:lnTo>
                      <a:lnTo>
                        <a:pt x="3155" y="782"/>
                      </a:lnTo>
                      <a:close/>
                      <a:moveTo>
                        <a:pt x="2929" y="559"/>
                      </a:moveTo>
                      <a:lnTo>
                        <a:pt x="2929" y="671"/>
                      </a:lnTo>
                      <a:lnTo>
                        <a:pt x="3267" y="671"/>
                      </a:lnTo>
                      <a:lnTo>
                        <a:pt x="3267" y="559"/>
                      </a:lnTo>
                      <a:lnTo>
                        <a:pt x="2929" y="559"/>
                      </a:lnTo>
                      <a:close/>
                      <a:moveTo>
                        <a:pt x="338" y="335"/>
                      </a:moveTo>
                      <a:lnTo>
                        <a:pt x="338" y="2345"/>
                      </a:lnTo>
                      <a:lnTo>
                        <a:pt x="3042" y="2346"/>
                      </a:lnTo>
                      <a:lnTo>
                        <a:pt x="3042" y="2233"/>
                      </a:lnTo>
                      <a:lnTo>
                        <a:pt x="2817" y="2233"/>
                      </a:lnTo>
                      <a:lnTo>
                        <a:pt x="2817" y="1898"/>
                      </a:lnTo>
                      <a:lnTo>
                        <a:pt x="3042" y="1898"/>
                      </a:lnTo>
                      <a:lnTo>
                        <a:pt x="3042" y="782"/>
                      </a:lnTo>
                      <a:lnTo>
                        <a:pt x="2817" y="782"/>
                      </a:lnTo>
                      <a:lnTo>
                        <a:pt x="2817" y="447"/>
                      </a:lnTo>
                      <a:lnTo>
                        <a:pt x="3042" y="447"/>
                      </a:lnTo>
                      <a:lnTo>
                        <a:pt x="3042" y="336"/>
                      </a:lnTo>
                      <a:lnTo>
                        <a:pt x="338" y="335"/>
                      </a:lnTo>
                      <a:close/>
                      <a:moveTo>
                        <a:pt x="113" y="113"/>
                      </a:moveTo>
                      <a:lnTo>
                        <a:pt x="113" y="2568"/>
                      </a:lnTo>
                      <a:lnTo>
                        <a:pt x="3267" y="2568"/>
                      </a:lnTo>
                      <a:lnTo>
                        <a:pt x="3267" y="2233"/>
                      </a:lnTo>
                      <a:lnTo>
                        <a:pt x="3155" y="2233"/>
                      </a:lnTo>
                      <a:lnTo>
                        <a:pt x="3155" y="2345"/>
                      </a:lnTo>
                      <a:lnTo>
                        <a:pt x="3152" y="2370"/>
                      </a:lnTo>
                      <a:lnTo>
                        <a:pt x="3143" y="2394"/>
                      </a:lnTo>
                      <a:lnTo>
                        <a:pt x="3130" y="2415"/>
                      </a:lnTo>
                      <a:lnTo>
                        <a:pt x="3113" y="2432"/>
                      </a:lnTo>
                      <a:lnTo>
                        <a:pt x="3091" y="2445"/>
                      </a:lnTo>
                      <a:lnTo>
                        <a:pt x="3068" y="2453"/>
                      </a:lnTo>
                      <a:lnTo>
                        <a:pt x="3042" y="2456"/>
                      </a:lnTo>
                      <a:lnTo>
                        <a:pt x="338" y="2456"/>
                      </a:lnTo>
                      <a:lnTo>
                        <a:pt x="312" y="2453"/>
                      </a:lnTo>
                      <a:lnTo>
                        <a:pt x="289" y="2445"/>
                      </a:lnTo>
                      <a:lnTo>
                        <a:pt x="267" y="2432"/>
                      </a:lnTo>
                      <a:lnTo>
                        <a:pt x="250" y="2415"/>
                      </a:lnTo>
                      <a:lnTo>
                        <a:pt x="237" y="2394"/>
                      </a:lnTo>
                      <a:lnTo>
                        <a:pt x="228" y="2370"/>
                      </a:lnTo>
                      <a:lnTo>
                        <a:pt x="225" y="2345"/>
                      </a:lnTo>
                      <a:lnTo>
                        <a:pt x="225" y="336"/>
                      </a:lnTo>
                      <a:lnTo>
                        <a:pt x="228" y="310"/>
                      </a:lnTo>
                      <a:lnTo>
                        <a:pt x="237" y="287"/>
                      </a:lnTo>
                      <a:lnTo>
                        <a:pt x="250" y="266"/>
                      </a:lnTo>
                      <a:lnTo>
                        <a:pt x="267" y="249"/>
                      </a:lnTo>
                      <a:lnTo>
                        <a:pt x="289" y="236"/>
                      </a:lnTo>
                      <a:lnTo>
                        <a:pt x="312" y="227"/>
                      </a:lnTo>
                      <a:lnTo>
                        <a:pt x="338" y="224"/>
                      </a:lnTo>
                      <a:lnTo>
                        <a:pt x="3042" y="224"/>
                      </a:lnTo>
                      <a:lnTo>
                        <a:pt x="3068" y="227"/>
                      </a:lnTo>
                      <a:lnTo>
                        <a:pt x="3091" y="236"/>
                      </a:lnTo>
                      <a:lnTo>
                        <a:pt x="3113" y="249"/>
                      </a:lnTo>
                      <a:lnTo>
                        <a:pt x="3130" y="266"/>
                      </a:lnTo>
                      <a:lnTo>
                        <a:pt x="3143" y="287"/>
                      </a:lnTo>
                      <a:lnTo>
                        <a:pt x="3152" y="310"/>
                      </a:lnTo>
                      <a:lnTo>
                        <a:pt x="3155" y="336"/>
                      </a:lnTo>
                      <a:lnTo>
                        <a:pt x="3155" y="447"/>
                      </a:lnTo>
                      <a:lnTo>
                        <a:pt x="3267" y="447"/>
                      </a:lnTo>
                      <a:lnTo>
                        <a:pt x="3267" y="113"/>
                      </a:lnTo>
                      <a:lnTo>
                        <a:pt x="113" y="113"/>
                      </a:lnTo>
                      <a:close/>
                      <a:moveTo>
                        <a:pt x="0" y="0"/>
                      </a:moveTo>
                      <a:lnTo>
                        <a:pt x="3380" y="0"/>
                      </a:lnTo>
                      <a:lnTo>
                        <a:pt x="3380" y="2680"/>
                      </a:lnTo>
                      <a:lnTo>
                        <a:pt x="3267" y="2680"/>
                      </a:lnTo>
                      <a:lnTo>
                        <a:pt x="3267" y="2904"/>
                      </a:lnTo>
                      <a:lnTo>
                        <a:pt x="2704" y="2904"/>
                      </a:lnTo>
                      <a:lnTo>
                        <a:pt x="2704" y="2680"/>
                      </a:lnTo>
                      <a:lnTo>
                        <a:pt x="676" y="2680"/>
                      </a:lnTo>
                      <a:lnTo>
                        <a:pt x="676" y="2904"/>
                      </a:lnTo>
                      <a:lnTo>
                        <a:pt x="113" y="2904"/>
                      </a:lnTo>
                      <a:lnTo>
                        <a:pt x="113" y="2680"/>
                      </a:lnTo>
                      <a:lnTo>
                        <a:pt x="0" y="268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1" name="Freeform 442"/>
                <p:cNvSpPr>
                  <a:spLocks/>
                </p:cNvSpPr>
                <p:nvPr/>
              </p:nvSpPr>
              <p:spPr bwMode="auto">
                <a:xfrm>
                  <a:off x="9244013" y="3708401"/>
                  <a:ext cx="17463" cy="17463"/>
                </a:xfrm>
                <a:custGeom>
                  <a:avLst/>
                  <a:gdLst>
                    <a:gd name="T0" fmla="*/ 57 w 113"/>
                    <a:gd name="T1" fmla="*/ 0 h 112"/>
                    <a:gd name="T2" fmla="*/ 74 w 113"/>
                    <a:gd name="T3" fmla="*/ 3 h 112"/>
                    <a:gd name="T4" fmla="*/ 89 w 113"/>
                    <a:gd name="T5" fmla="*/ 11 h 112"/>
                    <a:gd name="T6" fmla="*/ 102 w 113"/>
                    <a:gd name="T7" fmla="*/ 24 h 112"/>
                    <a:gd name="T8" fmla="*/ 110 w 113"/>
                    <a:gd name="T9" fmla="*/ 39 h 112"/>
                    <a:gd name="T10" fmla="*/ 113 w 113"/>
                    <a:gd name="T11" fmla="*/ 56 h 112"/>
                    <a:gd name="T12" fmla="*/ 110 w 113"/>
                    <a:gd name="T13" fmla="*/ 74 h 112"/>
                    <a:gd name="T14" fmla="*/ 102 w 113"/>
                    <a:gd name="T15" fmla="*/ 90 h 112"/>
                    <a:gd name="T16" fmla="*/ 89 w 113"/>
                    <a:gd name="T17" fmla="*/ 102 h 112"/>
                    <a:gd name="T18" fmla="*/ 74 w 113"/>
                    <a:gd name="T19" fmla="*/ 110 h 112"/>
                    <a:gd name="T20" fmla="*/ 57 w 113"/>
                    <a:gd name="T21" fmla="*/ 112 h 112"/>
                    <a:gd name="T22" fmla="*/ 39 w 113"/>
                    <a:gd name="T23" fmla="*/ 110 h 112"/>
                    <a:gd name="T24" fmla="*/ 24 w 113"/>
                    <a:gd name="T25" fmla="*/ 102 h 112"/>
                    <a:gd name="T26" fmla="*/ 12 w 113"/>
                    <a:gd name="T27" fmla="*/ 90 h 112"/>
                    <a:gd name="T28" fmla="*/ 3 w 113"/>
                    <a:gd name="T29" fmla="*/ 74 h 112"/>
                    <a:gd name="T30" fmla="*/ 0 w 113"/>
                    <a:gd name="T31" fmla="*/ 56 h 112"/>
                    <a:gd name="T32" fmla="*/ 3 w 113"/>
                    <a:gd name="T33" fmla="*/ 39 h 112"/>
                    <a:gd name="T34" fmla="*/ 12 w 113"/>
                    <a:gd name="T35" fmla="*/ 24 h 112"/>
                    <a:gd name="T36" fmla="*/ 24 w 113"/>
                    <a:gd name="T37" fmla="*/ 11 h 112"/>
                    <a:gd name="T38" fmla="*/ 39 w 113"/>
                    <a:gd name="T39" fmla="*/ 3 h 112"/>
                    <a:gd name="T40" fmla="*/ 57 w 113"/>
                    <a:gd name="T41" fmla="*/ 0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3" h="112">
                      <a:moveTo>
                        <a:pt x="57" y="0"/>
                      </a:moveTo>
                      <a:lnTo>
                        <a:pt x="74" y="3"/>
                      </a:lnTo>
                      <a:lnTo>
                        <a:pt x="89" y="11"/>
                      </a:lnTo>
                      <a:lnTo>
                        <a:pt x="102" y="24"/>
                      </a:lnTo>
                      <a:lnTo>
                        <a:pt x="110" y="39"/>
                      </a:lnTo>
                      <a:lnTo>
                        <a:pt x="113" y="56"/>
                      </a:lnTo>
                      <a:lnTo>
                        <a:pt x="110" y="74"/>
                      </a:lnTo>
                      <a:lnTo>
                        <a:pt x="102" y="90"/>
                      </a:lnTo>
                      <a:lnTo>
                        <a:pt x="89" y="102"/>
                      </a:lnTo>
                      <a:lnTo>
                        <a:pt x="74" y="110"/>
                      </a:lnTo>
                      <a:lnTo>
                        <a:pt x="57" y="112"/>
                      </a:lnTo>
                      <a:lnTo>
                        <a:pt x="39" y="110"/>
                      </a:lnTo>
                      <a:lnTo>
                        <a:pt x="24" y="102"/>
                      </a:lnTo>
                      <a:lnTo>
                        <a:pt x="12" y="90"/>
                      </a:lnTo>
                      <a:lnTo>
                        <a:pt x="3" y="74"/>
                      </a:lnTo>
                      <a:lnTo>
                        <a:pt x="0" y="56"/>
                      </a:lnTo>
                      <a:lnTo>
                        <a:pt x="3" y="39"/>
                      </a:lnTo>
                      <a:lnTo>
                        <a:pt x="12" y="24"/>
                      </a:lnTo>
                      <a:lnTo>
                        <a:pt x="24" y="11"/>
                      </a:lnTo>
                      <a:lnTo>
                        <a:pt x="39" y="3"/>
                      </a:lnTo>
                      <a:lnTo>
                        <a:pt x="5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2" name="Freeform 443"/>
                <p:cNvSpPr>
                  <a:spLocks noEditPoints="1"/>
                </p:cNvSpPr>
                <p:nvPr/>
              </p:nvSpPr>
              <p:spPr bwMode="auto">
                <a:xfrm>
                  <a:off x="9145588" y="3611563"/>
                  <a:ext cx="214313" cy="212725"/>
                </a:xfrm>
                <a:custGeom>
                  <a:avLst/>
                  <a:gdLst>
                    <a:gd name="T0" fmla="*/ 595 w 1352"/>
                    <a:gd name="T1" fmla="*/ 402 h 1339"/>
                    <a:gd name="T2" fmla="*/ 491 w 1352"/>
                    <a:gd name="T3" fmla="*/ 459 h 1339"/>
                    <a:gd name="T4" fmla="*/ 421 w 1352"/>
                    <a:gd name="T5" fmla="*/ 552 h 1339"/>
                    <a:gd name="T6" fmla="*/ 394 w 1352"/>
                    <a:gd name="T7" fmla="*/ 669 h 1339"/>
                    <a:gd name="T8" fmla="*/ 421 w 1352"/>
                    <a:gd name="T9" fmla="*/ 787 h 1339"/>
                    <a:gd name="T10" fmla="*/ 491 w 1352"/>
                    <a:gd name="T11" fmla="*/ 880 h 1339"/>
                    <a:gd name="T12" fmla="*/ 595 w 1352"/>
                    <a:gd name="T13" fmla="*/ 937 h 1339"/>
                    <a:gd name="T14" fmla="*/ 718 w 1352"/>
                    <a:gd name="T15" fmla="*/ 945 h 1339"/>
                    <a:gd name="T16" fmla="*/ 829 w 1352"/>
                    <a:gd name="T17" fmla="*/ 903 h 1339"/>
                    <a:gd name="T18" fmla="*/ 912 w 1352"/>
                    <a:gd name="T19" fmla="*/ 821 h 1339"/>
                    <a:gd name="T20" fmla="*/ 954 w 1352"/>
                    <a:gd name="T21" fmla="*/ 711 h 1339"/>
                    <a:gd name="T22" fmla="*/ 945 w 1352"/>
                    <a:gd name="T23" fmla="*/ 589 h 1339"/>
                    <a:gd name="T24" fmla="*/ 888 w 1352"/>
                    <a:gd name="T25" fmla="*/ 486 h 1339"/>
                    <a:gd name="T26" fmla="*/ 794 w 1352"/>
                    <a:gd name="T27" fmla="*/ 416 h 1339"/>
                    <a:gd name="T28" fmla="*/ 676 w 1352"/>
                    <a:gd name="T29" fmla="*/ 390 h 1339"/>
                    <a:gd name="T30" fmla="*/ 708 w 1352"/>
                    <a:gd name="T31" fmla="*/ 10 h 1339"/>
                    <a:gd name="T32" fmla="*/ 732 w 1352"/>
                    <a:gd name="T33" fmla="*/ 55 h 1339"/>
                    <a:gd name="T34" fmla="*/ 809 w 1352"/>
                    <a:gd name="T35" fmla="*/ 303 h 1339"/>
                    <a:gd name="T36" fmla="*/ 911 w 1352"/>
                    <a:gd name="T37" fmla="*/ 357 h 1339"/>
                    <a:gd name="T38" fmla="*/ 1100 w 1352"/>
                    <a:gd name="T39" fmla="*/ 181 h 1339"/>
                    <a:gd name="T40" fmla="*/ 1142 w 1352"/>
                    <a:gd name="T41" fmla="*/ 187 h 1339"/>
                    <a:gd name="T42" fmla="*/ 1168 w 1352"/>
                    <a:gd name="T43" fmla="*/ 221 h 1339"/>
                    <a:gd name="T44" fmla="*/ 1163 w 1352"/>
                    <a:gd name="T45" fmla="*/ 263 h 1339"/>
                    <a:gd name="T46" fmla="*/ 1013 w 1352"/>
                    <a:gd name="T47" fmla="*/ 468 h 1339"/>
                    <a:gd name="T48" fmla="*/ 1058 w 1352"/>
                    <a:gd name="T49" fmla="*/ 575 h 1339"/>
                    <a:gd name="T50" fmla="*/ 1313 w 1352"/>
                    <a:gd name="T51" fmla="*/ 616 h 1339"/>
                    <a:gd name="T52" fmla="*/ 1349 w 1352"/>
                    <a:gd name="T53" fmla="*/ 652 h 1339"/>
                    <a:gd name="T54" fmla="*/ 1340 w 1352"/>
                    <a:gd name="T55" fmla="*/ 703 h 1339"/>
                    <a:gd name="T56" fmla="*/ 1295 w 1352"/>
                    <a:gd name="T57" fmla="*/ 725 h 1339"/>
                    <a:gd name="T58" fmla="*/ 1046 w 1352"/>
                    <a:gd name="T59" fmla="*/ 801 h 1339"/>
                    <a:gd name="T60" fmla="*/ 991 w 1352"/>
                    <a:gd name="T61" fmla="*/ 902 h 1339"/>
                    <a:gd name="T62" fmla="*/ 1168 w 1352"/>
                    <a:gd name="T63" fmla="*/ 1089 h 1339"/>
                    <a:gd name="T64" fmla="*/ 1163 w 1352"/>
                    <a:gd name="T65" fmla="*/ 1131 h 1339"/>
                    <a:gd name="T66" fmla="*/ 1128 w 1352"/>
                    <a:gd name="T67" fmla="*/ 1157 h 1339"/>
                    <a:gd name="T68" fmla="*/ 1086 w 1352"/>
                    <a:gd name="T69" fmla="*/ 1152 h 1339"/>
                    <a:gd name="T70" fmla="*/ 879 w 1352"/>
                    <a:gd name="T71" fmla="*/ 1003 h 1339"/>
                    <a:gd name="T72" fmla="*/ 771 w 1352"/>
                    <a:gd name="T73" fmla="*/ 1048 h 1339"/>
                    <a:gd name="T74" fmla="*/ 729 w 1352"/>
                    <a:gd name="T75" fmla="*/ 1301 h 1339"/>
                    <a:gd name="T76" fmla="*/ 693 w 1352"/>
                    <a:gd name="T77" fmla="*/ 1337 h 1339"/>
                    <a:gd name="T78" fmla="*/ 643 w 1352"/>
                    <a:gd name="T79" fmla="*/ 1329 h 1339"/>
                    <a:gd name="T80" fmla="*/ 619 w 1352"/>
                    <a:gd name="T81" fmla="*/ 1283 h 1339"/>
                    <a:gd name="T82" fmla="*/ 543 w 1352"/>
                    <a:gd name="T83" fmla="*/ 1036 h 1339"/>
                    <a:gd name="T84" fmla="*/ 440 w 1352"/>
                    <a:gd name="T85" fmla="*/ 982 h 1339"/>
                    <a:gd name="T86" fmla="*/ 252 w 1352"/>
                    <a:gd name="T87" fmla="*/ 1157 h 1339"/>
                    <a:gd name="T88" fmla="*/ 210 w 1352"/>
                    <a:gd name="T89" fmla="*/ 1152 h 1339"/>
                    <a:gd name="T90" fmla="*/ 183 w 1352"/>
                    <a:gd name="T91" fmla="*/ 1118 h 1339"/>
                    <a:gd name="T92" fmla="*/ 188 w 1352"/>
                    <a:gd name="T93" fmla="*/ 1076 h 1339"/>
                    <a:gd name="T94" fmla="*/ 339 w 1352"/>
                    <a:gd name="T95" fmla="*/ 871 h 1339"/>
                    <a:gd name="T96" fmla="*/ 294 w 1352"/>
                    <a:gd name="T97" fmla="*/ 764 h 1339"/>
                    <a:gd name="T98" fmla="*/ 39 w 1352"/>
                    <a:gd name="T99" fmla="*/ 723 h 1339"/>
                    <a:gd name="T100" fmla="*/ 3 w 1352"/>
                    <a:gd name="T101" fmla="*/ 687 h 1339"/>
                    <a:gd name="T102" fmla="*/ 11 w 1352"/>
                    <a:gd name="T103" fmla="*/ 637 h 1339"/>
                    <a:gd name="T104" fmla="*/ 56 w 1352"/>
                    <a:gd name="T105" fmla="*/ 613 h 1339"/>
                    <a:gd name="T106" fmla="*/ 305 w 1352"/>
                    <a:gd name="T107" fmla="*/ 537 h 1339"/>
                    <a:gd name="T108" fmla="*/ 360 w 1352"/>
                    <a:gd name="T109" fmla="*/ 436 h 1339"/>
                    <a:gd name="T110" fmla="*/ 183 w 1352"/>
                    <a:gd name="T111" fmla="*/ 250 h 1339"/>
                    <a:gd name="T112" fmla="*/ 188 w 1352"/>
                    <a:gd name="T113" fmla="*/ 207 h 1339"/>
                    <a:gd name="T114" fmla="*/ 223 w 1352"/>
                    <a:gd name="T115" fmla="*/ 181 h 1339"/>
                    <a:gd name="T116" fmla="*/ 265 w 1352"/>
                    <a:gd name="T117" fmla="*/ 187 h 1339"/>
                    <a:gd name="T118" fmla="*/ 472 w 1352"/>
                    <a:gd name="T119" fmla="*/ 335 h 1339"/>
                    <a:gd name="T120" fmla="*/ 580 w 1352"/>
                    <a:gd name="T121" fmla="*/ 290 h 1339"/>
                    <a:gd name="T122" fmla="*/ 622 w 1352"/>
                    <a:gd name="T123" fmla="*/ 38 h 1339"/>
                    <a:gd name="T124" fmla="*/ 658 w 1352"/>
                    <a:gd name="T125" fmla="*/ 2 h 13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352" h="1339">
                      <a:moveTo>
                        <a:pt x="676" y="390"/>
                      </a:moveTo>
                      <a:lnTo>
                        <a:pt x="634" y="393"/>
                      </a:lnTo>
                      <a:lnTo>
                        <a:pt x="595" y="402"/>
                      </a:lnTo>
                      <a:lnTo>
                        <a:pt x="557" y="416"/>
                      </a:lnTo>
                      <a:lnTo>
                        <a:pt x="522" y="436"/>
                      </a:lnTo>
                      <a:lnTo>
                        <a:pt x="491" y="459"/>
                      </a:lnTo>
                      <a:lnTo>
                        <a:pt x="464" y="486"/>
                      </a:lnTo>
                      <a:lnTo>
                        <a:pt x="439" y="518"/>
                      </a:lnTo>
                      <a:lnTo>
                        <a:pt x="421" y="552"/>
                      </a:lnTo>
                      <a:lnTo>
                        <a:pt x="406" y="589"/>
                      </a:lnTo>
                      <a:lnTo>
                        <a:pt x="397" y="628"/>
                      </a:lnTo>
                      <a:lnTo>
                        <a:pt x="394" y="669"/>
                      </a:lnTo>
                      <a:lnTo>
                        <a:pt x="397" y="711"/>
                      </a:lnTo>
                      <a:lnTo>
                        <a:pt x="406" y="750"/>
                      </a:lnTo>
                      <a:lnTo>
                        <a:pt x="421" y="787"/>
                      </a:lnTo>
                      <a:lnTo>
                        <a:pt x="439" y="821"/>
                      </a:lnTo>
                      <a:lnTo>
                        <a:pt x="464" y="853"/>
                      </a:lnTo>
                      <a:lnTo>
                        <a:pt x="491" y="880"/>
                      </a:lnTo>
                      <a:lnTo>
                        <a:pt x="522" y="903"/>
                      </a:lnTo>
                      <a:lnTo>
                        <a:pt x="557" y="923"/>
                      </a:lnTo>
                      <a:lnTo>
                        <a:pt x="595" y="937"/>
                      </a:lnTo>
                      <a:lnTo>
                        <a:pt x="634" y="945"/>
                      </a:lnTo>
                      <a:lnTo>
                        <a:pt x="676" y="948"/>
                      </a:lnTo>
                      <a:lnTo>
                        <a:pt x="718" y="945"/>
                      </a:lnTo>
                      <a:lnTo>
                        <a:pt x="757" y="937"/>
                      </a:lnTo>
                      <a:lnTo>
                        <a:pt x="794" y="923"/>
                      </a:lnTo>
                      <a:lnTo>
                        <a:pt x="829" y="903"/>
                      </a:lnTo>
                      <a:lnTo>
                        <a:pt x="860" y="880"/>
                      </a:lnTo>
                      <a:lnTo>
                        <a:pt x="888" y="853"/>
                      </a:lnTo>
                      <a:lnTo>
                        <a:pt x="912" y="821"/>
                      </a:lnTo>
                      <a:lnTo>
                        <a:pt x="931" y="787"/>
                      </a:lnTo>
                      <a:lnTo>
                        <a:pt x="945" y="750"/>
                      </a:lnTo>
                      <a:lnTo>
                        <a:pt x="954" y="711"/>
                      </a:lnTo>
                      <a:lnTo>
                        <a:pt x="957" y="669"/>
                      </a:lnTo>
                      <a:lnTo>
                        <a:pt x="954" y="628"/>
                      </a:lnTo>
                      <a:lnTo>
                        <a:pt x="945" y="589"/>
                      </a:lnTo>
                      <a:lnTo>
                        <a:pt x="931" y="552"/>
                      </a:lnTo>
                      <a:lnTo>
                        <a:pt x="912" y="518"/>
                      </a:lnTo>
                      <a:lnTo>
                        <a:pt x="888" y="486"/>
                      </a:lnTo>
                      <a:lnTo>
                        <a:pt x="860" y="459"/>
                      </a:lnTo>
                      <a:lnTo>
                        <a:pt x="829" y="436"/>
                      </a:lnTo>
                      <a:lnTo>
                        <a:pt x="794" y="416"/>
                      </a:lnTo>
                      <a:lnTo>
                        <a:pt x="757" y="402"/>
                      </a:lnTo>
                      <a:lnTo>
                        <a:pt x="718" y="393"/>
                      </a:lnTo>
                      <a:lnTo>
                        <a:pt x="676" y="390"/>
                      </a:lnTo>
                      <a:close/>
                      <a:moveTo>
                        <a:pt x="676" y="0"/>
                      </a:moveTo>
                      <a:lnTo>
                        <a:pt x="693" y="2"/>
                      </a:lnTo>
                      <a:lnTo>
                        <a:pt x="708" y="10"/>
                      </a:lnTo>
                      <a:lnTo>
                        <a:pt x="721" y="23"/>
                      </a:lnTo>
                      <a:lnTo>
                        <a:pt x="729" y="38"/>
                      </a:lnTo>
                      <a:lnTo>
                        <a:pt x="732" y="55"/>
                      </a:lnTo>
                      <a:lnTo>
                        <a:pt x="732" y="283"/>
                      </a:lnTo>
                      <a:lnTo>
                        <a:pt x="771" y="290"/>
                      </a:lnTo>
                      <a:lnTo>
                        <a:pt x="809" y="303"/>
                      </a:lnTo>
                      <a:lnTo>
                        <a:pt x="845" y="317"/>
                      </a:lnTo>
                      <a:lnTo>
                        <a:pt x="879" y="335"/>
                      </a:lnTo>
                      <a:lnTo>
                        <a:pt x="911" y="357"/>
                      </a:lnTo>
                      <a:lnTo>
                        <a:pt x="1074" y="196"/>
                      </a:lnTo>
                      <a:lnTo>
                        <a:pt x="1086" y="187"/>
                      </a:lnTo>
                      <a:lnTo>
                        <a:pt x="1100" y="181"/>
                      </a:lnTo>
                      <a:lnTo>
                        <a:pt x="1114" y="179"/>
                      </a:lnTo>
                      <a:lnTo>
                        <a:pt x="1128" y="181"/>
                      </a:lnTo>
                      <a:lnTo>
                        <a:pt x="1142" y="187"/>
                      </a:lnTo>
                      <a:lnTo>
                        <a:pt x="1154" y="196"/>
                      </a:lnTo>
                      <a:lnTo>
                        <a:pt x="1163" y="207"/>
                      </a:lnTo>
                      <a:lnTo>
                        <a:pt x="1168" y="221"/>
                      </a:lnTo>
                      <a:lnTo>
                        <a:pt x="1170" y="236"/>
                      </a:lnTo>
                      <a:lnTo>
                        <a:pt x="1168" y="250"/>
                      </a:lnTo>
                      <a:lnTo>
                        <a:pt x="1163" y="263"/>
                      </a:lnTo>
                      <a:lnTo>
                        <a:pt x="1154" y="274"/>
                      </a:lnTo>
                      <a:lnTo>
                        <a:pt x="991" y="436"/>
                      </a:lnTo>
                      <a:lnTo>
                        <a:pt x="1013" y="468"/>
                      </a:lnTo>
                      <a:lnTo>
                        <a:pt x="1031" y="502"/>
                      </a:lnTo>
                      <a:lnTo>
                        <a:pt x="1046" y="537"/>
                      </a:lnTo>
                      <a:lnTo>
                        <a:pt x="1058" y="575"/>
                      </a:lnTo>
                      <a:lnTo>
                        <a:pt x="1066" y="613"/>
                      </a:lnTo>
                      <a:lnTo>
                        <a:pt x="1295" y="613"/>
                      </a:lnTo>
                      <a:lnTo>
                        <a:pt x="1313" y="616"/>
                      </a:lnTo>
                      <a:lnTo>
                        <a:pt x="1329" y="624"/>
                      </a:lnTo>
                      <a:lnTo>
                        <a:pt x="1340" y="637"/>
                      </a:lnTo>
                      <a:lnTo>
                        <a:pt x="1349" y="652"/>
                      </a:lnTo>
                      <a:lnTo>
                        <a:pt x="1352" y="669"/>
                      </a:lnTo>
                      <a:lnTo>
                        <a:pt x="1349" y="687"/>
                      </a:lnTo>
                      <a:lnTo>
                        <a:pt x="1340" y="703"/>
                      </a:lnTo>
                      <a:lnTo>
                        <a:pt x="1329" y="715"/>
                      </a:lnTo>
                      <a:lnTo>
                        <a:pt x="1313" y="723"/>
                      </a:lnTo>
                      <a:lnTo>
                        <a:pt x="1295" y="725"/>
                      </a:lnTo>
                      <a:lnTo>
                        <a:pt x="1066" y="725"/>
                      </a:lnTo>
                      <a:lnTo>
                        <a:pt x="1058" y="764"/>
                      </a:lnTo>
                      <a:lnTo>
                        <a:pt x="1046" y="801"/>
                      </a:lnTo>
                      <a:lnTo>
                        <a:pt x="1031" y="838"/>
                      </a:lnTo>
                      <a:lnTo>
                        <a:pt x="1013" y="871"/>
                      </a:lnTo>
                      <a:lnTo>
                        <a:pt x="991" y="902"/>
                      </a:lnTo>
                      <a:lnTo>
                        <a:pt x="1154" y="1064"/>
                      </a:lnTo>
                      <a:lnTo>
                        <a:pt x="1163" y="1076"/>
                      </a:lnTo>
                      <a:lnTo>
                        <a:pt x="1168" y="1089"/>
                      </a:lnTo>
                      <a:lnTo>
                        <a:pt x="1170" y="1103"/>
                      </a:lnTo>
                      <a:lnTo>
                        <a:pt x="1168" y="1118"/>
                      </a:lnTo>
                      <a:lnTo>
                        <a:pt x="1163" y="1131"/>
                      </a:lnTo>
                      <a:lnTo>
                        <a:pt x="1154" y="1143"/>
                      </a:lnTo>
                      <a:lnTo>
                        <a:pt x="1142" y="1152"/>
                      </a:lnTo>
                      <a:lnTo>
                        <a:pt x="1128" y="1157"/>
                      </a:lnTo>
                      <a:lnTo>
                        <a:pt x="1114" y="1159"/>
                      </a:lnTo>
                      <a:lnTo>
                        <a:pt x="1100" y="1157"/>
                      </a:lnTo>
                      <a:lnTo>
                        <a:pt x="1086" y="1152"/>
                      </a:lnTo>
                      <a:lnTo>
                        <a:pt x="1074" y="1143"/>
                      </a:lnTo>
                      <a:lnTo>
                        <a:pt x="911" y="982"/>
                      </a:lnTo>
                      <a:lnTo>
                        <a:pt x="879" y="1003"/>
                      </a:lnTo>
                      <a:lnTo>
                        <a:pt x="846" y="1022"/>
                      </a:lnTo>
                      <a:lnTo>
                        <a:pt x="809" y="1036"/>
                      </a:lnTo>
                      <a:lnTo>
                        <a:pt x="771" y="1048"/>
                      </a:lnTo>
                      <a:lnTo>
                        <a:pt x="732" y="1056"/>
                      </a:lnTo>
                      <a:lnTo>
                        <a:pt x="732" y="1283"/>
                      </a:lnTo>
                      <a:lnTo>
                        <a:pt x="729" y="1301"/>
                      </a:lnTo>
                      <a:lnTo>
                        <a:pt x="721" y="1317"/>
                      </a:lnTo>
                      <a:lnTo>
                        <a:pt x="708" y="1329"/>
                      </a:lnTo>
                      <a:lnTo>
                        <a:pt x="693" y="1337"/>
                      </a:lnTo>
                      <a:lnTo>
                        <a:pt x="676" y="1339"/>
                      </a:lnTo>
                      <a:lnTo>
                        <a:pt x="658" y="1337"/>
                      </a:lnTo>
                      <a:lnTo>
                        <a:pt x="643" y="1329"/>
                      </a:lnTo>
                      <a:lnTo>
                        <a:pt x="631" y="1317"/>
                      </a:lnTo>
                      <a:lnTo>
                        <a:pt x="622" y="1301"/>
                      </a:lnTo>
                      <a:lnTo>
                        <a:pt x="619" y="1283"/>
                      </a:lnTo>
                      <a:lnTo>
                        <a:pt x="619" y="1056"/>
                      </a:lnTo>
                      <a:lnTo>
                        <a:pt x="580" y="1048"/>
                      </a:lnTo>
                      <a:lnTo>
                        <a:pt x="543" y="1036"/>
                      </a:lnTo>
                      <a:lnTo>
                        <a:pt x="507" y="1022"/>
                      </a:lnTo>
                      <a:lnTo>
                        <a:pt x="472" y="1003"/>
                      </a:lnTo>
                      <a:lnTo>
                        <a:pt x="440" y="982"/>
                      </a:lnTo>
                      <a:lnTo>
                        <a:pt x="277" y="1143"/>
                      </a:lnTo>
                      <a:lnTo>
                        <a:pt x="265" y="1152"/>
                      </a:lnTo>
                      <a:lnTo>
                        <a:pt x="252" y="1157"/>
                      </a:lnTo>
                      <a:lnTo>
                        <a:pt x="237" y="1159"/>
                      </a:lnTo>
                      <a:lnTo>
                        <a:pt x="223" y="1157"/>
                      </a:lnTo>
                      <a:lnTo>
                        <a:pt x="210" y="1152"/>
                      </a:lnTo>
                      <a:lnTo>
                        <a:pt x="197" y="1143"/>
                      </a:lnTo>
                      <a:lnTo>
                        <a:pt x="188" y="1131"/>
                      </a:lnTo>
                      <a:lnTo>
                        <a:pt x="183" y="1118"/>
                      </a:lnTo>
                      <a:lnTo>
                        <a:pt x="181" y="1103"/>
                      </a:lnTo>
                      <a:lnTo>
                        <a:pt x="183" y="1089"/>
                      </a:lnTo>
                      <a:lnTo>
                        <a:pt x="188" y="1076"/>
                      </a:lnTo>
                      <a:lnTo>
                        <a:pt x="197" y="1064"/>
                      </a:lnTo>
                      <a:lnTo>
                        <a:pt x="360" y="902"/>
                      </a:lnTo>
                      <a:lnTo>
                        <a:pt x="339" y="871"/>
                      </a:lnTo>
                      <a:lnTo>
                        <a:pt x="320" y="838"/>
                      </a:lnTo>
                      <a:lnTo>
                        <a:pt x="305" y="801"/>
                      </a:lnTo>
                      <a:lnTo>
                        <a:pt x="294" y="764"/>
                      </a:lnTo>
                      <a:lnTo>
                        <a:pt x="285" y="725"/>
                      </a:lnTo>
                      <a:lnTo>
                        <a:pt x="56" y="725"/>
                      </a:lnTo>
                      <a:lnTo>
                        <a:pt x="39" y="723"/>
                      </a:lnTo>
                      <a:lnTo>
                        <a:pt x="22" y="715"/>
                      </a:lnTo>
                      <a:lnTo>
                        <a:pt x="11" y="703"/>
                      </a:lnTo>
                      <a:lnTo>
                        <a:pt x="3" y="687"/>
                      </a:lnTo>
                      <a:lnTo>
                        <a:pt x="0" y="669"/>
                      </a:lnTo>
                      <a:lnTo>
                        <a:pt x="3" y="652"/>
                      </a:lnTo>
                      <a:lnTo>
                        <a:pt x="11" y="637"/>
                      </a:lnTo>
                      <a:lnTo>
                        <a:pt x="22" y="624"/>
                      </a:lnTo>
                      <a:lnTo>
                        <a:pt x="39" y="616"/>
                      </a:lnTo>
                      <a:lnTo>
                        <a:pt x="56" y="613"/>
                      </a:lnTo>
                      <a:lnTo>
                        <a:pt x="285" y="613"/>
                      </a:lnTo>
                      <a:lnTo>
                        <a:pt x="294" y="575"/>
                      </a:lnTo>
                      <a:lnTo>
                        <a:pt x="305" y="537"/>
                      </a:lnTo>
                      <a:lnTo>
                        <a:pt x="320" y="502"/>
                      </a:lnTo>
                      <a:lnTo>
                        <a:pt x="339" y="468"/>
                      </a:lnTo>
                      <a:lnTo>
                        <a:pt x="360" y="436"/>
                      </a:lnTo>
                      <a:lnTo>
                        <a:pt x="197" y="274"/>
                      </a:lnTo>
                      <a:lnTo>
                        <a:pt x="188" y="263"/>
                      </a:lnTo>
                      <a:lnTo>
                        <a:pt x="183" y="250"/>
                      </a:lnTo>
                      <a:lnTo>
                        <a:pt x="181" y="236"/>
                      </a:lnTo>
                      <a:lnTo>
                        <a:pt x="183" y="221"/>
                      </a:lnTo>
                      <a:lnTo>
                        <a:pt x="188" y="207"/>
                      </a:lnTo>
                      <a:lnTo>
                        <a:pt x="197" y="196"/>
                      </a:lnTo>
                      <a:lnTo>
                        <a:pt x="210" y="187"/>
                      </a:lnTo>
                      <a:lnTo>
                        <a:pt x="223" y="181"/>
                      </a:lnTo>
                      <a:lnTo>
                        <a:pt x="237" y="179"/>
                      </a:lnTo>
                      <a:lnTo>
                        <a:pt x="252" y="181"/>
                      </a:lnTo>
                      <a:lnTo>
                        <a:pt x="265" y="187"/>
                      </a:lnTo>
                      <a:lnTo>
                        <a:pt x="277" y="196"/>
                      </a:lnTo>
                      <a:lnTo>
                        <a:pt x="440" y="357"/>
                      </a:lnTo>
                      <a:lnTo>
                        <a:pt x="472" y="335"/>
                      </a:lnTo>
                      <a:lnTo>
                        <a:pt x="507" y="317"/>
                      </a:lnTo>
                      <a:lnTo>
                        <a:pt x="543" y="303"/>
                      </a:lnTo>
                      <a:lnTo>
                        <a:pt x="580" y="290"/>
                      </a:lnTo>
                      <a:lnTo>
                        <a:pt x="619" y="283"/>
                      </a:lnTo>
                      <a:lnTo>
                        <a:pt x="619" y="55"/>
                      </a:lnTo>
                      <a:lnTo>
                        <a:pt x="622" y="38"/>
                      </a:lnTo>
                      <a:lnTo>
                        <a:pt x="631" y="23"/>
                      </a:lnTo>
                      <a:lnTo>
                        <a:pt x="643" y="10"/>
                      </a:lnTo>
                      <a:lnTo>
                        <a:pt x="658" y="2"/>
                      </a:lnTo>
                      <a:lnTo>
                        <a:pt x="67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3" name="Freeform 444"/>
                <p:cNvSpPr>
                  <a:spLocks/>
                </p:cNvSpPr>
                <p:nvPr/>
              </p:nvSpPr>
              <p:spPr bwMode="auto">
                <a:xfrm>
                  <a:off x="9396413" y="3717926"/>
                  <a:ext cx="17463" cy="26988"/>
                </a:xfrm>
                <a:custGeom>
                  <a:avLst/>
                  <a:gdLst>
                    <a:gd name="T0" fmla="*/ 56 w 113"/>
                    <a:gd name="T1" fmla="*/ 0 h 169"/>
                    <a:gd name="T2" fmla="*/ 74 w 113"/>
                    <a:gd name="T3" fmla="*/ 3 h 169"/>
                    <a:gd name="T4" fmla="*/ 89 w 113"/>
                    <a:gd name="T5" fmla="*/ 11 h 169"/>
                    <a:gd name="T6" fmla="*/ 101 w 113"/>
                    <a:gd name="T7" fmla="*/ 23 h 169"/>
                    <a:gd name="T8" fmla="*/ 110 w 113"/>
                    <a:gd name="T9" fmla="*/ 39 h 169"/>
                    <a:gd name="T10" fmla="*/ 113 w 113"/>
                    <a:gd name="T11" fmla="*/ 56 h 169"/>
                    <a:gd name="T12" fmla="*/ 113 w 113"/>
                    <a:gd name="T13" fmla="*/ 112 h 169"/>
                    <a:gd name="T14" fmla="*/ 110 w 113"/>
                    <a:gd name="T15" fmla="*/ 130 h 169"/>
                    <a:gd name="T16" fmla="*/ 101 w 113"/>
                    <a:gd name="T17" fmla="*/ 145 h 169"/>
                    <a:gd name="T18" fmla="*/ 89 w 113"/>
                    <a:gd name="T19" fmla="*/ 157 h 169"/>
                    <a:gd name="T20" fmla="*/ 74 w 113"/>
                    <a:gd name="T21" fmla="*/ 165 h 169"/>
                    <a:gd name="T22" fmla="*/ 56 w 113"/>
                    <a:gd name="T23" fmla="*/ 169 h 169"/>
                    <a:gd name="T24" fmla="*/ 39 w 113"/>
                    <a:gd name="T25" fmla="*/ 165 h 169"/>
                    <a:gd name="T26" fmla="*/ 24 w 113"/>
                    <a:gd name="T27" fmla="*/ 157 h 169"/>
                    <a:gd name="T28" fmla="*/ 11 w 113"/>
                    <a:gd name="T29" fmla="*/ 145 h 169"/>
                    <a:gd name="T30" fmla="*/ 3 w 113"/>
                    <a:gd name="T31" fmla="*/ 130 h 169"/>
                    <a:gd name="T32" fmla="*/ 0 w 113"/>
                    <a:gd name="T33" fmla="*/ 112 h 169"/>
                    <a:gd name="T34" fmla="*/ 0 w 113"/>
                    <a:gd name="T35" fmla="*/ 56 h 169"/>
                    <a:gd name="T36" fmla="*/ 3 w 113"/>
                    <a:gd name="T37" fmla="*/ 39 h 169"/>
                    <a:gd name="T38" fmla="*/ 11 w 113"/>
                    <a:gd name="T39" fmla="*/ 23 h 169"/>
                    <a:gd name="T40" fmla="*/ 24 w 113"/>
                    <a:gd name="T41" fmla="*/ 11 h 169"/>
                    <a:gd name="T42" fmla="*/ 39 w 113"/>
                    <a:gd name="T43" fmla="*/ 3 h 169"/>
                    <a:gd name="T44" fmla="*/ 56 w 113"/>
                    <a:gd name="T45" fmla="*/ 0 h 1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3" h="169">
                      <a:moveTo>
                        <a:pt x="56" y="0"/>
                      </a:moveTo>
                      <a:lnTo>
                        <a:pt x="74" y="3"/>
                      </a:lnTo>
                      <a:lnTo>
                        <a:pt x="89" y="11"/>
                      </a:lnTo>
                      <a:lnTo>
                        <a:pt x="101" y="23"/>
                      </a:lnTo>
                      <a:lnTo>
                        <a:pt x="110" y="39"/>
                      </a:lnTo>
                      <a:lnTo>
                        <a:pt x="113" y="56"/>
                      </a:lnTo>
                      <a:lnTo>
                        <a:pt x="113" y="112"/>
                      </a:lnTo>
                      <a:lnTo>
                        <a:pt x="110" y="130"/>
                      </a:lnTo>
                      <a:lnTo>
                        <a:pt x="101" y="145"/>
                      </a:lnTo>
                      <a:lnTo>
                        <a:pt x="89" y="157"/>
                      </a:lnTo>
                      <a:lnTo>
                        <a:pt x="74" y="165"/>
                      </a:lnTo>
                      <a:lnTo>
                        <a:pt x="56" y="169"/>
                      </a:lnTo>
                      <a:lnTo>
                        <a:pt x="39" y="165"/>
                      </a:lnTo>
                      <a:lnTo>
                        <a:pt x="24" y="157"/>
                      </a:lnTo>
                      <a:lnTo>
                        <a:pt x="11" y="145"/>
                      </a:lnTo>
                      <a:lnTo>
                        <a:pt x="3" y="130"/>
                      </a:lnTo>
                      <a:lnTo>
                        <a:pt x="0" y="112"/>
                      </a:lnTo>
                      <a:lnTo>
                        <a:pt x="0" y="56"/>
                      </a:lnTo>
                      <a:lnTo>
                        <a:pt x="3" y="39"/>
                      </a:lnTo>
                      <a:lnTo>
                        <a:pt x="11" y="23"/>
                      </a:lnTo>
                      <a:lnTo>
                        <a:pt x="24" y="11"/>
                      </a:lnTo>
                      <a:lnTo>
                        <a:pt x="39" y="3"/>
                      </a:lnTo>
                      <a:lnTo>
                        <a:pt x="5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4" name="Freeform 445"/>
                <p:cNvSpPr>
                  <a:spLocks/>
                </p:cNvSpPr>
                <p:nvPr/>
              </p:nvSpPr>
              <p:spPr bwMode="auto">
                <a:xfrm>
                  <a:off x="9440863" y="3717926"/>
                  <a:ext cx="17463" cy="26988"/>
                </a:xfrm>
                <a:custGeom>
                  <a:avLst/>
                  <a:gdLst>
                    <a:gd name="T0" fmla="*/ 56 w 112"/>
                    <a:gd name="T1" fmla="*/ 0 h 169"/>
                    <a:gd name="T2" fmla="*/ 73 w 112"/>
                    <a:gd name="T3" fmla="*/ 3 h 169"/>
                    <a:gd name="T4" fmla="*/ 89 w 112"/>
                    <a:gd name="T5" fmla="*/ 11 h 169"/>
                    <a:gd name="T6" fmla="*/ 101 w 112"/>
                    <a:gd name="T7" fmla="*/ 23 h 169"/>
                    <a:gd name="T8" fmla="*/ 109 w 112"/>
                    <a:gd name="T9" fmla="*/ 39 h 169"/>
                    <a:gd name="T10" fmla="*/ 112 w 112"/>
                    <a:gd name="T11" fmla="*/ 56 h 169"/>
                    <a:gd name="T12" fmla="*/ 112 w 112"/>
                    <a:gd name="T13" fmla="*/ 112 h 169"/>
                    <a:gd name="T14" fmla="*/ 109 w 112"/>
                    <a:gd name="T15" fmla="*/ 130 h 169"/>
                    <a:gd name="T16" fmla="*/ 101 w 112"/>
                    <a:gd name="T17" fmla="*/ 145 h 169"/>
                    <a:gd name="T18" fmla="*/ 89 w 112"/>
                    <a:gd name="T19" fmla="*/ 157 h 169"/>
                    <a:gd name="T20" fmla="*/ 73 w 112"/>
                    <a:gd name="T21" fmla="*/ 165 h 169"/>
                    <a:gd name="T22" fmla="*/ 56 w 112"/>
                    <a:gd name="T23" fmla="*/ 169 h 169"/>
                    <a:gd name="T24" fmla="*/ 39 w 112"/>
                    <a:gd name="T25" fmla="*/ 165 h 169"/>
                    <a:gd name="T26" fmla="*/ 23 w 112"/>
                    <a:gd name="T27" fmla="*/ 157 h 169"/>
                    <a:gd name="T28" fmla="*/ 11 w 112"/>
                    <a:gd name="T29" fmla="*/ 145 h 169"/>
                    <a:gd name="T30" fmla="*/ 3 w 112"/>
                    <a:gd name="T31" fmla="*/ 130 h 169"/>
                    <a:gd name="T32" fmla="*/ 0 w 112"/>
                    <a:gd name="T33" fmla="*/ 112 h 169"/>
                    <a:gd name="T34" fmla="*/ 0 w 112"/>
                    <a:gd name="T35" fmla="*/ 56 h 169"/>
                    <a:gd name="T36" fmla="*/ 3 w 112"/>
                    <a:gd name="T37" fmla="*/ 39 h 169"/>
                    <a:gd name="T38" fmla="*/ 11 w 112"/>
                    <a:gd name="T39" fmla="*/ 23 h 169"/>
                    <a:gd name="T40" fmla="*/ 23 w 112"/>
                    <a:gd name="T41" fmla="*/ 11 h 169"/>
                    <a:gd name="T42" fmla="*/ 39 w 112"/>
                    <a:gd name="T43" fmla="*/ 3 h 169"/>
                    <a:gd name="T44" fmla="*/ 56 w 112"/>
                    <a:gd name="T45" fmla="*/ 0 h 1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2" h="169">
                      <a:moveTo>
                        <a:pt x="56" y="0"/>
                      </a:moveTo>
                      <a:lnTo>
                        <a:pt x="73" y="3"/>
                      </a:lnTo>
                      <a:lnTo>
                        <a:pt x="89" y="11"/>
                      </a:lnTo>
                      <a:lnTo>
                        <a:pt x="101" y="23"/>
                      </a:lnTo>
                      <a:lnTo>
                        <a:pt x="109" y="39"/>
                      </a:lnTo>
                      <a:lnTo>
                        <a:pt x="112" y="56"/>
                      </a:lnTo>
                      <a:lnTo>
                        <a:pt x="112" y="112"/>
                      </a:lnTo>
                      <a:lnTo>
                        <a:pt x="109" y="130"/>
                      </a:lnTo>
                      <a:lnTo>
                        <a:pt x="101" y="145"/>
                      </a:lnTo>
                      <a:lnTo>
                        <a:pt x="89" y="157"/>
                      </a:lnTo>
                      <a:lnTo>
                        <a:pt x="73" y="165"/>
                      </a:lnTo>
                      <a:lnTo>
                        <a:pt x="56" y="169"/>
                      </a:lnTo>
                      <a:lnTo>
                        <a:pt x="39" y="165"/>
                      </a:lnTo>
                      <a:lnTo>
                        <a:pt x="23" y="157"/>
                      </a:lnTo>
                      <a:lnTo>
                        <a:pt x="11" y="145"/>
                      </a:lnTo>
                      <a:lnTo>
                        <a:pt x="3" y="130"/>
                      </a:lnTo>
                      <a:lnTo>
                        <a:pt x="0" y="112"/>
                      </a:lnTo>
                      <a:lnTo>
                        <a:pt x="0" y="56"/>
                      </a:lnTo>
                      <a:lnTo>
                        <a:pt x="3" y="39"/>
                      </a:lnTo>
                      <a:lnTo>
                        <a:pt x="11" y="23"/>
                      </a:lnTo>
                      <a:lnTo>
                        <a:pt x="23" y="11"/>
                      </a:lnTo>
                      <a:lnTo>
                        <a:pt x="39" y="3"/>
                      </a:lnTo>
                      <a:lnTo>
                        <a:pt x="5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5" name="Freeform 446"/>
                <p:cNvSpPr>
                  <a:spLocks/>
                </p:cNvSpPr>
                <p:nvPr/>
              </p:nvSpPr>
              <p:spPr bwMode="auto">
                <a:xfrm>
                  <a:off x="9485313" y="3717926"/>
                  <a:ext cx="17463" cy="26988"/>
                </a:xfrm>
                <a:custGeom>
                  <a:avLst/>
                  <a:gdLst>
                    <a:gd name="T0" fmla="*/ 57 w 113"/>
                    <a:gd name="T1" fmla="*/ 0 h 169"/>
                    <a:gd name="T2" fmla="*/ 74 w 113"/>
                    <a:gd name="T3" fmla="*/ 3 h 169"/>
                    <a:gd name="T4" fmla="*/ 89 w 113"/>
                    <a:gd name="T5" fmla="*/ 11 h 169"/>
                    <a:gd name="T6" fmla="*/ 102 w 113"/>
                    <a:gd name="T7" fmla="*/ 23 h 169"/>
                    <a:gd name="T8" fmla="*/ 110 w 113"/>
                    <a:gd name="T9" fmla="*/ 39 h 169"/>
                    <a:gd name="T10" fmla="*/ 113 w 113"/>
                    <a:gd name="T11" fmla="*/ 56 h 169"/>
                    <a:gd name="T12" fmla="*/ 113 w 113"/>
                    <a:gd name="T13" fmla="*/ 112 h 169"/>
                    <a:gd name="T14" fmla="*/ 110 w 113"/>
                    <a:gd name="T15" fmla="*/ 130 h 169"/>
                    <a:gd name="T16" fmla="*/ 102 w 113"/>
                    <a:gd name="T17" fmla="*/ 145 h 169"/>
                    <a:gd name="T18" fmla="*/ 89 w 113"/>
                    <a:gd name="T19" fmla="*/ 157 h 169"/>
                    <a:gd name="T20" fmla="*/ 74 w 113"/>
                    <a:gd name="T21" fmla="*/ 165 h 169"/>
                    <a:gd name="T22" fmla="*/ 57 w 113"/>
                    <a:gd name="T23" fmla="*/ 169 h 169"/>
                    <a:gd name="T24" fmla="*/ 39 w 113"/>
                    <a:gd name="T25" fmla="*/ 165 h 169"/>
                    <a:gd name="T26" fmla="*/ 24 w 113"/>
                    <a:gd name="T27" fmla="*/ 157 h 169"/>
                    <a:gd name="T28" fmla="*/ 12 w 113"/>
                    <a:gd name="T29" fmla="*/ 145 h 169"/>
                    <a:gd name="T30" fmla="*/ 3 w 113"/>
                    <a:gd name="T31" fmla="*/ 130 h 169"/>
                    <a:gd name="T32" fmla="*/ 0 w 113"/>
                    <a:gd name="T33" fmla="*/ 112 h 169"/>
                    <a:gd name="T34" fmla="*/ 0 w 113"/>
                    <a:gd name="T35" fmla="*/ 56 h 169"/>
                    <a:gd name="T36" fmla="*/ 3 w 113"/>
                    <a:gd name="T37" fmla="*/ 39 h 169"/>
                    <a:gd name="T38" fmla="*/ 12 w 113"/>
                    <a:gd name="T39" fmla="*/ 23 h 169"/>
                    <a:gd name="T40" fmla="*/ 24 w 113"/>
                    <a:gd name="T41" fmla="*/ 11 h 169"/>
                    <a:gd name="T42" fmla="*/ 39 w 113"/>
                    <a:gd name="T43" fmla="*/ 3 h 169"/>
                    <a:gd name="T44" fmla="*/ 57 w 113"/>
                    <a:gd name="T45" fmla="*/ 0 h 1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3" h="169">
                      <a:moveTo>
                        <a:pt x="57" y="0"/>
                      </a:moveTo>
                      <a:lnTo>
                        <a:pt x="74" y="3"/>
                      </a:lnTo>
                      <a:lnTo>
                        <a:pt x="89" y="11"/>
                      </a:lnTo>
                      <a:lnTo>
                        <a:pt x="102" y="23"/>
                      </a:lnTo>
                      <a:lnTo>
                        <a:pt x="110" y="39"/>
                      </a:lnTo>
                      <a:lnTo>
                        <a:pt x="113" y="56"/>
                      </a:lnTo>
                      <a:lnTo>
                        <a:pt x="113" y="112"/>
                      </a:lnTo>
                      <a:lnTo>
                        <a:pt x="110" y="130"/>
                      </a:lnTo>
                      <a:lnTo>
                        <a:pt x="102" y="145"/>
                      </a:lnTo>
                      <a:lnTo>
                        <a:pt x="89" y="157"/>
                      </a:lnTo>
                      <a:lnTo>
                        <a:pt x="74" y="165"/>
                      </a:lnTo>
                      <a:lnTo>
                        <a:pt x="57" y="169"/>
                      </a:lnTo>
                      <a:lnTo>
                        <a:pt x="39" y="165"/>
                      </a:lnTo>
                      <a:lnTo>
                        <a:pt x="24" y="157"/>
                      </a:lnTo>
                      <a:lnTo>
                        <a:pt x="12" y="145"/>
                      </a:lnTo>
                      <a:lnTo>
                        <a:pt x="3" y="130"/>
                      </a:lnTo>
                      <a:lnTo>
                        <a:pt x="0" y="112"/>
                      </a:lnTo>
                      <a:lnTo>
                        <a:pt x="0" y="56"/>
                      </a:lnTo>
                      <a:lnTo>
                        <a:pt x="3" y="39"/>
                      </a:lnTo>
                      <a:lnTo>
                        <a:pt x="12" y="23"/>
                      </a:lnTo>
                      <a:lnTo>
                        <a:pt x="24" y="11"/>
                      </a:lnTo>
                      <a:lnTo>
                        <a:pt x="39" y="3"/>
                      </a:lnTo>
                      <a:lnTo>
                        <a:pt x="5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6" name="Freeform 447"/>
                <p:cNvSpPr>
                  <a:spLocks/>
                </p:cNvSpPr>
                <p:nvPr/>
              </p:nvSpPr>
              <p:spPr bwMode="auto">
                <a:xfrm>
                  <a:off x="9396413" y="3752851"/>
                  <a:ext cx="17463" cy="26988"/>
                </a:xfrm>
                <a:custGeom>
                  <a:avLst/>
                  <a:gdLst>
                    <a:gd name="T0" fmla="*/ 56 w 113"/>
                    <a:gd name="T1" fmla="*/ 0 h 168"/>
                    <a:gd name="T2" fmla="*/ 74 w 113"/>
                    <a:gd name="T3" fmla="*/ 3 h 168"/>
                    <a:gd name="T4" fmla="*/ 89 w 113"/>
                    <a:gd name="T5" fmla="*/ 11 h 168"/>
                    <a:gd name="T6" fmla="*/ 101 w 113"/>
                    <a:gd name="T7" fmla="*/ 24 h 168"/>
                    <a:gd name="T8" fmla="*/ 110 w 113"/>
                    <a:gd name="T9" fmla="*/ 39 h 168"/>
                    <a:gd name="T10" fmla="*/ 113 w 113"/>
                    <a:gd name="T11" fmla="*/ 56 h 168"/>
                    <a:gd name="T12" fmla="*/ 113 w 113"/>
                    <a:gd name="T13" fmla="*/ 112 h 168"/>
                    <a:gd name="T14" fmla="*/ 110 w 113"/>
                    <a:gd name="T15" fmla="*/ 130 h 168"/>
                    <a:gd name="T16" fmla="*/ 101 w 113"/>
                    <a:gd name="T17" fmla="*/ 145 h 168"/>
                    <a:gd name="T18" fmla="*/ 89 w 113"/>
                    <a:gd name="T19" fmla="*/ 158 h 168"/>
                    <a:gd name="T20" fmla="*/ 74 w 113"/>
                    <a:gd name="T21" fmla="*/ 166 h 168"/>
                    <a:gd name="T22" fmla="*/ 56 w 113"/>
                    <a:gd name="T23" fmla="*/ 168 h 168"/>
                    <a:gd name="T24" fmla="*/ 39 w 113"/>
                    <a:gd name="T25" fmla="*/ 166 h 168"/>
                    <a:gd name="T26" fmla="*/ 24 w 113"/>
                    <a:gd name="T27" fmla="*/ 158 h 168"/>
                    <a:gd name="T28" fmla="*/ 11 w 113"/>
                    <a:gd name="T29" fmla="*/ 145 h 168"/>
                    <a:gd name="T30" fmla="*/ 3 w 113"/>
                    <a:gd name="T31" fmla="*/ 130 h 168"/>
                    <a:gd name="T32" fmla="*/ 0 w 113"/>
                    <a:gd name="T33" fmla="*/ 112 h 168"/>
                    <a:gd name="T34" fmla="*/ 0 w 113"/>
                    <a:gd name="T35" fmla="*/ 56 h 168"/>
                    <a:gd name="T36" fmla="*/ 3 w 113"/>
                    <a:gd name="T37" fmla="*/ 39 h 168"/>
                    <a:gd name="T38" fmla="*/ 11 w 113"/>
                    <a:gd name="T39" fmla="*/ 24 h 168"/>
                    <a:gd name="T40" fmla="*/ 24 w 113"/>
                    <a:gd name="T41" fmla="*/ 11 h 168"/>
                    <a:gd name="T42" fmla="*/ 39 w 113"/>
                    <a:gd name="T43" fmla="*/ 3 h 168"/>
                    <a:gd name="T44" fmla="*/ 56 w 113"/>
                    <a:gd name="T45" fmla="*/ 0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3" h="168">
                      <a:moveTo>
                        <a:pt x="56" y="0"/>
                      </a:moveTo>
                      <a:lnTo>
                        <a:pt x="74" y="3"/>
                      </a:lnTo>
                      <a:lnTo>
                        <a:pt x="89" y="11"/>
                      </a:lnTo>
                      <a:lnTo>
                        <a:pt x="101" y="24"/>
                      </a:lnTo>
                      <a:lnTo>
                        <a:pt x="110" y="39"/>
                      </a:lnTo>
                      <a:lnTo>
                        <a:pt x="113" y="56"/>
                      </a:lnTo>
                      <a:lnTo>
                        <a:pt x="113" y="112"/>
                      </a:lnTo>
                      <a:lnTo>
                        <a:pt x="110" y="130"/>
                      </a:lnTo>
                      <a:lnTo>
                        <a:pt x="101" y="145"/>
                      </a:lnTo>
                      <a:lnTo>
                        <a:pt x="89" y="158"/>
                      </a:lnTo>
                      <a:lnTo>
                        <a:pt x="74" y="166"/>
                      </a:lnTo>
                      <a:lnTo>
                        <a:pt x="56" y="168"/>
                      </a:lnTo>
                      <a:lnTo>
                        <a:pt x="39" y="166"/>
                      </a:lnTo>
                      <a:lnTo>
                        <a:pt x="24" y="158"/>
                      </a:lnTo>
                      <a:lnTo>
                        <a:pt x="11" y="145"/>
                      </a:lnTo>
                      <a:lnTo>
                        <a:pt x="3" y="130"/>
                      </a:lnTo>
                      <a:lnTo>
                        <a:pt x="0" y="112"/>
                      </a:lnTo>
                      <a:lnTo>
                        <a:pt x="0" y="56"/>
                      </a:lnTo>
                      <a:lnTo>
                        <a:pt x="3" y="39"/>
                      </a:lnTo>
                      <a:lnTo>
                        <a:pt x="11" y="24"/>
                      </a:lnTo>
                      <a:lnTo>
                        <a:pt x="24" y="11"/>
                      </a:lnTo>
                      <a:lnTo>
                        <a:pt x="39" y="3"/>
                      </a:lnTo>
                      <a:lnTo>
                        <a:pt x="5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7" name="Freeform 448"/>
                <p:cNvSpPr>
                  <a:spLocks/>
                </p:cNvSpPr>
                <p:nvPr/>
              </p:nvSpPr>
              <p:spPr bwMode="auto">
                <a:xfrm>
                  <a:off x="9440863" y="3752851"/>
                  <a:ext cx="17463" cy="26988"/>
                </a:xfrm>
                <a:custGeom>
                  <a:avLst/>
                  <a:gdLst>
                    <a:gd name="T0" fmla="*/ 56 w 112"/>
                    <a:gd name="T1" fmla="*/ 0 h 168"/>
                    <a:gd name="T2" fmla="*/ 73 w 112"/>
                    <a:gd name="T3" fmla="*/ 3 h 168"/>
                    <a:gd name="T4" fmla="*/ 89 w 112"/>
                    <a:gd name="T5" fmla="*/ 11 h 168"/>
                    <a:gd name="T6" fmla="*/ 101 w 112"/>
                    <a:gd name="T7" fmla="*/ 24 h 168"/>
                    <a:gd name="T8" fmla="*/ 109 w 112"/>
                    <a:gd name="T9" fmla="*/ 39 h 168"/>
                    <a:gd name="T10" fmla="*/ 112 w 112"/>
                    <a:gd name="T11" fmla="*/ 56 h 168"/>
                    <a:gd name="T12" fmla="*/ 112 w 112"/>
                    <a:gd name="T13" fmla="*/ 112 h 168"/>
                    <a:gd name="T14" fmla="*/ 109 w 112"/>
                    <a:gd name="T15" fmla="*/ 130 h 168"/>
                    <a:gd name="T16" fmla="*/ 101 w 112"/>
                    <a:gd name="T17" fmla="*/ 145 h 168"/>
                    <a:gd name="T18" fmla="*/ 89 w 112"/>
                    <a:gd name="T19" fmla="*/ 158 h 168"/>
                    <a:gd name="T20" fmla="*/ 73 w 112"/>
                    <a:gd name="T21" fmla="*/ 166 h 168"/>
                    <a:gd name="T22" fmla="*/ 56 w 112"/>
                    <a:gd name="T23" fmla="*/ 168 h 168"/>
                    <a:gd name="T24" fmla="*/ 39 w 112"/>
                    <a:gd name="T25" fmla="*/ 166 h 168"/>
                    <a:gd name="T26" fmla="*/ 23 w 112"/>
                    <a:gd name="T27" fmla="*/ 158 h 168"/>
                    <a:gd name="T28" fmla="*/ 11 w 112"/>
                    <a:gd name="T29" fmla="*/ 145 h 168"/>
                    <a:gd name="T30" fmla="*/ 3 w 112"/>
                    <a:gd name="T31" fmla="*/ 130 h 168"/>
                    <a:gd name="T32" fmla="*/ 0 w 112"/>
                    <a:gd name="T33" fmla="*/ 112 h 168"/>
                    <a:gd name="T34" fmla="*/ 0 w 112"/>
                    <a:gd name="T35" fmla="*/ 56 h 168"/>
                    <a:gd name="T36" fmla="*/ 3 w 112"/>
                    <a:gd name="T37" fmla="*/ 39 h 168"/>
                    <a:gd name="T38" fmla="*/ 11 w 112"/>
                    <a:gd name="T39" fmla="*/ 24 h 168"/>
                    <a:gd name="T40" fmla="*/ 23 w 112"/>
                    <a:gd name="T41" fmla="*/ 11 h 168"/>
                    <a:gd name="T42" fmla="*/ 39 w 112"/>
                    <a:gd name="T43" fmla="*/ 3 h 168"/>
                    <a:gd name="T44" fmla="*/ 56 w 112"/>
                    <a:gd name="T45" fmla="*/ 0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2" h="168">
                      <a:moveTo>
                        <a:pt x="56" y="0"/>
                      </a:moveTo>
                      <a:lnTo>
                        <a:pt x="73" y="3"/>
                      </a:lnTo>
                      <a:lnTo>
                        <a:pt x="89" y="11"/>
                      </a:lnTo>
                      <a:lnTo>
                        <a:pt x="101" y="24"/>
                      </a:lnTo>
                      <a:lnTo>
                        <a:pt x="109" y="39"/>
                      </a:lnTo>
                      <a:lnTo>
                        <a:pt x="112" y="56"/>
                      </a:lnTo>
                      <a:lnTo>
                        <a:pt x="112" y="112"/>
                      </a:lnTo>
                      <a:lnTo>
                        <a:pt x="109" y="130"/>
                      </a:lnTo>
                      <a:lnTo>
                        <a:pt x="101" y="145"/>
                      </a:lnTo>
                      <a:lnTo>
                        <a:pt x="89" y="158"/>
                      </a:lnTo>
                      <a:lnTo>
                        <a:pt x="73" y="166"/>
                      </a:lnTo>
                      <a:lnTo>
                        <a:pt x="56" y="168"/>
                      </a:lnTo>
                      <a:lnTo>
                        <a:pt x="39" y="166"/>
                      </a:lnTo>
                      <a:lnTo>
                        <a:pt x="23" y="158"/>
                      </a:lnTo>
                      <a:lnTo>
                        <a:pt x="11" y="145"/>
                      </a:lnTo>
                      <a:lnTo>
                        <a:pt x="3" y="130"/>
                      </a:lnTo>
                      <a:lnTo>
                        <a:pt x="0" y="112"/>
                      </a:lnTo>
                      <a:lnTo>
                        <a:pt x="0" y="56"/>
                      </a:lnTo>
                      <a:lnTo>
                        <a:pt x="3" y="39"/>
                      </a:lnTo>
                      <a:lnTo>
                        <a:pt x="11" y="24"/>
                      </a:lnTo>
                      <a:lnTo>
                        <a:pt x="23" y="11"/>
                      </a:lnTo>
                      <a:lnTo>
                        <a:pt x="39" y="3"/>
                      </a:lnTo>
                      <a:lnTo>
                        <a:pt x="5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8" name="Freeform 449"/>
                <p:cNvSpPr>
                  <a:spLocks/>
                </p:cNvSpPr>
                <p:nvPr/>
              </p:nvSpPr>
              <p:spPr bwMode="auto">
                <a:xfrm>
                  <a:off x="9485313" y="3752851"/>
                  <a:ext cx="17463" cy="26988"/>
                </a:xfrm>
                <a:custGeom>
                  <a:avLst/>
                  <a:gdLst>
                    <a:gd name="T0" fmla="*/ 57 w 113"/>
                    <a:gd name="T1" fmla="*/ 0 h 168"/>
                    <a:gd name="T2" fmla="*/ 74 w 113"/>
                    <a:gd name="T3" fmla="*/ 3 h 168"/>
                    <a:gd name="T4" fmla="*/ 89 w 113"/>
                    <a:gd name="T5" fmla="*/ 11 h 168"/>
                    <a:gd name="T6" fmla="*/ 102 w 113"/>
                    <a:gd name="T7" fmla="*/ 24 h 168"/>
                    <a:gd name="T8" fmla="*/ 110 w 113"/>
                    <a:gd name="T9" fmla="*/ 39 h 168"/>
                    <a:gd name="T10" fmla="*/ 113 w 113"/>
                    <a:gd name="T11" fmla="*/ 56 h 168"/>
                    <a:gd name="T12" fmla="*/ 113 w 113"/>
                    <a:gd name="T13" fmla="*/ 112 h 168"/>
                    <a:gd name="T14" fmla="*/ 110 w 113"/>
                    <a:gd name="T15" fmla="*/ 130 h 168"/>
                    <a:gd name="T16" fmla="*/ 102 w 113"/>
                    <a:gd name="T17" fmla="*/ 145 h 168"/>
                    <a:gd name="T18" fmla="*/ 89 w 113"/>
                    <a:gd name="T19" fmla="*/ 158 h 168"/>
                    <a:gd name="T20" fmla="*/ 74 w 113"/>
                    <a:gd name="T21" fmla="*/ 166 h 168"/>
                    <a:gd name="T22" fmla="*/ 57 w 113"/>
                    <a:gd name="T23" fmla="*/ 168 h 168"/>
                    <a:gd name="T24" fmla="*/ 39 w 113"/>
                    <a:gd name="T25" fmla="*/ 166 h 168"/>
                    <a:gd name="T26" fmla="*/ 24 w 113"/>
                    <a:gd name="T27" fmla="*/ 158 h 168"/>
                    <a:gd name="T28" fmla="*/ 12 w 113"/>
                    <a:gd name="T29" fmla="*/ 145 h 168"/>
                    <a:gd name="T30" fmla="*/ 3 w 113"/>
                    <a:gd name="T31" fmla="*/ 130 h 168"/>
                    <a:gd name="T32" fmla="*/ 0 w 113"/>
                    <a:gd name="T33" fmla="*/ 112 h 168"/>
                    <a:gd name="T34" fmla="*/ 0 w 113"/>
                    <a:gd name="T35" fmla="*/ 56 h 168"/>
                    <a:gd name="T36" fmla="*/ 3 w 113"/>
                    <a:gd name="T37" fmla="*/ 39 h 168"/>
                    <a:gd name="T38" fmla="*/ 12 w 113"/>
                    <a:gd name="T39" fmla="*/ 24 h 168"/>
                    <a:gd name="T40" fmla="*/ 24 w 113"/>
                    <a:gd name="T41" fmla="*/ 11 h 168"/>
                    <a:gd name="T42" fmla="*/ 39 w 113"/>
                    <a:gd name="T43" fmla="*/ 3 h 168"/>
                    <a:gd name="T44" fmla="*/ 57 w 113"/>
                    <a:gd name="T45" fmla="*/ 0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3" h="168">
                      <a:moveTo>
                        <a:pt x="57" y="0"/>
                      </a:moveTo>
                      <a:lnTo>
                        <a:pt x="74" y="3"/>
                      </a:lnTo>
                      <a:lnTo>
                        <a:pt x="89" y="11"/>
                      </a:lnTo>
                      <a:lnTo>
                        <a:pt x="102" y="24"/>
                      </a:lnTo>
                      <a:lnTo>
                        <a:pt x="110" y="39"/>
                      </a:lnTo>
                      <a:lnTo>
                        <a:pt x="113" y="56"/>
                      </a:lnTo>
                      <a:lnTo>
                        <a:pt x="113" y="112"/>
                      </a:lnTo>
                      <a:lnTo>
                        <a:pt x="110" y="130"/>
                      </a:lnTo>
                      <a:lnTo>
                        <a:pt x="102" y="145"/>
                      </a:lnTo>
                      <a:lnTo>
                        <a:pt x="89" y="158"/>
                      </a:lnTo>
                      <a:lnTo>
                        <a:pt x="74" y="166"/>
                      </a:lnTo>
                      <a:lnTo>
                        <a:pt x="57" y="168"/>
                      </a:lnTo>
                      <a:lnTo>
                        <a:pt x="39" y="166"/>
                      </a:lnTo>
                      <a:lnTo>
                        <a:pt x="24" y="158"/>
                      </a:lnTo>
                      <a:lnTo>
                        <a:pt x="12" y="145"/>
                      </a:lnTo>
                      <a:lnTo>
                        <a:pt x="3" y="130"/>
                      </a:lnTo>
                      <a:lnTo>
                        <a:pt x="0" y="112"/>
                      </a:lnTo>
                      <a:lnTo>
                        <a:pt x="0" y="56"/>
                      </a:lnTo>
                      <a:lnTo>
                        <a:pt x="3" y="39"/>
                      </a:lnTo>
                      <a:lnTo>
                        <a:pt x="12" y="24"/>
                      </a:lnTo>
                      <a:lnTo>
                        <a:pt x="24" y="11"/>
                      </a:lnTo>
                      <a:lnTo>
                        <a:pt x="39" y="3"/>
                      </a:lnTo>
                      <a:lnTo>
                        <a:pt x="5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89" name="Freeform 450"/>
                <p:cNvSpPr>
                  <a:spLocks/>
                </p:cNvSpPr>
                <p:nvPr/>
              </p:nvSpPr>
              <p:spPr bwMode="auto">
                <a:xfrm>
                  <a:off x="9396413" y="3787776"/>
                  <a:ext cx="17463" cy="26988"/>
                </a:xfrm>
                <a:custGeom>
                  <a:avLst/>
                  <a:gdLst>
                    <a:gd name="T0" fmla="*/ 56 w 113"/>
                    <a:gd name="T1" fmla="*/ 0 h 166"/>
                    <a:gd name="T2" fmla="*/ 74 w 113"/>
                    <a:gd name="T3" fmla="*/ 2 h 166"/>
                    <a:gd name="T4" fmla="*/ 89 w 113"/>
                    <a:gd name="T5" fmla="*/ 10 h 166"/>
                    <a:gd name="T6" fmla="*/ 101 w 113"/>
                    <a:gd name="T7" fmla="*/ 22 h 166"/>
                    <a:gd name="T8" fmla="*/ 110 w 113"/>
                    <a:gd name="T9" fmla="*/ 37 h 166"/>
                    <a:gd name="T10" fmla="*/ 113 w 113"/>
                    <a:gd name="T11" fmla="*/ 54 h 166"/>
                    <a:gd name="T12" fmla="*/ 113 w 113"/>
                    <a:gd name="T13" fmla="*/ 110 h 166"/>
                    <a:gd name="T14" fmla="*/ 110 w 113"/>
                    <a:gd name="T15" fmla="*/ 129 h 166"/>
                    <a:gd name="T16" fmla="*/ 101 w 113"/>
                    <a:gd name="T17" fmla="*/ 144 h 166"/>
                    <a:gd name="T18" fmla="*/ 89 w 113"/>
                    <a:gd name="T19" fmla="*/ 156 h 166"/>
                    <a:gd name="T20" fmla="*/ 74 w 113"/>
                    <a:gd name="T21" fmla="*/ 164 h 166"/>
                    <a:gd name="T22" fmla="*/ 56 w 113"/>
                    <a:gd name="T23" fmla="*/ 166 h 166"/>
                    <a:gd name="T24" fmla="*/ 39 w 113"/>
                    <a:gd name="T25" fmla="*/ 164 h 166"/>
                    <a:gd name="T26" fmla="*/ 24 w 113"/>
                    <a:gd name="T27" fmla="*/ 156 h 166"/>
                    <a:gd name="T28" fmla="*/ 11 w 113"/>
                    <a:gd name="T29" fmla="*/ 144 h 166"/>
                    <a:gd name="T30" fmla="*/ 3 w 113"/>
                    <a:gd name="T31" fmla="*/ 129 h 166"/>
                    <a:gd name="T32" fmla="*/ 0 w 113"/>
                    <a:gd name="T33" fmla="*/ 110 h 166"/>
                    <a:gd name="T34" fmla="*/ 0 w 113"/>
                    <a:gd name="T35" fmla="*/ 54 h 166"/>
                    <a:gd name="T36" fmla="*/ 3 w 113"/>
                    <a:gd name="T37" fmla="*/ 37 h 166"/>
                    <a:gd name="T38" fmla="*/ 11 w 113"/>
                    <a:gd name="T39" fmla="*/ 22 h 166"/>
                    <a:gd name="T40" fmla="*/ 24 w 113"/>
                    <a:gd name="T41" fmla="*/ 10 h 166"/>
                    <a:gd name="T42" fmla="*/ 39 w 113"/>
                    <a:gd name="T43" fmla="*/ 2 h 166"/>
                    <a:gd name="T44" fmla="*/ 56 w 113"/>
                    <a:gd name="T45" fmla="*/ 0 h 1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3" h="166">
                      <a:moveTo>
                        <a:pt x="56" y="0"/>
                      </a:moveTo>
                      <a:lnTo>
                        <a:pt x="74" y="2"/>
                      </a:lnTo>
                      <a:lnTo>
                        <a:pt x="89" y="10"/>
                      </a:lnTo>
                      <a:lnTo>
                        <a:pt x="101" y="22"/>
                      </a:lnTo>
                      <a:lnTo>
                        <a:pt x="110" y="37"/>
                      </a:lnTo>
                      <a:lnTo>
                        <a:pt x="113" y="54"/>
                      </a:lnTo>
                      <a:lnTo>
                        <a:pt x="113" y="110"/>
                      </a:lnTo>
                      <a:lnTo>
                        <a:pt x="110" y="129"/>
                      </a:lnTo>
                      <a:lnTo>
                        <a:pt x="101" y="144"/>
                      </a:lnTo>
                      <a:lnTo>
                        <a:pt x="89" y="156"/>
                      </a:lnTo>
                      <a:lnTo>
                        <a:pt x="74" y="164"/>
                      </a:lnTo>
                      <a:lnTo>
                        <a:pt x="56" y="166"/>
                      </a:lnTo>
                      <a:lnTo>
                        <a:pt x="39" y="164"/>
                      </a:lnTo>
                      <a:lnTo>
                        <a:pt x="24" y="156"/>
                      </a:lnTo>
                      <a:lnTo>
                        <a:pt x="11" y="144"/>
                      </a:lnTo>
                      <a:lnTo>
                        <a:pt x="3" y="129"/>
                      </a:lnTo>
                      <a:lnTo>
                        <a:pt x="0" y="110"/>
                      </a:lnTo>
                      <a:lnTo>
                        <a:pt x="0" y="54"/>
                      </a:lnTo>
                      <a:lnTo>
                        <a:pt x="3" y="37"/>
                      </a:lnTo>
                      <a:lnTo>
                        <a:pt x="11" y="22"/>
                      </a:lnTo>
                      <a:lnTo>
                        <a:pt x="24" y="10"/>
                      </a:lnTo>
                      <a:lnTo>
                        <a:pt x="39" y="2"/>
                      </a:lnTo>
                      <a:lnTo>
                        <a:pt x="5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0" name="Freeform 451"/>
                <p:cNvSpPr>
                  <a:spLocks/>
                </p:cNvSpPr>
                <p:nvPr/>
              </p:nvSpPr>
              <p:spPr bwMode="auto">
                <a:xfrm>
                  <a:off x="9440863" y="3787776"/>
                  <a:ext cx="17463" cy="26988"/>
                </a:xfrm>
                <a:custGeom>
                  <a:avLst/>
                  <a:gdLst>
                    <a:gd name="T0" fmla="*/ 56 w 112"/>
                    <a:gd name="T1" fmla="*/ 0 h 166"/>
                    <a:gd name="T2" fmla="*/ 73 w 112"/>
                    <a:gd name="T3" fmla="*/ 2 h 166"/>
                    <a:gd name="T4" fmla="*/ 89 w 112"/>
                    <a:gd name="T5" fmla="*/ 10 h 166"/>
                    <a:gd name="T6" fmla="*/ 101 w 112"/>
                    <a:gd name="T7" fmla="*/ 22 h 166"/>
                    <a:gd name="T8" fmla="*/ 109 w 112"/>
                    <a:gd name="T9" fmla="*/ 37 h 166"/>
                    <a:gd name="T10" fmla="*/ 112 w 112"/>
                    <a:gd name="T11" fmla="*/ 54 h 166"/>
                    <a:gd name="T12" fmla="*/ 112 w 112"/>
                    <a:gd name="T13" fmla="*/ 110 h 166"/>
                    <a:gd name="T14" fmla="*/ 109 w 112"/>
                    <a:gd name="T15" fmla="*/ 129 h 166"/>
                    <a:gd name="T16" fmla="*/ 101 w 112"/>
                    <a:gd name="T17" fmla="*/ 144 h 166"/>
                    <a:gd name="T18" fmla="*/ 89 w 112"/>
                    <a:gd name="T19" fmla="*/ 156 h 166"/>
                    <a:gd name="T20" fmla="*/ 73 w 112"/>
                    <a:gd name="T21" fmla="*/ 164 h 166"/>
                    <a:gd name="T22" fmla="*/ 56 w 112"/>
                    <a:gd name="T23" fmla="*/ 166 h 166"/>
                    <a:gd name="T24" fmla="*/ 39 w 112"/>
                    <a:gd name="T25" fmla="*/ 164 h 166"/>
                    <a:gd name="T26" fmla="*/ 23 w 112"/>
                    <a:gd name="T27" fmla="*/ 156 h 166"/>
                    <a:gd name="T28" fmla="*/ 11 w 112"/>
                    <a:gd name="T29" fmla="*/ 144 h 166"/>
                    <a:gd name="T30" fmla="*/ 3 w 112"/>
                    <a:gd name="T31" fmla="*/ 129 h 166"/>
                    <a:gd name="T32" fmla="*/ 0 w 112"/>
                    <a:gd name="T33" fmla="*/ 110 h 166"/>
                    <a:gd name="T34" fmla="*/ 0 w 112"/>
                    <a:gd name="T35" fmla="*/ 54 h 166"/>
                    <a:gd name="T36" fmla="*/ 3 w 112"/>
                    <a:gd name="T37" fmla="*/ 37 h 166"/>
                    <a:gd name="T38" fmla="*/ 11 w 112"/>
                    <a:gd name="T39" fmla="*/ 22 h 166"/>
                    <a:gd name="T40" fmla="*/ 23 w 112"/>
                    <a:gd name="T41" fmla="*/ 10 h 166"/>
                    <a:gd name="T42" fmla="*/ 39 w 112"/>
                    <a:gd name="T43" fmla="*/ 2 h 166"/>
                    <a:gd name="T44" fmla="*/ 56 w 112"/>
                    <a:gd name="T45" fmla="*/ 0 h 1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2" h="166">
                      <a:moveTo>
                        <a:pt x="56" y="0"/>
                      </a:moveTo>
                      <a:lnTo>
                        <a:pt x="73" y="2"/>
                      </a:lnTo>
                      <a:lnTo>
                        <a:pt x="89" y="10"/>
                      </a:lnTo>
                      <a:lnTo>
                        <a:pt x="101" y="22"/>
                      </a:lnTo>
                      <a:lnTo>
                        <a:pt x="109" y="37"/>
                      </a:lnTo>
                      <a:lnTo>
                        <a:pt x="112" y="54"/>
                      </a:lnTo>
                      <a:lnTo>
                        <a:pt x="112" y="110"/>
                      </a:lnTo>
                      <a:lnTo>
                        <a:pt x="109" y="129"/>
                      </a:lnTo>
                      <a:lnTo>
                        <a:pt x="101" y="144"/>
                      </a:lnTo>
                      <a:lnTo>
                        <a:pt x="89" y="156"/>
                      </a:lnTo>
                      <a:lnTo>
                        <a:pt x="73" y="164"/>
                      </a:lnTo>
                      <a:lnTo>
                        <a:pt x="56" y="166"/>
                      </a:lnTo>
                      <a:lnTo>
                        <a:pt x="39" y="164"/>
                      </a:lnTo>
                      <a:lnTo>
                        <a:pt x="23" y="156"/>
                      </a:lnTo>
                      <a:lnTo>
                        <a:pt x="11" y="144"/>
                      </a:lnTo>
                      <a:lnTo>
                        <a:pt x="3" y="129"/>
                      </a:lnTo>
                      <a:lnTo>
                        <a:pt x="0" y="110"/>
                      </a:lnTo>
                      <a:lnTo>
                        <a:pt x="0" y="54"/>
                      </a:lnTo>
                      <a:lnTo>
                        <a:pt x="3" y="37"/>
                      </a:lnTo>
                      <a:lnTo>
                        <a:pt x="11" y="22"/>
                      </a:lnTo>
                      <a:lnTo>
                        <a:pt x="23" y="10"/>
                      </a:lnTo>
                      <a:lnTo>
                        <a:pt x="39" y="2"/>
                      </a:lnTo>
                      <a:lnTo>
                        <a:pt x="5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1" name="Freeform 452"/>
                <p:cNvSpPr>
                  <a:spLocks/>
                </p:cNvSpPr>
                <p:nvPr/>
              </p:nvSpPr>
              <p:spPr bwMode="auto">
                <a:xfrm>
                  <a:off x="9485313" y="3787776"/>
                  <a:ext cx="17463" cy="26988"/>
                </a:xfrm>
                <a:custGeom>
                  <a:avLst/>
                  <a:gdLst>
                    <a:gd name="T0" fmla="*/ 57 w 113"/>
                    <a:gd name="T1" fmla="*/ 0 h 166"/>
                    <a:gd name="T2" fmla="*/ 74 w 113"/>
                    <a:gd name="T3" fmla="*/ 2 h 166"/>
                    <a:gd name="T4" fmla="*/ 89 w 113"/>
                    <a:gd name="T5" fmla="*/ 10 h 166"/>
                    <a:gd name="T6" fmla="*/ 102 w 113"/>
                    <a:gd name="T7" fmla="*/ 22 h 166"/>
                    <a:gd name="T8" fmla="*/ 110 w 113"/>
                    <a:gd name="T9" fmla="*/ 37 h 166"/>
                    <a:gd name="T10" fmla="*/ 113 w 113"/>
                    <a:gd name="T11" fmla="*/ 54 h 166"/>
                    <a:gd name="T12" fmla="*/ 113 w 113"/>
                    <a:gd name="T13" fmla="*/ 110 h 166"/>
                    <a:gd name="T14" fmla="*/ 110 w 113"/>
                    <a:gd name="T15" fmla="*/ 129 h 166"/>
                    <a:gd name="T16" fmla="*/ 102 w 113"/>
                    <a:gd name="T17" fmla="*/ 144 h 166"/>
                    <a:gd name="T18" fmla="*/ 89 w 113"/>
                    <a:gd name="T19" fmla="*/ 156 h 166"/>
                    <a:gd name="T20" fmla="*/ 74 w 113"/>
                    <a:gd name="T21" fmla="*/ 164 h 166"/>
                    <a:gd name="T22" fmla="*/ 57 w 113"/>
                    <a:gd name="T23" fmla="*/ 166 h 166"/>
                    <a:gd name="T24" fmla="*/ 39 w 113"/>
                    <a:gd name="T25" fmla="*/ 164 h 166"/>
                    <a:gd name="T26" fmla="*/ 24 w 113"/>
                    <a:gd name="T27" fmla="*/ 156 h 166"/>
                    <a:gd name="T28" fmla="*/ 12 w 113"/>
                    <a:gd name="T29" fmla="*/ 144 h 166"/>
                    <a:gd name="T30" fmla="*/ 3 w 113"/>
                    <a:gd name="T31" fmla="*/ 129 h 166"/>
                    <a:gd name="T32" fmla="*/ 0 w 113"/>
                    <a:gd name="T33" fmla="*/ 110 h 166"/>
                    <a:gd name="T34" fmla="*/ 0 w 113"/>
                    <a:gd name="T35" fmla="*/ 54 h 166"/>
                    <a:gd name="T36" fmla="*/ 3 w 113"/>
                    <a:gd name="T37" fmla="*/ 37 h 166"/>
                    <a:gd name="T38" fmla="*/ 12 w 113"/>
                    <a:gd name="T39" fmla="*/ 22 h 166"/>
                    <a:gd name="T40" fmla="*/ 24 w 113"/>
                    <a:gd name="T41" fmla="*/ 10 h 166"/>
                    <a:gd name="T42" fmla="*/ 39 w 113"/>
                    <a:gd name="T43" fmla="*/ 2 h 166"/>
                    <a:gd name="T44" fmla="*/ 57 w 113"/>
                    <a:gd name="T45" fmla="*/ 0 h 1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3" h="166">
                      <a:moveTo>
                        <a:pt x="57" y="0"/>
                      </a:moveTo>
                      <a:lnTo>
                        <a:pt x="74" y="2"/>
                      </a:lnTo>
                      <a:lnTo>
                        <a:pt x="89" y="10"/>
                      </a:lnTo>
                      <a:lnTo>
                        <a:pt x="102" y="22"/>
                      </a:lnTo>
                      <a:lnTo>
                        <a:pt x="110" y="37"/>
                      </a:lnTo>
                      <a:lnTo>
                        <a:pt x="113" y="54"/>
                      </a:lnTo>
                      <a:lnTo>
                        <a:pt x="113" y="110"/>
                      </a:lnTo>
                      <a:lnTo>
                        <a:pt x="110" y="129"/>
                      </a:lnTo>
                      <a:lnTo>
                        <a:pt x="102" y="144"/>
                      </a:lnTo>
                      <a:lnTo>
                        <a:pt x="89" y="156"/>
                      </a:lnTo>
                      <a:lnTo>
                        <a:pt x="74" y="164"/>
                      </a:lnTo>
                      <a:lnTo>
                        <a:pt x="57" y="166"/>
                      </a:lnTo>
                      <a:lnTo>
                        <a:pt x="39" y="164"/>
                      </a:lnTo>
                      <a:lnTo>
                        <a:pt x="24" y="156"/>
                      </a:lnTo>
                      <a:lnTo>
                        <a:pt x="12" y="144"/>
                      </a:lnTo>
                      <a:lnTo>
                        <a:pt x="3" y="129"/>
                      </a:lnTo>
                      <a:lnTo>
                        <a:pt x="0" y="110"/>
                      </a:lnTo>
                      <a:lnTo>
                        <a:pt x="0" y="54"/>
                      </a:lnTo>
                      <a:lnTo>
                        <a:pt x="3" y="37"/>
                      </a:lnTo>
                      <a:lnTo>
                        <a:pt x="12" y="22"/>
                      </a:lnTo>
                      <a:lnTo>
                        <a:pt x="24" y="10"/>
                      </a:lnTo>
                      <a:lnTo>
                        <a:pt x="39" y="2"/>
                      </a:lnTo>
                      <a:lnTo>
                        <a:pt x="5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92" name="Freeform 453"/>
                <p:cNvSpPr>
                  <a:spLocks noEditPoints="1"/>
                </p:cNvSpPr>
                <p:nvPr/>
              </p:nvSpPr>
              <p:spPr bwMode="auto">
                <a:xfrm>
                  <a:off x="9386888" y="3636963"/>
                  <a:ext cx="125413" cy="53975"/>
                </a:xfrm>
                <a:custGeom>
                  <a:avLst/>
                  <a:gdLst>
                    <a:gd name="T0" fmla="*/ 112 w 788"/>
                    <a:gd name="T1" fmla="*/ 112 h 335"/>
                    <a:gd name="T2" fmla="*/ 112 w 788"/>
                    <a:gd name="T3" fmla="*/ 223 h 335"/>
                    <a:gd name="T4" fmla="*/ 676 w 788"/>
                    <a:gd name="T5" fmla="*/ 223 h 335"/>
                    <a:gd name="T6" fmla="*/ 676 w 788"/>
                    <a:gd name="T7" fmla="*/ 112 h 335"/>
                    <a:gd name="T8" fmla="*/ 112 w 788"/>
                    <a:gd name="T9" fmla="*/ 112 h 335"/>
                    <a:gd name="T10" fmla="*/ 0 w 788"/>
                    <a:gd name="T11" fmla="*/ 0 h 335"/>
                    <a:gd name="T12" fmla="*/ 788 w 788"/>
                    <a:gd name="T13" fmla="*/ 0 h 335"/>
                    <a:gd name="T14" fmla="*/ 788 w 788"/>
                    <a:gd name="T15" fmla="*/ 335 h 335"/>
                    <a:gd name="T16" fmla="*/ 0 w 788"/>
                    <a:gd name="T17" fmla="*/ 335 h 335"/>
                    <a:gd name="T18" fmla="*/ 0 w 788"/>
                    <a:gd name="T19" fmla="*/ 0 h 3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88" h="335">
                      <a:moveTo>
                        <a:pt x="112" y="112"/>
                      </a:moveTo>
                      <a:lnTo>
                        <a:pt x="112" y="223"/>
                      </a:lnTo>
                      <a:lnTo>
                        <a:pt x="676" y="223"/>
                      </a:lnTo>
                      <a:lnTo>
                        <a:pt x="676" y="112"/>
                      </a:lnTo>
                      <a:lnTo>
                        <a:pt x="112" y="112"/>
                      </a:lnTo>
                      <a:close/>
                      <a:moveTo>
                        <a:pt x="0" y="0"/>
                      </a:moveTo>
                      <a:lnTo>
                        <a:pt x="788" y="0"/>
                      </a:lnTo>
                      <a:lnTo>
                        <a:pt x="788" y="335"/>
                      </a:lnTo>
                      <a:lnTo>
                        <a:pt x="0" y="33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17" name="Group 1179"/>
              <p:cNvGrpSpPr/>
              <p:nvPr/>
            </p:nvGrpSpPr>
            <p:grpSpPr>
              <a:xfrm>
                <a:off x="3296490" y="4251519"/>
                <a:ext cx="550863" cy="311150"/>
                <a:chOff x="685800" y="5899150"/>
                <a:chExt cx="550863" cy="311150"/>
              </a:xfrm>
              <a:solidFill>
                <a:schemeClr val="bg1"/>
              </a:solidFill>
            </p:grpSpPr>
            <p:sp>
              <p:nvSpPr>
                <p:cNvPr id="77" name="Freeform 572"/>
                <p:cNvSpPr>
                  <a:spLocks/>
                </p:cNvSpPr>
                <p:nvPr/>
              </p:nvSpPr>
              <p:spPr bwMode="auto">
                <a:xfrm>
                  <a:off x="1068388" y="5965825"/>
                  <a:ext cx="168275" cy="244475"/>
                </a:xfrm>
                <a:custGeom>
                  <a:avLst/>
                  <a:gdLst>
                    <a:gd name="T0" fmla="*/ 409 w 1059"/>
                    <a:gd name="T1" fmla="*/ 2 h 1545"/>
                    <a:gd name="T2" fmla="*/ 524 w 1059"/>
                    <a:gd name="T3" fmla="*/ 43 h 1545"/>
                    <a:gd name="T4" fmla="*/ 613 w 1059"/>
                    <a:gd name="T5" fmla="*/ 121 h 1545"/>
                    <a:gd name="T6" fmla="*/ 666 w 1059"/>
                    <a:gd name="T7" fmla="*/ 229 h 1545"/>
                    <a:gd name="T8" fmla="*/ 678 w 1059"/>
                    <a:gd name="T9" fmla="*/ 578 h 1545"/>
                    <a:gd name="T10" fmla="*/ 658 w 1059"/>
                    <a:gd name="T11" fmla="*/ 664 h 1545"/>
                    <a:gd name="T12" fmla="*/ 624 w 1059"/>
                    <a:gd name="T13" fmla="*/ 901 h 1545"/>
                    <a:gd name="T14" fmla="*/ 706 w 1059"/>
                    <a:gd name="T15" fmla="*/ 946 h 1545"/>
                    <a:gd name="T16" fmla="*/ 817 w 1059"/>
                    <a:gd name="T17" fmla="*/ 1014 h 1545"/>
                    <a:gd name="T18" fmla="*/ 943 w 1059"/>
                    <a:gd name="T19" fmla="*/ 1104 h 1545"/>
                    <a:gd name="T20" fmla="*/ 1025 w 1059"/>
                    <a:gd name="T21" fmla="*/ 1181 h 1545"/>
                    <a:gd name="T22" fmla="*/ 1057 w 1059"/>
                    <a:gd name="T23" fmla="*/ 1262 h 1545"/>
                    <a:gd name="T24" fmla="*/ 1056 w 1059"/>
                    <a:gd name="T25" fmla="*/ 1494 h 1545"/>
                    <a:gd name="T26" fmla="*/ 1024 w 1059"/>
                    <a:gd name="T27" fmla="*/ 1536 h 1545"/>
                    <a:gd name="T28" fmla="*/ 969 w 1059"/>
                    <a:gd name="T29" fmla="*/ 1543 h 1545"/>
                    <a:gd name="T30" fmla="*/ 928 w 1059"/>
                    <a:gd name="T31" fmla="*/ 1511 h 1545"/>
                    <a:gd name="T32" fmla="*/ 918 w 1059"/>
                    <a:gd name="T33" fmla="*/ 1292 h 1545"/>
                    <a:gd name="T34" fmla="*/ 896 w 1059"/>
                    <a:gd name="T35" fmla="*/ 1246 h 1545"/>
                    <a:gd name="T36" fmla="*/ 786 w 1059"/>
                    <a:gd name="T37" fmla="*/ 1162 h 1545"/>
                    <a:gd name="T38" fmla="*/ 682 w 1059"/>
                    <a:gd name="T39" fmla="*/ 1094 h 1545"/>
                    <a:gd name="T40" fmla="*/ 597 w 1059"/>
                    <a:gd name="T41" fmla="*/ 1045 h 1545"/>
                    <a:gd name="T42" fmla="*/ 541 w 1059"/>
                    <a:gd name="T43" fmla="*/ 1015 h 1545"/>
                    <a:gd name="T44" fmla="*/ 502 w 1059"/>
                    <a:gd name="T45" fmla="*/ 987 h 1545"/>
                    <a:gd name="T46" fmla="*/ 485 w 1059"/>
                    <a:gd name="T47" fmla="*/ 937 h 1545"/>
                    <a:gd name="T48" fmla="*/ 492 w 1059"/>
                    <a:gd name="T49" fmla="*/ 645 h 1545"/>
                    <a:gd name="T50" fmla="*/ 528 w 1059"/>
                    <a:gd name="T51" fmla="*/ 609 h 1545"/>
                    <a:gd name="T52" fmla="*/ 539 w 1059"/>
                    <a:gd name="T53" fmla="*/ 311 h 1545"/>
                    <a:gd name="T54" fmla="*/ 516 w 1059"/>
                    <a:gd name="T55" fmla="*/ 225 h 1545"/>
                    <a:gd name="T56" fmla="*/ 454 w 1059"/>
                    <a:gd name="T57" fmla="*/ 164 h 1545"/>
                    <a:gd name="T58" fmla="*/ 368 w 1059"/>
                    <a:gd name="T59" fmla="*/ 141 h 1545"/>
                    <a:gd name="T60" fmla="*/ 251 w 1059"/>
                    <a:gd name="T61" fmla="*/ 151 h 1545"/>
                    <a:gd name="T62" fmla="*/ 180 w 1059"/>
                    <a:gd name="T63" fmla="*/ 201 h 1545"/>
                    <a:gd name="T64" fmla="*/ 143 w 1059"/>
                    <a:gd name="T65" fmla="*/ 280 h 1545"/>
                    <a:gd name="T66" fmla="*/ 143 w 1059"/>
                    <a:gd name="T67" fmla="*/ 595 h 1545"/>
                    <a:gd name="T68" fmla="*/ 176 w 1059"/>
                    <a:gd name="T69" fmla="*/ 632 h 1545"/>
                    <a:gd name="T70" fmla="*/ 194 w 1059"/>
                    <a:gd name="T71" fmla="*/ 679 h 1545"/>
                    <a:gd name="T72" fmla="*/ 184 w 1059"/>
                    <a:gd name="T73" fmla="*/ 838 h 1545"/>
                    <a:gd name="T74" fmla="*/ 142 w 1059"/>
                    <a:gd name="T75" fmla="*/ 870 h 1545"/>
                    <a:gd name="T76" fmla="*/ 88 w 1059"/>
                    <a:gd name="T77" fmla="*/ 864 h 1545"/>
                    <a:gd name="T78" fmla="*/ 56 w 1059"/>
                    <a:gd name="T79" fmla="*/ 822 h 1545"/>
                    <a:gd name="T80" fmla="*/ 35 w 1059"/>
                    <a:gd name="T81" fmla="*/ 688 h 1545"/>
                    <a:gd name="T82" fmla="*/ 2 w 1059"/>
                    <a:gd name="T83" fmla="*/ 608 h 1545"/>
                    <a:gd name="T84" fmla="*/ 3 w 1059"/>
                    <a:gd name="T85" fmla="*/ 269 h 1545"/>
                    <a:gd name="T86" fmla="*/ 42 w 1059"/>
                    <a:gd name="T87" fmla="*/ 155 h 1545"/>
                    <a:gd name="T88" fmla="*/ 120 w 1059"/>
                    <a:gd name="T89" fmla="*/ 65 h 1545"/>
                    <a:gd name="T90" fmla="*/ 228 w 1059"/>
                    <a:gd name="T91" fmla="*/ 11 h 15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059" h="1545">
                      <a:moveTo>
                        <a:pt x="310" y="0"/>
                      </a:moveTo>
                      <a:lnTo>
                        <a:pt x="368" y="0"/>
                      </a:lnTo>
                      <a:lnTo>
                        <a:pt x="409" y="2"/>
                      </a:lnTo>
                      <a:lnTo>
                        <a:pt x="450" y="11"/>
                      </a:lnTo>
                      <a:lnTo>
                        <a:pt x="488" y="25"/>
                      </a:lnTo>
                      <a:lnTo>
                        <a:pt x="524" y="43"/>
                      </a:lnTo>
                      <a:lnTo>
                        <a:pt x="557" y="65"/>
                      </a:lnTo>
                      <a:lnTo>
                        <a:pt x="586" y="91"/>
                      </a:lnTo>
                      <a:lnTo>
                        <a:pt x="613" y="121"/>
                      </a:lnTo>
                      <a:lnTo>
                        <a:pt x="636" y="154"/>
                      </a:lnTo>
                      <a:lnTo>
                        <a:pt x="654" y="190"/>
                      </a:lnTo>
                      <a:lnTo>
                        <a:pt x="666" y="229"/>
                      </a:lnTo>
                      <a:lnTo>
                        <a:pt x="675" y="269"/>
                      </a:lnTo>
                      <a:lnTo>
                        <a:pt x="678" y="311"/>
                      </a:lnTo>
                      <a:lnTo>
                        <a:pt x="678" y="578"/>
                      </a:lnTo>
                      <a:lnTo>
                        <a:pt x="676" y="608"/>
                      </a:lnTo>
                      <a:lnTo>
                        <a:pt x="668" y="637"/>
                      </a:lnTo>
                      <a:lnTo>
                        <a:pt x="658" y="664"/>
                      </a:lnTo>
                      <a:lnTo>
                        <a:pt x="643" y="688"/>
                      </a:lnTo>
                      <a:lnTo>
                        <a:pt x="624" y="712"/>
                      </a:lnTo>
                      <a:lnTo>
                        <a:pt x="624" y="901"/>
                      </a:lnTo>
                      <a:lnTo>
                        <a:pt x="647" y="913"/>
                      </a:lnTo>
                      <a:lnTo>
                        <a:pt x="675" y="928"/>
                      </a:lnTo>
                      <a:lnTo>
                        <a:pt x="706" y="946"/>
                      </a:lnTo>
                      <a:lnTo>
                        <a:pt x="740" y="966"/>
                      </a:lnTo>
                      <a:lnTo>
                        <a:pt x="778" y="989"/>
                      </a:lnTo>
                      <a:lnTo>
                        <a:pt x="817" y="1014"/>
                      </a:lnTo>
                      <a:lnTo>
                        <a:pt x="858" y="1041"/>
                      </a:lnTo>
                      <a:lnTo>
                        <a:pt x="900" y="1071"/>
                      </a:lnTo>
                      <a:lnTo>
                        <a:pt x="943" y="1104"/>
                      </a:lnTo>
                      <a:lnTo>
                        <a:pt x="985" y="1138"/>
                      </a:lnTo>
                      <a:lnTo>
                        <a:pt x="1007" y="1158"/>
                      </a:lnTo>
                      <a:lnTo>
                        <a:pt x="1025" y="1181"/>
                      </a:lnTo>
                      <a:lnTo>
                        <a:pt x="1040" y="1206"/>
                      </a:lnTo>
                      <a:lnTo>
                        <a:pt x="1050" y="1234"/>
                      </a:lnTo>
                      <a:lnTo>
                        <a:pt x="1057" y="1262"/>
                      </a:lnTo>
                      <a:lnTo>
                        <a:pt x="1059" y="1292"/>
                      </a:lnTo>
                      <a:lnTo>
                        <a:pt x="1059" y="1475"/>
                      </a:lnTo>
                      <a:lnTo>
                        <a:pt x="1056" y="1494"/>
                      </a:lnTo>
                      <a:lnTo>
                        <a:pt x="1049" y="1511"/>
                      </a:lnTo>
                      <a:lnTo>
                        <a:pt x="1038" y="1525"/>
                      </a:lnTo>
                      <a:lnTo>
                        <a:pt x="1024" y="1536"/>
                      </a:lnTo>
                      <a:lnTo>
                        <a:pt x="1007" y="1543"/>
                      </a:lnTo>
                      <a:lnTo>
                        <a:pt x="988" y="1545"/>
                      </a:lnTo>
                      <a:lnTo>
                        <a:pt x="969" y="1543"/>
                      </a:lnTo>
                      <a:lnTo>
                        <a:pt x="952" y="1536"/>
                      </a:lnTo>
                      <a:lnTo>
                        <a:pt x="938" y="1525"/>
                      </a:lnTo>
                      <a:lnTo>
                        <a:pt x="928" y="1511"/>
                      </a:lnTo>
                      <a:lnTo>
                        <a:pt x="921" y="1494"/>
                      </a:lnTo>
                      <a:lnTo>
                        <a:pt x="918" y="1475"/>
                      </a:lnTo>
                      <a:lnTo>
                        <a:pt x="918" y="1292"/>
                      </a:lnTo>
                      <a:lnTo>
                        <a:pt x="915" y="1274"/>
                      </a:lnTo>
                      <a:lnTo>
                        <a:pt x="908" y="1259"/>
                      </a:lnTo>
                      <a:lnTo>
                        <a:pt x="896" y="1246"/>
                      </a:lnTo>
                      <a:lnTo>
                        <a:pt x="859" y="1216"/>
                      </a:lnTo>
                      <a:lnTo>
                        <a:pt x="822" y="1188"/>
                      </a:lnTo>
                      <a:lnTo>
                        <a:pt x="786" y="1162"/>
                      </a:lnTo>
                      <a:lnTo>
                        <a:pt x="750" y="1138"/>
                      </a:lnTo>
                      <a:lnTo>
                        <a:pt x="715" y="1115"/>
                      </a:lnTo>
                      <a:lnTo>
                        <a:pt x="682" y="1094"/>
                      </a:lnTo>
                      <a:lnTo>
                        <a:pt x="651" y="1075"/>
                      </a:lnTo>
                      <a:lnTo>
                        <a:pt x="622" y="1059"/>
                      </a:lnTo>
                      <a:lnTo>
                        <a:pt x="597" y="1045"/>
                      </a:lnTo>
                      <a:lnTo>
                        <a:pt x="574" y="1033"/>
                      </a:lnTo>
                      <a:lnTo>
                        <a:pt x="556" y="1022"/>
                      </a:lnTo>
                      <a:lnTo>
                        <a:pt x="541" y="1015"/>
                      </a:lnTo>
                      <a:lnTo>
                        <a:pt x="530" y="1010"/>
                      </a:lnTo>
                      <a:lnTo>
                        <a:pt x="515" y="1000"/>
                      </a:lnTo>
                      <a:lnTo>
                        <a:pt x="502" y="987"/>
                      </a:lnTo>
                      <a:lnTo>
                        <a:pt x="492" y="972"/>
                      </a:lnTo>
                      <a:lnTo>
                        <a:pt x="486" y="955"/>
                      </a:lnTo>
                      <a:lnTo>
                        <a:pt x="485" y="937"/>
                      </a:lnTo>
                      <a:lnTo>
                        <a:pt x="485" y="679"/>
                      </a:lnTo>
                      <a:lnTo>
                        <a:pt x="486" y="662"/>
                      </a:lnTo>
                      <a:lnTo>
                        <a:pt x="492" y="645"/>
                      </a:lnTo>
                      <a:lnTo>
                        <a:pt x="503" y="631"/>
                      </a:lnTo>
                      <a:lnTo>
                        <a:pt x="516" y="621"/>
                      </a:lnTo>
                      <a:lnTo>
                        <a:pt x="528" y="609"/>
                      </a:lnTo>
                      <a:lnTo>
                        <a:pt x="536" y="595"/>
                      </a:lnTo>
                      <a:lnTo>
                        <a:pt x="539" y="578"/>
                      </a:lnTo>
                      <a:lnTo>
                        <a:pt x="539" y="311"/>
                      </a:lnTo>
                      <a:lnTo>
                        <a:pt x="536" y="280"/>
                      </a:lnTo>
                      <a:lnTo>
                        <a:pt x="527" y="252"/>
                      </a:lnTo>
                      <a:lnTo>
                        <a:pt x="516" y="225"/>
                      </a:lnTo>
                      <a:lnTo>
                        <a:pt x="499" y="201"/>
                      </a:lnTo>
                      <a:lnTo>
                        <a:pt x="478" y="181"/>
                      </a:lnTo>
                      <a:lnTo>
                        <a:pt x="454" y="164"/>
                      </a:lnTo>
                      <a:lnTo>
                        <a:pt x="428" y="151"/>
                      </a:lnTo>
                      <a:lnTo>
                        <a:pt x="399" y="143"/>
                      </a:lnTo>
                      <a:lnTo>
                        <a:pt x="368" y="141"/>
                      </a:lnTo>
                      <a:lnTo>
                        <a:pt x="311" y="141"/>
                      </a:lnTo>
                      <a:lnTo>
                        <a:pt x="280" y="143"/>
                      </a:lnTo>
                      <a:lnTo>
                        <a:pt x="251" y="151"/>
                      </a:lnTo>
                      <a:lnTo>
                        <a:pt x="225" y="164"/>
                      </a:lnTo>
                      <a:lnTo>
                        <a:pt x="201" y="181"/>
                      </a:lnTo>
                      <a:lnTo>
                        <a:pt x="180" y="201"/>
                      </a:lnTo>
                      <a:lnTo>
                        <a:pt x="163" y="225"/>
                      </a:lnTo>
                      <a:lnTo>
                        <a:pt x="151" y="252"/>
                      </a:lnTo>
                      <a:lnTo>
                        <a:pt x="143" y="280"/>
                      </a:lnTo>
                      <a:lnTo>
                        <a:pt x="140" y="311"/>
                      </a:lnTo>
                      <a:lnTo>
                        <a:pt x="140" y="580"/>
                      </a:lnTo>
                      <a:lnTo>
                        <a:pt x="143" y="595"/>
                      </a:lnTo>
                      <a:lnTo>
                        <a:pt x="151" y="610"/>
                      </a:lnTo>
                      <a:lnTo>
                        <a:pt x="163" y="621"/>
                      </a:lnTo>
                      <a:lnTo>
                        <a:pt x="176" y="632"/>
                      </a:lnTo>
                      <a:lnTo>
                        <a:pt x="186" y="646"/>
                      </a:lnTo>
                      <a:lnTo>
                        <a:pt x="192" y="662"/>
                      </a:lnTo>
                      <a:lnTo>
                        <a:pt x="194" y="679"/>
                      </a:lnTo>
                      <a:lnTo>
                        <a:pt x="194" y="803"/>
                      </a:lnTo>
                      <a:lnTo>
                        <a:pt x="192" y="822"/>
                      </a:lnTo>
                      <a:lnTo>
                        <a:pt x="184" y="838"/>
                      </a:lnTo>
                      <a:lnTo>
                        <a:pt x="174" y="852"/>
                      </a:lnTo>
                      <a:lnTo>
                        <a:pt x="159" y="864"/>
                      </a:lnTo>
                      <a:lnTo>
                        <a:pt x="142" y="870"/>
                      </a:lnTo>
                      <a:lnTo>
                        <a:pt x="124" y="873"/>
                      </a:lnTo>
                      <a:lnTo>
                        <a:pt x="105" y="870"/>
                      </a:lnTo>
                      <a:lnTo>
                        <a:pt x="88" y="864"/>
                      </a:lnTo>
                      <a:lnTo>
                        <a:pt x="74" y="852"/>
                      </a:lnTo>
                      <a:lnTo>
                        <a:pt x="63" y="838"/>
                      </a:lnTo>
                      <a:lnTo>
                        <a:pt x="56" y="822"/>
                      </a:lnTo>
                      <a:lnTo>
                        <a:pt x="54" y="803"/>
                      </a:lnTo>
                      <a:lnTo>
                        <a:pt x="54" y="712"/>
                      </a:lnTo>
                      <a:lnTo>
                        <a:pt x="35" y="688"/>
                      </a:lnTo>
                      <a:lnTo>
                        <a:pt x="20" y="664"/>
                      </a:lnTo>
                      <a:lnTo>
                        <a:pt x="9" y="637"/>
                      </a:lnTo>
                      <a:lnTo>
                        <a:pt x="2" y="608"/>
                      </a:lnTo>
                      <a:lnTo>
                        <a:pt x="0" y="578"/>
                      </a:lnTo>
                      <a:lnTo>
                        <a:pt x="0" y="311"/>
                      </a:lnTo>
                      <a:lnTo>
                        <a:pt x="3" y="269"/>
                      </a:lnTo>
                      <a:lnTo>
                        <a:pt x="12" y="229"/>
                      </a:lnTo>
                      <a:lnTo>
                        <a:pt x="24" y="191"/>
                      </a:lnTo>
                      <a:lnTo>
                        <a:pt x="42" y="155"/>
                      </a:lnTo>
                      <a:lnTo>
                        <a:pt x="64" y="121"/>
                      </a:lnTo>
                      <a:lnTo>
                        <a:pt x="91" y="91"/>
                      </a:lnTo>
                      <a:lnTo>
                        <a:pt x="120" y="65"/>
                      </a:lnTo>
                      <a:lnTo>
                        <a:pt x="154" y="43"/>
                      </a:lnTo>
                      <a:lnTo>
                        <a:pt x="190" y="25"/>
                      </a:lnTo>
                      <a:lnTo>
                        <a:pt x="228" y="11"/>
                      </a:lnTo>
                      <a:lnTo>
                        <a:pt x="268" y="2"/>
                      </a:lnTo>
                      <a:lnTo>
                        <a:pt x="31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8" name="Freeform 573"/>
                <p:cNvSpPr>
                  <a:spLocks/>
                </p:cNvSpPr>
                <p:nvPr/>
              </p:nvSpPr>
              <p:spPr bwMode="auto">
                <a:xfrm>
                  <a:off x="685800" y="5965825"/>
                  <a:ext cx="168275" cy="244475"/>
                </a:xfrm>
                <a:custGeom>
                  <a:avLst/>
                  <a:gdLst>
                    <a:gd name="T0" fmla="*/ 789 w 1058"/>
                    <a:gd name="T1" fmla="*/ 4 h 1547"/>
                    <a:gd name="T2" fmla="*/ 904 w 1058"/>
                    <a:gd name="T3" fmla="*/ 43 h 1547"/>
                    <a:gd name="T4" fmla="*/ 992 w 1058"/>
                    <a:gd name="T5" fmla="*/ 122 h 1547"/>
                    <a:gd name="T6" fmla="*/ 1046 w 1058"/>
                    <a:gd name="T7" fmla="*/ 229 h 1547"/>
                    <a:gd name="T8" fmla="*/ 1058 w 1058"/>
                    <a:gd name="T9" fmla="*/ 580 h 1547"/>
                    <a:gd name="T10" fmla="*/ 1038 w 1058"/>
                    <a:gd name="T11" fmla="*/ 664 h 1547"/>
                    <a:gd name="T12" fmla="*/ 1004 w 1058"/>
                    <a:gd name="T13" fmla="*/ 809 h 1547"/>
                    <a:gd name="T14" fmla="*/ 983 w 1058"/>
                    <a:gd name="T15" fmla="*/ 859 h 1547"/>
                    <a:gd name="T16" fmla="*/ 933 w 1058"/>
                    <a:gd name="T17" fmla="*/ 879 h 1547"/>
                    <a:gd name="T18" fmla="*/ 884 w 1058"/>
                    <a:gd name="T19" fmla="*/ 859 h 1547"/>
                    <a:gd name="T20" fmla="*/ 864 w 1058"/>
                    <a:gd name="T21" fmla="*/ 809 h 1547"/>
                    <a:gd name="T22" fmla="*/ 872 w 1058"/>
                    <a:gd name="T23" fmla="*/ 646 h 1547"/>
                    <a:gd name="T24" fmla="*/ 907 w 1058"/>
                    <a:gd name="T25" fmla="*/ 610 h 1547"/>
                    <a:gd name="T26" fmla="*/ 917 w 1058"/>
                    <a:gd name="T27" fmla="*/ 311 h 1547"/>
                    <a:gd name="T28" fmla="*/ 894 w 1058"/>
                    <a:gd name="T29" fmla="*/ 225 h 1547"/>
                    <a:gd name="T30" fmla="*/ 833 w 1058"/>
                    <a:gd name="T31" fmla="*/ 164 h 1547"/>
                    <a:gd name="T32" fmla="*/ 748 w 1058"/>
                    <a:gd name="T33" fmla="*/ 141 h 1547"/>
                    <a:gd name="T34" fmla="*/ 631 w 1058"/>
                    <a:gd name="T35" fmla="*/ 151 h 1547"/>
                    <a:gd name="T36" fmla="*/ 560 w 1058"/>
                    <a:gd name="T37" fmla="*/ 201 h 1547"/>
                    <a:gd name="T38" fmla="*/ 523 w 1058"/>
                    <a:gd name="T39" fmla="*/ 280 h 1547"/>
                    <a:gd name="T40" fmla="*/ 523 w 1058"/>
                    <a:gd name="T41" fmla="*/ 595 h 1547"/>
                    <a:gd name="T42" fmla="*/ 556 w 1058"/>
                    <a:gd name="T43" fmla="*/ 632 h 1547"/>
                    <a:gd name="T44" fmla="*/ 574 w 1058"/>
                    <a:gd name="T45" fmla="*/ 679 h 1547"/>
                    <a:gd name="T46" fmla="*/ 565 w 1058"/>
                    <a:gd name="T47" fmla="*/ 973 h 1547"/>
                    <a:gd name="T48" fmla="*/ 527 w 1058"/>
                    <a:gd name="T49" fmla="*/ 1011 h 1547"/>
                    <a:gd name="T50" fmla="*/ 484 w 1058"/>
                    <a:gd name="T51" fmla="*/ 1033 h 1547"/>
                    <a:gd name="T52" fmla="*/ 407 w 1058"/>
                    <a:gd name="T53" fmla="*/ 1076 h 1547"/>
                    <a:gd name="T54" fmla="*/ 309 w 1058"/>
                    <a:gd name="T55" fmla="*/ 1139 h 1547"/>
                    <a:gd name="T56" fmla="*/ 198 w 1058"/>
                    <a:gd name="T57" fmla="*/ 1217 h 1547"/>
                    <a:gd name="T58" fmla="*/ 142 w 1058"/>
                    <a:gd name="T59" fmla="*/ 1275 h 1547"/>
                    <a:gd name="T60" fmla="*/ 138 w 1058"/>
                    <a:gd name="T61" fmla="*/ 1495 h 1547"/>
                    <a:gd name="T62" fmla="*/ 105 w 1058"/>
                    <a:gd name="T63" fmla="*/ 1537 h 1547"/>
                    <a:gd name="T64" fmla="*/ 52 w 1058"/>
                    <a:gd name="T65" fmla="*/ 1543 h 1547"/>
                    <a:gd name="T66" fmla="*/ 9 w 1058"/>
                    <a:gd name="T67" fmla="*/ 1512 h 1547"/>
                    <a:gd name="T68" fmla="*/ 0 w 1058"/>
                    <a:gd name="T69" fmla="*/ 1293 h 1547"/>
                    <a:gd name="T70" fmla="*/ 19 w 1058"/>
                    <a:gd name="T71" fmla="*/ 1207 h 1547"/>
                    <a:gd name="T72" fmla="*/ 73 w 1058"/>
                    <a:gd name="T73" fmla="*/ 1138 h 1547"/>
                    <a:gd name="T74" fmla="*/ 200 w 1058"/>
                    <a:gd name="T75" fmla="*/ 1042 h 1547"/>
                    <a:gd name="T76" fmla="*/ 317 w 1058"/>
                    <a:gd name="T77" fmla="*/ 967 h 1547"/>
                    <a:gd name="T78" fmla="*/ 410 w 1058"/>
                    <a:gd name="T79" fmla="*/ 913 h 1547"/>
                    <a:gd name="T80" fmla="*/ 414 w 1058"/>
                    <a:gd name="T81" fmla="*/ 689 h 1547"/>
                    <a:gd name="T82" fmla="*/ 382 w 1058"/>
                    <a:gd name="T83" fmla="*/ 609 h 1547"/>
                    <a:gd name="T84" fmla="*/ 383 w 1058"/>
                    <a:gd name="T85" fmla="*/ 270 h 1547"/>
                    <a:gd name="T86" fmla="*/ 422 w 1058"/>
                    <a:gd name="T87" fmla="*/ 155 h 1547"/>
                    <a:gd name="T88" fmla="*/ 500 w 1058"/>
                    <a:gd name="T89" fmla="*/ 66 h 1547"/>
                    <a:gd name="T90" fmla="*/ 607 w 1058"/>
                    <a:gd name="T91" fmla="*/ 12 h 15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058" h="1547">
                      <a:moveTo>
                        <a:pt x="690" y="0"/>
                      </a:moveTo>
                      <a:lnTo>
                        <a:pt x="748" y="0"/>
                      </a:lnTo>
                      <a:lnTo>
                        <a:pt x="789" y="4"/>
                      </a:lnTo>
                      <a:lnTo>
                        <a:pt x="830" y="12"/>
                      </a:lnTo>
                      <a:lnTo>
                        <a:pt x="868" y="25"/>
                      </a:lnTo>
                      <a:lnTo>
                        <a:pt x="904" y="43"/>
                      </a:lnTo>
                      <a:lnTo>
                        <a:pt x="936" y="66"/>
                      </a:lnTo>
                      <a:lnTo>
                        <a:pt x="967" y="91"/>
                      </a:lnTo>
                      <a:lnTo>
                        <a:pt x="992" y="122"/>
                      </a:lnTo>
                      <a:lnTo>
                        <a:pt x="1016" y="155"/>
                      </a:lnTo>
                      <a:lnTo>
                        <a:pt x="1033" y="191"/>
                      </a:lnTo>
                      <a:lnTo>
                        <a:pt x="1046" y="229"/>
                      </a:lnTo>
                      <a:lnTo>
                        <a:pt x="1055" y="270"/>
                      </a:lnTo>
                      <a:lnTo>
                        <a:pt x="1058" y="311"/>
                      </a:lnTo>
                      <a:lnTo>
                        <a:pt x="1058" y="580"/>
                      </a:lnTo>
                      <a:lnTo>
                        <a:pt x="1056" y="609"/>
                      </a:lnTo>
                      <a:lnTo>
                        <a:pt x="1048" y="638"/>
                      </a:lnTo>
                      <a:lnTo>
                        <a:pt x="1038" y="664"/>
                      </a:lnTo>
                      <a:lnTo>
                        <a:pt x="1023" y="689"/>
                      </a:lnTo>
                      <a:lnTo>
                        <a:pt x="1004" y="712"/>
                      </a:lnTo>
                      <a:lnTo>
                        <a:pt x="1004" y="809"/>
                      </a:lnTo>
                      <a:lnTo>
                        <a:pt x="1002" y="827"/>
                      </a:lnTo>
                      <a:lnTo>
                        <a:pt x="994" y="844"/>
                      </a:lnTo>
                      <a:lnTo>
                        <a:pt x="983" y="859"/>
                      </a:lnTo>
                      <a:lnTo>
                        <a:pt x="969" y="869"/>
                      </a:lnTo>
                      <a:lnTo>
                        <a:pt x="952" y="876"/>
                      </a:lnTo>
                      <a:lnTo>
                        <a:pt x="933" y="879"/>
                      </a:lnTo>
                      <a:lnTo>
                        <a:pt x="915" y="876"/>
                      </a:lnTo>
                      <a:lnTo>
                        <a:pt x="898" y="869"/>
                      </a:lnTo>
                      <a:lnTo>
                        <a:pt x="884" y="859"/>
                      </a:lnTo>
                      <a:lnTo>
                        <a:pt x="873" y="844"/>
                      </a:lnTo>
                      <a:lnTo>
                        <a:pt x="866" y="827"/>
                      </a:lnTo>
                      <a:lnTo>
                        <a:pt x="864" y="809"/>
                      </a:lnTo>
                      <a:lnTo>
                        <a:pt x="864" y="679"/>
                      </a:lnTo>
                      <a:lnTo>
                        <a:pt x="866" y="662"/>
                      </a:lnTo>
                      <a:lnTo>
                        <a:pt x="872" y="646"/>
                      </a:lnTo>
                      <a:lnTo>
                        <a:pt x="882" y="632"/>
                      </a:lnTo>
                      <a:lnTo>
                        <a:pt x="894" y="621"/>
                      </a:lnTo>
                      <a:lnTo>
                        <a:pt x="907" y="610"/>
                      </a:lnTo>
                      <a:lnTo>
                        <a:pt x="914" y="595"/>
                      </a:lnTo>
                      <a:lnTo>
                        <a:pt x="917" y="580"/>
                      </a:lnTo>
                      <a:lnTo>
                        <a:pt x="917" y="311"/>
                      </a:lnTo>
                      <a:lnTo>
                        <a:pt x="914" y="281"/>
                      </a:lnTo>
                      <a:lnTo>
                        <a:pt x="907" y="252"/>
                      </a:lnTo>
                      <a:lnTo>
                        <a:pt x="894" y="225"/>
                      </a:lnTo>
                      <a:lnTo>
                        <a:pt x="877" y="202"/>
                      </a:lnTo>
                      <a:lnTo>
                        <a:pt x="857" y="181"/>
                      </a:lnTo>
                      <a:lnTo>
                        <a:pt x="833" y="164"/>
                      </a:lnTo>
                      <a:lnTo>
                        <a:pt x="807" y="151"/>
                      </a:lnTo>
                      <a:lnTo>
                        <a:pt x="778" y="144"/>
                      </a:lnTo>
                      <a:lnTo>
                        <a:pt x="748" y="141"/>
                      </a:lnTo>
                      <a:lnTo>
                        <a:pt x="690" y="141"/>
                      </a:lnTo>
                      <a:lnTo>
                        <a:pt x="659" y="144"/>
                      </a:lnTo>
                      <a:lnTo>
                        <a:pt x="631" y="151"/>
                      </a:lnTo>
                      <a:lnTo>
                        <a:pt x="604" y="164"/>
                      </a:lnTo>
                      <a:lnTo>
                        <a:pt x="581" y="181"/>
                      </a:lnTo>
                      <a:lnTo>
                        <a:pt x="560" y="201"/>
                      </a:lnTo>
                      <a:lnTo>
                        <a:pt x="543" y="225"/>
                      </a:lnTo>
                      <a:lnTo>
                        <a:pt x="530" y="252"/>
                      </a:lnTo>
                      <a:lnTo>
                        <a:pt x="523" y="280"/>
                      </a:lnTo>
                      <a:lnTo>
                        <a:pt x="520" y="311"/>
                      </a:lnTo>
                      <a:lnTo>
                        <a:pt x="520" y="580"/>
                      </a:lnTo>
                      <a:lnTo>
                        <a:pt x="523" y="595"/>
                      </a:lnTo>
                      <a:lnTo>
                        <a:pt x="530" y="610"/>
                      </a:lnTo>
                      <a:lnTo>
                        <a:pt x="543" y="621"/>
                      </a:lnTo>
                      <a:lnTo>
                        <a:pt x="556" y="632"/>
                      </a:lnTo>
                      <a:lnTo>
                        <a:pt x="565" y="646"/>
                      </a:lnTo>
                      <a:lnTo>
                        <a:pt x="572" y="662"/>
                      </a:lnTo>
                      <a:lnTo>
                        <a:pt x="574" y="679"/>
                      </a:lnTo>
                      <a:lnTo>
                        <a:pt x="574" y="937"/>
                      </a:lnTo>
                      <a:lnTo>
                        <a:pt x="572" y="956"/>
                      </a:lnTo>
                      <a:lnTo>
                        <a:pt x="565" y="973"/>
                      </a:lnTo>
                      <a:lnTo>
                        <a:pt x="556" y="987"/>
                      </a:lnTo>
                      <a:lnTo>
                        <a:pt x="543" y="1001"/>
                      </a:lnTo>
                      <a:lnTo>
                        <a:pt x="527" y="1011"/>
                      </a:lnTo>
                      <a:lnTo>
                        <a:pt x="518" y="1016"/>
                      </a:lnTo>
                      <a:lnTo>
                        <a:pt x="503" y="1023"/>
                      </a:lnTo>
                      <a:lnTo>
                        <a:pt x="484" y="1033"/>
                      </a:lnTo>
                      <a:lnTo>
                        <a:pt x="462" y="1046"/>
                      </a:lnTo>
                      <a:lnTo>
                        <a:pt x="437" y="1060"/>
                      </a:lnTo>
                      <a:lnTo>
                        <a:pt x="407" y="1076"/>
                      </a:lnTo>
                      <a:lnTo>
                        <a:pt x="376" y="1095"/>
                      </a:lnTo>
                      <a:lnTo>
                        <a:pt x="343" y="1115"/>
                      </a:lnTo>
                      <a:lnTo>
                        <a:pt x="309" y="1139"/>
                      </a:lnTo>
                      <a:lnTo>
                        <a:pt x="272" y="1163"/>
                      </a:lnTo>
                      <a:lnTo>
                        <a:pt x="236" y="1189"/>
                      </a:lnTo>
                      <a:lnTo>
                        <a:pt x="198" y="1217"/>
                      </a:lnTo>
                      <a:lnTo>
                        <a:pt x="161" y="1246"/>
                      </a:lnTo>
                      <a:lnTo>
                        <a:pt x="150" y="1260"/>
                      </a:lnTo>
                      <a:lnTo>
                        <a:pt x="142" y="1275"/>
                      </a:lnTo>
                      <a:lnTo>
                        <a:pt x="140" y="1293"/>
                      </a:lnTo>
                      <a:lnTo>
                        <a:pt x="140" y="1476"/>
                      </a:lnTo>
                      <a:lnTo>
                        <a:pt x="138" y="1495"/>
                      </a:lnTo>
                      <a:lnTo>
                        <a:pt x="131" y="1512"/>
                      </a:lnTo>
                      <a:lnTo>
                        <a:pt x="120" y="1525"/>
                      </a:lnTo>
                      <a:lnTo>
                        <a:pt x="105" y="1537"/>
                      </a:lnTo>
                      <a:lnTo>
                        <a:pt x="89" y="1543"/>
                      </a:lnTo>
                      <a:lnTo>
                        <a:pt x="71" y="1547"/>
                      </a:lnTo>
                      <a:lnTo>
                        <a:pt x="52" y="1543"/>
                      </a:lnTo>
                      <a:lnTo>
                        <a:pt x="35" y="1537"/>
                      </a:lnTo>
                      <a:lnTo>
                        <a:pt x="20" y="1525"/>
                      </a:lnTo>
                      <a:lnTo>
                        <a:pt x="9" y="1512"/>
                      </a:lnTo>
                      <a:lnTo>
                        <a:pt x="2" y="1495"/>
                      </a:lnTo>
                      <a:lnTo>
                        <a:pt x="0" y="1476"/>
                      </a:lnTo>
                      <a:lnTo>
                        <a:pt x="0" y="1293"/>
                      </a:lnTo>
                      <a:lnTo>
                        <a:pt x="2" y="1263"/>
                      </a:lnTo>
                      <a:lnTo>
                        <a:pt x="8" y="1235"/>
                      </a:lnTo>
                      <a:lnTo>
                        <a:pt x="19" y="1207"/>
                      </a:lnTo>
                      <a:lnTo>
                        <a:pt x="34" y="1182"/>
                      </a:lnTo>
                      <a:lnTo>
                        <a:pt x="52" y="1159"/>
                      </a:lnTo>
                      <a:lnTo>
                        <a:pt x="73" y="1138"/>
                      </a:lnTo>
                      <a:lnTo>
                        <a:pt x="115" y="1104"/>
                      </a:lnTo>
                      <a:lnTo>
                        <a:pt x="158" y="1072"/>
                      </a:lnTo>
                      <a:lnTo>
                        <a:pt x="200" y="1042"/>
                      </a:lnTo>
                      <a:lnTo>
                        <a:pt x="241" y="1015"/>
                      </a:lnTo>
                      <a:lnTo>
                        <a:pt x="281" y="990"/>
                      </a:lnTo>
                      <a:lnTo>
                        <a:pt x="317" y="967"/>
                      </a:lnTo>
                      <a:lnTo>
                        <a:pt x="352" y="946"/>
                      </a:lnTo>
                      <a:lnTo>
                        <a:pt x="383" y="929"/>
                      </a:lnTo>
                      <a:lnTo>
                        <a:pt x="410" y="913"/>
                      </a:lnTo>
                      <a:lnTo>
                        <a:pt x="433" y="902"/>
                      </a:lnTo>
                      <a:lnTo>
                        <a:pt x="433" y="712"/>
                      </a:lnTo>
                      <a:lnTo>
                        <a:pt x="414" y="689"/>
                      </a:lnTo>
                      <a:lnTo>
                        <a:pt x="400" y="664"/>
                      </a:lnTo>
                      <a:lnTo>
                        <a:pt x="389" y="638"/>
                      </a:lnTo>
                      <a:lnTo>
                        <a:pt x="382" y="609"/>
                      </a:lnTo>
                      <a:lnTo>
                        <a:pt x="380" y="580"/>
                      </a:lnTo>
                      <a:lnTo>
                        <a:pt x="380" y="311"/>
                      </a:lnTo>
                      <a:lnTo>
                        <a:pt x="383" y="270"/>
                      </a:lnTo>
                      <a:lnTo>
                        <a:pt x="391" y="229"/>
                      </a:lnTo>
                      <a:lnTo>
                        <a:pt x="404" y="191"/>
                      </a:lnTo>
                      <a:lnTo>
                        <a:pt x="422" y="155"/>
                      </a:lnTo>
                      <a:lnTo>
                        <a:pt x="444" y="122"/>
                      </a:lnTo>
                      <a:lnTo>
                        <a:pt x="470" y="92"/>
                      </a:lnTo>
                      <a:lnTo>
                        <a:pt x="500" y="66"/>
                      </a:lnTo>
                      <a:lnTo>
                        <a:pt x="534" y="44"/>
                      </a:lnTo>
                      <a:lnTo>
                        <a:pt x="569" y="25"/>
                      </a:lnTo>
                      <a:lnTo>
                        <a:pt x="607" y="12"/>
                      </a:lnTo>
                      <a:lnTo>
                        <a:pt x="647" y="4"/>
                      </a:lnTo>
                      <a:lnTo>
                        <a:pt x="69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9" name="Freeform 574"/>
                <p:cNvSpPr>
                  <a:spLocks/>
                </p:cNvSpPr>
                <p:nvPr/>
              </p:nvSpPr>
              <p:spPr bwMode="auto">
                <a:xfrm>
                  <a:off x="817563" y="5899150"/>
                  <a:ext cx="288925" cy="311150"/>
                </a:xfrm>
                <a:custGeom>
                  <a:avLst/>
                  <a:gdLst>
                    <a:gd name="T0" fmla="*/ 1041 w 1820"/>
                    <a:gd name="T1" fmla="*/ 12 h 1960"/>
                    <a:gd name="T2" fmla="*/ 1200 w 1820"/>
                    <a:gd name="T3" fmla="*/ 96 h 1960"/>
                    <a:gd name="T4" fmla="*/ 1302 w 1820"/>
                    <a:gd name="T5" fmla="*/ 243 h 1960"/>
                    <a:gd name="T6" fmla="*/ 1329 w 1820"/>
                    <a:gd name="T7" fmla="*/ 728 h 1960"/>
                    <a:gd name="T8" fmla="*/ 1283 w 1820"/>
                    <a:gd name="T9" fmla="*/ 864 h 1960"/>
                    <a:gd name="T10" fmla="*/ 1310 w 1820"/>
                    <a:gd name="T11" fmla="*/ 1185 h 1960"/>
                    <a:gd name="T12" fmla="*/ 1456 w 1820"/>
                    <a:gd name="T13" fmla="*/ 1270 h 1960"/>
                    <a:gd name="T14" fmla="*/ 1639 w 1820"/>
                    <a:gd name="T15" fmla="*/ 1394 h 1960"/>
                    <a:gd name="T16" fmla="*/ 1781 w 1820"/>
                    <a:gd name="T17" fmla="*/ 1520 h 1960"/>
                    <a:gd name="T18" fmla="*/ 1820 w 1820"/>
                    <a:gd name="T19" fmla="*/ 1652 h 1960"/>
                    <a:gd name="T20" fmla="*/ 1800 w 1820"/>
                    <a:gd name="T21" fmla="*/ 1938 h 1960"/>
                    <a:gd name="T22" fmla="*/ 1731 w 1820"/>
                    <a:gd name="T23" fmla="*/ 1956 h 1960"/>
                    <a:gd name="T24" fmla="*/ 1683 w 1820"/>
                    <a:gd name="T25" fmla="*/ 1908 h 1960"/>
                    <a:gd name="T26" fmla="*/ 1672 w 1820"/>
                    <a:gd name="T27" fmla="*/ 1611 h 1960"/>
                    <a:gd name="T28" fmla="*/ 1555 w 1820"/>
                    <a:gd name="T29" fmla="*/ 1507 h 1960"/>
                    <a:gd name="T30" fmla="*/ 1383 w 1820"/>
                    <a:gd name="T31" fmla="*/ 1391 h 1960"/>
                    <a:gd name="T32" fmla="*/ 1245 w 1820"/>
                    <a:gd name="T33" fmla="*/ 1310 h 1960"/>
                    <a:gd name="T34" fmla="*/ 1167 w 1820"/>
                    <a:gd name="T35" fmla="*/ 1269 h 1960"/>
                    <a:gd name="T36" fmla="*/ 1122 w 1820"/>
                    <a:gd name="T37" fmla="*/ 1211 h 1960"/>
                    <a:gd name="T38" fmla="*/ 1127 w 1820"/>
                    <a:gd name="T39" fmla="*/ 826 h 1960"/>
                    <a:gd name="T40" fmla="*/ 1179 w 1820"/>
                    <a:gd name="T41" fmla="*/ 770 h 1960"/>
                    <a:gd name="T42" fmla="*/ 1186 w 1820"/>
                    <a:gd name="T43" fmla="*/ 344 h 1960"/>
                    <a:gd name="T44" fmla="*/ 1119 w 1820"/>
                    <a:gd name="T45" fmla="*/ 211 h 1960"/>
                    <a:gd name="T46" fmla="*/ 987 w 1820"/>
                    <a:gd name="T47" fmla="*/ 144 h 1960"/>
                    <a:gd name="T48" fmla="*/ 798 w 1820"/>
                    <a:gd name="T49" fmla="*/ 153 h 1960"/>
                    <a:gd name="T50" fmla="*/ 679 w 1820"/>
                    <a:gd name="T51" fmla="*/ 240 h 1960"/>
                    <a:gd name="T52" fmla="*/ 633 w 1820"/>
                    <a:gd name="T53" fmla="*/ 383 h 1960"/>
                    <a:gd name="T54" fmla="*/ 655 w 1820"/>
                    <a:gd name="T55" fmla="*/ 786 h 1960"/>
                    <a:gd name="T56" fmla="*/ 700 w 1820"/>
                    <a:gd name="T57" fmla="*/ 841 h 1960"/>
                    <a:gd name="T58" fmla="*/ 694 w 1820"/>
                    <a:gd name="T59" fmla="*/ 1229 h 1960"/>
                    <a:gd name="T60" fmla="*/ 642 w 1820"/>
                    <a:gd name="T61" fmla="*/ 1275 h 1960"/>
                    <a:gd name="T62" fmla="*/ 547 w 1820"/>
                    <a:gd name="T63" fmla="*/ 1325 h 1960"/>
                    <a:gd name="T64" fmla="*/ 397 w 1820"/>
                    <a:gd name="T65" fmla="*/ 1416 h 1960"/>
                    <a:gd name="T66" fmla="*/ 221 w 1820"/>
                    <a:gd name="T67" fmla="*/ 1541 h 1960"/>
                    <a:gd name="T68" fmla="*/ 143 w 1820"/>
                    <a:gd name="T69" fmla="*/ 1631 h 1960"/>
                    <a:gd name="T70" fmla="*/ 131 w 1820"/>
                    <a:gd name="T71" fmla="*/ 1925 h 1960"/>
                    <a:gd name="T72" fmla="*/ 71 w 1820"/>
                    <a:gd name="T73" fmla="*/ 1960 h 1960"/>
                    <a:gd name="T74" fmla="*/ 9 w 1820"/>
                    <a:gd name="T75" fmla="*/ 1925 h 1960"/>
                    <a:gd name="T76" fmla="*/ 3 w 1820"/>
                    <a:gd name="T77" fmla="*/ 1616 h 1960"/>
                    <a:gd name="T78" fmla="*/ 61 w 1820"/>
                    <a:gd name="T79" fmla="*/ 1492 h 1960"/>
                    <a:gd name="T80" fmla="*/ 229 w 1820"/>
                    <a:gd name="T81" fmla="*/ 1359 h 1960"/>
                    <a:gd name="T82" fmla="*/ 405 w 1820"/>
                    <a:gd name="T83" fmla="*/ 1245 h 1960"/>
                    <a:gd name="T84" fmla="*/ 538 w 1820"/>
                    <a:gd name="T85" fmla="*/ 1170 h 1960"/>
                    <a:gd name="T86" fmla="*/ 518 w 1820"/>
                    <a:gd name="T87" fmla="*/ 834 h 1960"/>
                    <a:gd name="T88" fmla="*/ 492 w 1820"/>
                    <a:gd name="T89" fmla="*/ 382 h 1960"/>
                    <a:gd name="T90" fmla="*/ 537 w 1820"/>
                    <a:gd name="T91" fmla="*/ 202 h 1960"/>
                    <a:gd name="T92" fmla="*/ 655 w 1820"/>
                    <a:gd name="T93" fmla="*/ 69 h 1960"/>
                    <a:gd name="T94" fmla="*/ 826 w 1820"/>
                    <a:gd name="T95" fmla="*/ 2 h 19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820" h="1960">
                      <a:moveTo>
                        <a:pt x="873" y="0"/>
                      </a:moveTo>
                      <a:lnTo>
                        <a:pt x="947" y="0"/>
                      </a:lnTo>
                      <a:lnTo>
                        <a:pt x="995" y="2"/>
                      </a:lnTo>
                      <a:lnTo>
                        <a:pt x="1041" y="12"/>
                      </a:lnTo>
                      <a:lnTo>
                        <a:pt x="1085" y="25"/>
                      </a:lnTo>
                      <a:lnTo>
                        <a:pt x="1126" y="45"/>
                      </a:lnTo>
                      <a:lnTo>
                        <a:pt x="1165" y="68"/>
                      </a:lnTo>
                      <a:lnTo>
                        <a:pt x="1200" y="96"/>
                      </a:lnTo>
                      <a:lnTo>
                        <a:pt x="1232" y="128"/>
                      </a:lnTo>
                      <a:lnTo>
                        <a:pt x="1260" y="164"/>
                      </a:lnTo>
                      <a:lnTo>
                        <a:pt x="1283" y="202"/>
                      </a:lnTo>
                      <a:lnTo>
                        <a:pt x="1302" y="243"/>
                      </a:lnTo>
                      <a:lnTo>
                        <a:pt x="1317" y="288"/>
                      </a:lnTo>
                      <a:lnTo>
                        <a:pt x="1325" y="334"/>
                      </a:lnTo>
                      <a:lnTo>
                        <a:pt x="1329" y="382"/>
                      </a:lnTo>
                      <a:lnTo>
                        <a:pt x="1329" y="728"/>
                      </a:lnTo>
                      <a:lnTo>
                        <a:pt x="1325" y="765"/>
                      </a:lnTo>
                      <a:lnTo>
                        <a:pt x="1317" y="800"/>
                      </a:lnTo>
                      <a:lnTo>
                        <a:pt x="1302" y="834"/>
                      </a:lnTo>
                      <a:lnTo>
                        <a:pt x="1283" y="864"/>
                      </a:lnTo>
                      <a:lnTo>
                        <a:pt x="1259" y="891"/>
                      </a:lnTo>
                      <a:lnTo>
                        <a:pt x="1259" y="1158"/>
                      </a:lnTo>
                      <a:lnTo>
                        <a:pt x="1282" y="1170"/>
                      </a:lnTo>
                      <a:lnTo>
                        <a:pt x="1310" y="1185"/>
                      </a:lnTo>
                      <a:lnTo>
                        <a:pt x="1341" y="1203"/>
                      </a:lnTo>
                      <a:lnTo>
                        <a:pt x="1377" y="1223"/>
                      </a:lnTo>
                      <a:lnTo>
                        <a:pt x="1415" y="1245"/>
                      </a:lnTo>
                      <a:lnTo>
                        <a:pt x="1456" y="1270"/>
                      </a:lnTo>
                      <a:lnTo>
                        <a:pt x="1499" y="1298"/>
                      </a:lnTo>
                      <a:lnTo>
                        <a:pt x="1545" y="1328"/>
                      </a:lnTo>
                      <a:lnTo>
                        <a:pt x="1591" y="1359"/>
                      </a:lnTo>
                      <a:lnTo>
                        <a:pt x="1639" y="1394"/>
                      </a:lnTo>
                      <a:lnTo>
                        <a:pt x="1686" y="1430"/>
                      </a:lnTo>
                      <a:lnTo>
                        <a:pt x="1734" y="1468"/>
                      </a:lnTo>
                      <a:lnTo>
                        <a:pt x="1759" y="1492"/>
                      </a:lnTo>
                      <a:lnTo>
                        <a:pt x="1781" y="1520"/>
                      </a:lnTo>
                      <a:lnTo>
                        <a:pt x="1798" y="1549"/>
                      </a:lnTo>
                      <a:lnTo>
                        <a:pt x="1810" y="1582"/>
                      </a:lnTo>
                      <a:lnTo>
                        <a:pt x="1818" y="1616"/>
                      </a:lnTo>
                      <a:lnTo>
                        <a:pt x="1820" y="1652"/>
                      </a:lnTo>
                      <a:lnTo>
                        <a:pt x="1820" y="1889"/>
                      </a:lnTo>
                      <a:lnTo>
                        <a:pt x="1818" y="1908"/>
                      </a:lnTo>
                      <a:lnTo>
                        <a:pt x="1811" y="1925"/>
                      </a:lnTo>
                      <a:lnTo>
                        <a:pt x="1800" y="1938"/>
                      </a:lnTo>
                      <a:lnTo>
                        <a:pt x="1785" y="1950"/>
                      </a:lnTo>
                      <a:lnTo>
                        <a:pt x="1768" y="1956"/>
                      </a:lnTo>
                      <a:lnTo>
                        <a:pt x="1750" y="1960"/>
                      </a:lnTo>
                      <a:lnTo>
                        <a:pt x="1731" y="1956"/>
                      </a:lnTo>
                      <a:lnTo>
                        <a:pt x="1715" y="1950"/>
                      </a:lnTo>
                      <a:lnTo>
                        <a:pt x="1701" y="1938"/>
                      </a:lnTo>
                      <a:lnTo>
                        <a:pt x="1689" y="1925"/>
                      </a:lnTo>
                      <a:lnTo>
                        <a:pt x="1683" y="1908"/>
                      </a:lnTo>
                      <a:lnTo>
                        <a:pt x="1681" y="1890"/>
                      </a:lnTo>
                      <a:lnTo>
                        <a:pt x="1681" y="1652"/>
                      </a:lnTo>
                      <a:lnTo>
                        <a:pt x="1679" y="1631"/>
                      </a:lnTo>
                      <a:lnTo>
                        <a:pt x="1672" y="1611"/>
                      </a:lnTo>
                      <a:lnTo>
                        <a:pt x="1661" y="1593"/>
                      </a:lnTo>
                      <a:lnTo>
                        <a:pt x="1646" y="1577"/>
                      </a:lnTo>
                      <a:lnTo>
                        <a:pt x="1601" y="1541"/>
                      </a:lnTo>
                      <a:lnTo>
                        <a:pt x="1555" y="1507"/>
                      </a:lnTo>
                      <a:lnTo>
                        <a:pt x="1511" y="1476"/>
                      </a:lnTo>
                      <a:lnTo>
                        <a:pt x="1467" y="1445"/>
                      </a:lnTo>
                      <a:lnTo>
                        <a:pt x="1425" y="1416"/>
                      </a:lnTo>
                      <a:lnTo>
                        <a:pt x="1383" y="1391"/>
                      </a:lnTo>
                      <a:lnTo>
                        <a:pt x="1344" y="1367"/>
                      </a:lnTo>
                      <a:lnTo>
                        <a:pt x="1309" y="1346"/>
                      </a:lnTo>
                      <a:lnTo>
                        <a:pt x="1275" y="1326"/>
                      </a:lnTo>
                      <a:lnTo>
                        <a:pt x="1245" y="1310"/>
                      </a:lnTo>
                      <a:lnTo>
                        <a:pt x="1219" y="1296"/>
                      </a:lnTo>
                      <a:lnTo>
                        <a:pt x="1197" y="1284"/>
                      </a:lnTo>
                      <a:lnTo>
                        <a:pt x="1180" y="1276"/>
                      </a:lnTo>
                      <a:lnTo>
                        <a:pt x="1167" y="1269"/>
                      </a:lnTo>
                      <a:lnTo>
                        <a:pt x="1151" y="1259"/>
                      </a:lnTo>
                      <a:lnTo>
                        <a:pt x="1138" y="1245"/>
                      </a:lnTo>
                      <a:lnTo>
                        <a:pt x="1128" y="1229"/>
                      </a:lnTo>
                      <a:lnTo>
                        <a:pt x="1122" y="1211"/>
                      </a:lnTo>
                      <a:lnTo>
                        <a:pt x="1120" y="1192"/>
                      </a:lnTo>
                      <a:lnTo>
                        <a:pt x="1120" y="858"/>
                      </a:lnTo>
                      <a:lnTo>
                        <a:pt x="1122" y="841"/>
                      </a:lnTo>
                      <a:lnTo>
                        <a:pt x="1127" y="826"/>
                      </a:lnTo>
                      <a:lnTo>
                        <a:pt x="1138" y="812"/>
                      </a:lnTo>
                      <a:lnTo>
                        <a:pt x="1150" y="800"/>
                      </a:lnTo>
                      <a:lnTo>
                        <a:pt x="1167" y="786"/>
                      </a:lnTo>
                      <a:lnTo>
                        <a:pt x="1179" y="770"/>
                      </a:lnTo>
                      <a:lnTo>
                        <a:pt x="1186" y="749"/>
                      </a:lnTo>
                      <a:lnTo>
                        <a:pt x="1189" y="729"/>
                      </a:lnTo>
                      <a:lnTo>
                        <a:pt x="1189" y="383"/>
                      </a:lnTo>
                      <a:lnTo>
                        <a:pt x="1186" y="344"/>
                      </a:lnTo>
                      <a:lnTo>
                        <a:pt x="1177" y="307"/>
                      </a:lnTo>
                      <a:lnTo>
                        <a:pt x="1162" y="272"/>
                      </a:lnTo>
                      <a:lnTo>
                        <a:pt x="1142" y="240"/>
                      </a:lnTo>
                      <a:lnTo>
                        <a:pt x="1119" y="211"/>
                      </a:lnTo>
                      <a:lnTo>
                        <a:pt x="1090" y="188"/>
                      </a:lnTo>
                      <a:lnTo>
                        <a:pt x="1059" y="168"/>
                      </a:lnTo>
                      <a:lnTo>
                        <a:pt x="1024" y="153"/>
                      </a:lnTo>
                      <a:lnTo>
                        <a:pt x="987" y="144"/>
                      </a:lnTo>
                      <a:lnTo>
                        <a:pt x="948" y="141"/>
                      </a:lnTo>
                      <a:lnTo>
                        <a:pt x="874" y="141"/>
                      </a:lnTo>
                      <a:lnTo>
                        <a:pt x="835" y="144"/>
                      </a:lnTo>
                      <a:lnTo>
                        <a:pt x="798" y="153"/>
                      </a:lnTo>
                      <a:lnTo>
                        <a:pt x="763" y="168"/>
                      </a:lnTo>
                      <a:lnTo>
                        <a:pt x="732" y="187"/>
                      </a:lnTo>
                      <a:lnTo>
                        <a:pt x="703" y="211"/>
                      </a:lnTo>
                      <a:lnTo>
                        <a:pt x="679" y="240"/>
                      </a:lnTo>
                      <a:lnTo>
                        <a:pt x="660" y="272"/>
                      </a:lnTo>
                      <a:lnTo>
                        <a:pt x="645" y="306"/>
                      </a:lnTo>
                      <a:lnTo>
                        <a:pt x="636" y="344"/>
                      </a:lnTo>
                      <a:lnTo>
                        <a:pt x="633" y="383"/>
                      </a:lnTo>
                      <a:lnTo>
                        <a:pt x="633" y="729"/>
                      </a:lnTo>
                      <a:lnTo>
                        <a:pt x="636" y="750"/>
                      </a:lnTo>
                      <a:lnTo>
                        <a:pt x="643" y="770"/>
                      </a:lnTo>
                      <a:lnTo>
                        <a:pt x="655" y="786"/>
                      </a:lnTo>
                      <a:lnTo>
                        <a:pt x="671" y="800"/>
                      </a:lnTo>
                      <a:lnTo>
                        <a:pt x="684" y="812"/>
                      </a:lnTo>
                      <a:lnTo>
                        <a:pt x="694" y="826"/>
                      </a:lnTo>
                      <a:lnTo>
                        <a:pt x="700" y="841"/>
                      </a:lnTo>
                      <a:lnTo>
                        <a:pt x="702" y="858"/>
                      </a:lnTo>
                      <a:lnTo>
                        <a:pt x="702" y="1192"/>
                      </a:lnTo>
                      <a:lnTo>
                        <a:pt x="700" y="1211"/>
                      </a:lnTo>
                      <a:lnTo>
                        <a:pt x="694" y="1229"/>
                      </a:lnTo>
                      <a:lnTo>
                        <a:pt x="684" y="1245"/>
                      </a:lnTo>
                      <a:lnTo>
                        <a:pt x="671" y="1259"/>
                      </a:lnTo>
                      <a:lnTo>
                        <a:pt x="654" y="1269"/>
                      </a:lnTo>
                      <a:lnTo>
                        <a:pt x="642" y="1275"/>
                      </a:lnTo>
                      <a:lnTo>
                        <a:pt x="625" y="1284"/>
                      </a:lnTo>
                      <a:lnTo>
                        <a:pt x="603" y="1295"/>
                      </a:lnTo>
                      <a:lnTo>
                        <a:pt x="577" y="1310"/>
                      </a:lnTo>
                      <a:lnTo>
                        <a:pt x="547" y="1325"/>
                      </a:lnTo>
                      <a:lnTo>
                        <a:pt x="513" y="1344"/>
                      </a:lnTo>
                      <a:lnTo>
                        <a:pt x="478" y="1367"/>
                      </a:lnTo>
                      <a:lnTo>
                        <a:pt x="439" y="1390"/>
                      </a:lnTo>
                      <a:lnTo>
                        <a:pt x="397" y="1416"/>
                      </a:lnTo>
                      <a:lnTo>
                        <a:pt x="354" y="1444"/>
                      </a:lnTo>
                      <a:lnTo>
                        <a:pt x="311" y="1474"/>
                      </a:lnTo>
                      <a:lnTo>
                        <a:pt x="266" y="1506"/>
                      </a:lnTo>
                      <a:lnTo>
                        <a:pt x="221" y="1541"/>
                      </a:lnTo>
                      <a:lnTo>
                        <a:pt x="176" y="1577"/>
                      </a:lnTo>
                      <a:lnTo>
                        <a:pt x="161" y="1592"/>
                      </a:lnTo>
                      <a:lnTo>
                        <a:pt x="150" y="1610"/>
                      </a:lnTo>
                      <a:lnTo>
                        <a:pt x="143" y="1631"/>
                      </a:lnTo>
                      <a:lnTo>
                        <a:pt x="140" y="1652"/>
                      </a:lnTo>
                      <a:lnTo>
                        <a:pt x="140" y="1889"/>
                      </a:lnTo>
                      <a:lnTo>
                        <a:pt x="138" y="1908"/>
                      </a:lnTo>
                      <a:lnTo>
                        <a:pt x="131" y="1925"/>
                      </a:lnTo>
                      <a:lnTo>
                        <a:pt x="120" y="1938"/>
                      </a:lnTo>
                      <a:lnTo>
                        <a:pt x="105" y="1950"/>
                      </a:lnTo>
                      <a:lnTo>
                        <a:pt x="90" y="1956"/>
                      </a:lnTo>
                      <a:lnTo>
                        <a:pt x="71" y="1960"/>
                      </a:lnTo>
                      <a:lnTo>
                        <a:pt x="52" y="1956"/>
                      </a:lnTo>
                      <a:lnTo>
                        <a:pt x="35" y="1950"/>
                      </a:lnTo>
                      <a:lnTo>
                        <a:pt x="21" y="1938"/>
                      </a:lnTo>
                      <a:lnTo>
                        <a:pt x="9" y="1925"/>
                      </a:lnTo>
                      <a:lnTo>
                        <a:pt x="3" y="1908"/>
                      </a:lnTo>
                      <a:lnTo>
                        <a:pt x="0" y="1889"/>
                      </a:lnTo>
                      <a:lnTo>
                        <a:pt x="0" y="1652"/>
                      </a:lnTo>
                      <a:lnTo>
                        <a:pt x="3" y="1616"/>
                      </a:lnTo>
                      <a:lnTo>
                        <a:pt x="10" y="1582"/>
                      </a:lnTo>
                      <a:lnTo>
                        <a:pt x="23" y="1549"/>
                      </a:lnTo>
                      <a:lnTo>
                        <a:pt x="40" y="1520"/>
                      </a:lnTo>
                      <a:lnTo>
                        <a:pt x="61" y="1492"/>
                      </a:lnTo>
                      <a:lnTo>
                        <a:pt x="86" y="1468"/>
                      </a:lnTo>
                      <a:lnTo>
                        <a:pt x="134" y="1430"/>
                      </a:lnTo>
                      <a:lnTo>
                        <a:pt x="181" y="1394"/>
                      </a:lnTo>
                      <a:lnTo>
                        <a:pt x="229" y="1359"/>
                      </a:lnTo>
                      <a:lnTo>
                        <a:pt x="275" y="1328"/>
                      </a:lnTo>
                      <a:lnTo>
                        <a:pt x="321" y="1298"/>
                      </a:lnTo>
                      <a:lnTo>
                        <a:pt x="364" y="1270"/>
                      </a:lnTo>
                      <a:lnTo>
                        <a:pt x="405" y="1245"/>
                      </a:lnTo>
                      <a:lnTo>
                        <a:pt x="444" y="1223"/>
                      </a:lnTo>
                      <a:lnTo>
                        <a:pt x="479" y="1203"/>
                      </a:lnTo>
                      <a:lnTo>
                        <a:pt x="510" y="1185"/>
                      </a:lnTo>
                      <a:lnTo>
                        <a:pt x="538" y="1170"/>
                      </a:lnTo>
                      <a:lnTo>
                        <a:pt x="561" y="1158"/>
                      </a:lnTo>
                      <a:lnTo>
                        <a:pt x="561" y="891"/>
                      </a:lnTo>
                      <a:lnTo>
                        <a:pt x="537" y="864"/>
                      </a:lnTo>
                      <a:lnTo>
                        <a:pt x="518" y="834"/>
                      </a:lnTo>
                      <a:lnTo>
                        <a:pt x="504" y="800"/>
                      </a:lnTo>
                      <a:lnTo>
                        <a:pt x="495" y="765"/>
                      </a:lnTo>
                      <a:lnTo>
                        <a:pt x="492" y="728"/>
                      </a:lnTo>
                      <a:lnTo>
                        <a:pt x="492" y="382"/>
                      </a:lnTo>
                      <a:lnTo>
                        <a:pt x="495" y="334"/>
                      </a:lnTo>
                      <a:lnTo>
                        <a:pt x="504" y="288"/>
                      </a:lnTo>
                      <a:lnTo>
                        <a:pt x="518" y="244"/>
                      </a:lnTo>
                      <a:lnTo>
                        <a:pt x="537" y="202"/>
                      </a:lnTo>
                      <a:lnTo>
                        <a:pt x="560" y="164"/>
                      </a:lnTo>
                      <a:lnTo>
                        <a:pt x="588" y="128"/>
                      </a:lnTo>
                      <a:lnTo>
                        <a:pt x="620" y="96"/>
                      </a:lnTo>
                      <a:lnTo>
                        <a:pt x="655" y="69"/>
                      </a:lnTo>
                      <a:lnTo>
                        <a:pt x="694" y="45"/>
                      </a:lnTo>
                      <a:lnTo>
                        <a:pt x="735" y="25"/>
                      </a:lnTo>
                      <a:lnTo>
                        <a:pt x="779" y="12"/>
                      </a:lnTo>
                      <a:lnTo>
                        <a:pt x="826" y="2"/>
                      </a:lnTo>
                      <a:lnTo>
                        <a:pt x="873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18" name="Group 402"/>
              <p:cNvGrpSpPr/>
              <p:nvPr/>
            </p:nvGrpSpPr>
            <p:grpSpPr>
              <a:xfrm>
                <a:off x="696250" y="3615136"/>
                <a:ext cx="554037" cy="540000"/>
                <a:chOff x="9142413" y="3460750"/>
                <a:chExt cx="554037" cy="555625"/>
              </a:xfrm>
              <a:solidFill>
                <a:schemeClr val="bg1"/>
              </a:solidFill>
            </p:grpSpPr>
            <p:sp>
              <p:nvSpPr>
                <p:cNvPr id="74" name="Freeform 313"/>
                <p:cNvSpPr>
                  <a:spLocks noEditPoints="1"/>
                </p:cNvSpPr>
                <p:nvPr/>
              </p:nvSpPr>
              <p:spPr bwMode="auto">
                <a:xfrm>
                  <a:off x="9355138" y="3683000"/>
                  <a:ext cx="128587" cy="130175"/>
                </a:xfrm>
                <a:custGeom>
                  <a:avLst/>
                  <a:gdLst>
                    <a:gd name="T0" fmla="*/ 365 w 814"/>
                    <a:gd name="T1" fmla="*/ 120 h 817"/>
                    <a:gd name="T2" fmla="*/ 285 w 814"/>
                    <a:gd name="T3" fmla="*/ 144 h 817"/>
                    <a:gd name="T4" fmla="*/ 217 w 814"/>
                    <a:gd name="T5" fmla="*/ 189 h 817"/>
                    <a:gd name="T6" fmla="*/ 164 w 814"/>
                    <a:gd name="T7" fmla="*/ 249 h 817"/>
                    <a:gd name="T8" fmla="*/ 129 w 814"/>
                    <a:gd name="T9" fmla="*/ 325 h 817"/>
                    <a:gd name="T10" fmla="*/ 116 w 814"/>
                    <a:gd name="T11" fmla="*/ 408 h 817"/>
                    <a:gd name="T12" fmla="*/ 129 w 814"/>
                    <a:gd name="T13" fmla="*/ 492 h 817"/>
                    <a:gd name="T14" fmla="*/ 164 w 814"/>
                    <a:gd name="T15" fmla="*/ 567 h 817"/>
                    <a:gd name="T16" fmla="*/ 217 w 814"/>
                    <a:gd name="T17" fmla="*/ 628 h 817"/>
                    <a:gd name="T18" fmla="*/ 285 w 814"/>
                    <a:gd name="T19" fmla="*/ 672 h 817"/>
                    <a:gd name="T20" fmla="*/ 365 w 814"/>
                    <a:gd name="T21" fmla="*/ 697 h 817"/>
                    <a:gd name="T22" fmla="*/ 450 w 814"/>
                    <a:gd name="T23" fmla="*/ 697 h 817"/>
                    <a:gd name="T24" fmla="*/ 530 w 814"/>
                    <a:gd name="T25" fmla="*/ 672 h 817"/>
                    <a:gd name="T26" fmla="*/ 598 w 814"/>
                    <a:gd name="T27" fmla="*/ 628 h 817"/>
                    <a:gd name="T28" fmla="*/ 651 w 814"/>
                    <a:gd name="T29" fmla="*/ 567 h 817"/>
                    <a:gd name="T30" fmla="*/ 686 w 814"/>
                    <a:gd name="T31" fmla="*/ 492 h 817"/>
                    <a:gd name="T32" fmla="*/ 698 w 814"/>
                    <a:gd name="T33" fmla="*/ 408 h 817"/>
                    <a:gd name="T34" fmla="*/ 686 w 814"/>
                    <a:gd name="T35" fmla="*/ 325 h 817"/>
                    <a:gd name="T36" fmla="*/ 651 w 814"/>
                    <a:gd name="T37" fmla="*/ 249 h 817"/>
                    <a:gd name="T38" fmla="*/ 598 w 814"/>
                    <a:gd name="T39" fmla="*/ 189 h 817"/>
                    <a:gd name="T40" fmla="*/ 530 w 814"/>
                    <a:gd name="T41" fmla="*/ 144 h 817"/>
                    <a:gd name="T42" fmla="*/ 450 w 814"/>
                    <a:gd name="T43" fmla="*/ 120 h 817"/>
                    <a:gd name="T44" fmla="*/ 407 w 814"/>
                    <a:gd name="T45" fmla="*/ 0 h 817"/>
                    <a:gd name="T46" fmla="*/ 507 w 814"/>
                    <a:gd name="T47" fmla="*/ 13 h 817"/>
                    <a:gd name="T48" fmla="*/ 598 w 814"/>
                    <a:gd name="T49" fmla="*/ 48 h 817"/>
                    <a:gd name="T50" fmla="*/ 678 w 814"/>
                    <a:gd name="T51" fmla="*/ 103 h 817"/>
                    <a:gd name="T52" fmla="*/ 741 w 814"/>
                    <a:gd name="T53" fmla="*/ 175 h 817"/>
                    <a:gd name="T54" fmla="*/ 787 w 814"/>
                    <a:gd name="T55" fmla="*/ 261 h 817"/>
                    <a:gd name="T56" fmla="*/ 811 w 814"/>
                    <a:gd name="T57" fmla="*/ 357 h 817"/>
                    <a:gd name="T58" fmla="*/ 811 w 814"/>
                    <a:gd name="T59" fmla="*/ 459 h 817"/>
                    <a:gd name="T60" fmla="*/ 787 w 814"/>
                    <a:gd name="T61" fmla="*/ 556 h 817"/>
                    <a:gd name="T62" fmla="*/ 741 w 814"/>
                    <a:gd name="T63" fmla="*/ 642 h 817"/>
                    <a:gd name="T64" fmla="*/ 678 w 814"/>
                    <a:gd name="T65" fmla="*/ 714 h 817"/>
                    <a:gd name="T66" fmla="*/ 598 w 814"/>
                    <a:gd name="T67" fmla="*/ 769 h 817"/>
                    <a:gd name="T68" fmla="*/ 507 w 814"/>
                    <a:gd name="T69" fmla="*/ 804 h 817"/>
                    <a:gd name="T70" fmla="*/ 407 w 814"/>
                    <a:gd name="T71" fmla="*/ 817 h 817"/>
                    <a:gd name="T72" fmla="*/ 308 w 814"/>
                    <a:gd name="T73" fmla="*/ 804 h 817"/>
                    <a:gd name="T74" fmla="*/ 217 w 814"/>
                    <a:gd name="T75" fmla="*/ 769 h 817"/>
                    <a:gd name="T76" fmla="*/ 137 w 814"/>
                    <a:gd name="T77" fmla="*/ 714 h 817"/>
                    <a:gd name="T78" fmla="*/ 73 w 814"/>
                    <a:gd name="T79" fmla="*/ 642 h 817"/>
                    <a:gd name="T80" fmla="*/ 27 w 814"/>
                    <a:gd name="T81" fmla="*/ 556 h 817"/>
                    <a:gd name="T82" fmla="*/ 3 w 814"/>
                    <a:gd name="T83" fmla="*/ 459 h 817"/>
                    <a:gd name="T84" fmla="*/ 3 w 814"/>
                    <a:gd name="T85" fmla="*/ 357 h 817"/>
                    <a:gd name="T86" fmla="*/ 27 w 814"/>
                    <a:gd name="T87" fmla="*/ 261 h 817"/>
                    <a:gd name="T88" fmla="*/ 73 w 814"/>
                    <a:gd name="T89" fmla="*/ 175 h 817"/>
                    <a:gd name="T90" fmla="*/ 137 w 814"/>
                    <a:gd name="T91" fmla="*/ 103 h 817"/>
                    <a:gd name="T92" fmla="*/ 217 w 814"/>
                    <a:gd name="T93" fmla="*/ 48 h 817"/>
                    <a:gd name="T94" fmla="*/ 308 w 814"/>
                    <a:gd name="T95" fmla="*/ 13 h 817"/>
                    <a:gd name="T96" fmla="*/ 407 w 814"/>
                    <a:gd name="T97" fmla="*/ 0 h 8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814" h="817">
                      <a:moveTo>
                        <a:pt x="407" y="117"/>
                      </a:moveTo>
                      <a:lnTo>
                        <a:pt x="365" y="120"/>
                      </a:lnTo>
                      <a:lnTo>
                        <a:pt x="323" y="129"/>
                      </a:lnTo>
                      <a:lnTo>
                        <a:pt x="285" y="144"/>
                      </a:lnTo>
                      <a:lnTo>
                        <a:pt x="249" y="163"/>
                      </a:lnTo>
                      <a:lnTo>
                        <a:pt x="217" y="189"/>
                      </a:lnTo>
                      <a:lnTo>
                        <a:pt x="188" y="217"/>
                      </a:lnTo>
                      <a:lnTo>
                        <a:pt x="164" y="249"/>
                      </a:lnTo>
                      <a:lnTo>
                        <a:pt x="144" y="285"/>
                      </a:lnTo>
                      <a:lnTo>
                        <a:pt x="129" y="325"/>
                      </a:lnTo>
                      <a:lnTo>
                        <a:pt x="119" y="365"/>
                      </a:lnTo>
                      <a:lnTo>
                        <a:pt x="116" y="408"/>
                      </a:lnTo>
                      <a:lnTo>
                        <a:pt x="119" y="452"/>
                      </a:lnTo>
                      <a:lnTo>
                        <a:pt x="129" y="492"/>
                      </a:lnTo>
                      <a:lnTo>
                        <a:pt x="144" y="531"/>
                      </a:lnTo>
                      <a:lnTo>
                        <a:pt x="164" y="567"/>
                      </a:lnTo>
                      <a:lnTo>
                        <a:pt x="188" y="599"/>
                      </a:lnTo>
                      <a:lnTo>
                        <a:pt x="217" y="628"/>
                      </a:lnTo>
                      <a:lnTo>
                        <a:pt x="249" y="653"/>
                      </a:lnTo>
                      <a:lnTo>
                        <a:pt x="285" y="672"/>
                      </a:lnTo>
                      <a:lnTo>
                        <a:pt x="323" y="687"/>
                      </a:lnTo>
                      <a:lnTo>
                        <a:pt x="365" y="697"/>
                      </a:lnTo>
                      <a:lnTo>
                        <a:pt x="407" y="700"/>
                      </a:lnTo>
                      <a:lnTo>
                        <a:pt x="450" y="697"/>
                      </a:lnTo>
                      <a:lnTo>
                        <a:pt x="492" y="687"/>
                      </a:lnTo>
                      <a:lnTo>
                        <a:pt x="530" y="672"/>
                      </a:lnTo>
                      <a:lnTo>
                        <a:pt x="566" y="653"/>
                      </a:lnTo>
                      <a:lnTo>
                        <a:pt x="598" y="628"/>
                      </a:lnTo>
                      <a:lnTo>
                        <a:pt x="627" y="599"/>
                      </a:lnTo>
                      <a:lnTo>
                        <a:pt x="651" y="567"/>
                      </a:lnTo>
                      <a:lnTo>
                        <a:pt x="671" y="531"/>
                      </a:lnTo>
                      <a:lnTo>
                        <a:pt x="686" y="492"/>
                      </a:lnTo>
                      <a:lnTo>
                        <a:pt x="695" y="452"/>
                      </a:lnTo>
                      <a:lnTo>
                        <a:pt x="698" y="408"/>
                      </a:lnTo>
                      <a:lnTo>
                        <a:pt x="695" y="365"/>
                      </a:lnTo>
                      <a:lnTo>
                        <a:pt x="686" y="325"/>
                      </a:lnTo>
                      <a:lnTo>
                        <a:pt x="671" y="285"/>
                      </a:lnTo>
                      <a:lnTo>
                        <a:pt x="651" y="249"/>
                      </a:lnTo>
                      <a:lnTo>
                        <a:pt x="627" y="217"/>
                      </a:lnTo>
                      <a:lnTo>
                        <a:pt x="598" y="189"/>
                      </a:lnTo>
                      <a:lnTo>
                        <a:pt x="566" y="163"/>
                      </a:lnTo>
                      <a:lnTo>
                        <a:pt x="530" y="144"/>
                      </a:lnTo>
                      <a:lnTo>
                        <a:pt x="492" y="129"/>
                      </a:lnTo>
                      <a:lnTo>
                        <a:pt x="450" y="120"/>
                      </a:lnTo>
                      <a:lnTo>
                        <a:pt x="407" y="117"/>
                      </a:lnTo>
                      <a:close/>
                      <a:moveTo>
                        <a:pt x="407" y="0"/>
                      </a:moveTo>
                      <a:lnTo>
                        <a:pt x="459" y="3"/>
                      </a:lnTo>
                      <a:lnTo>
                        <a:pt x="507" y="13"/>
                      </a:lnTo>
                      <a:lnTo>
                        <a:pt x="554" y="28"/>
                      </a:lnTo>
                      <a:lnTo>
                        <a:pt x="598" y="48"/>
                      </a:lnTo>
                      <a:lnTo>
                        <a:pt x="640" y="73"/>
                      </a:lnTo>
                      <a:lnTo>
                        <a:pt x="678" y="103"/>
                      </a:lnTo>
                      <a:lnTo>
                        <a:pt x="712" y="137"/>
                      </a:lnTo>
                      <a:lnTo>
                        <a:pt x="741" y="175"/>
                      </a:lnTo>
                      <a:lnTo>
                        <a:pt x="767" y="216"/>
                      </a:lnTo>
                      <a:lnTo>
                        <a:pt x="787" y="261"/>
                      </a:lnTo>
                      <a:lnTo>
                        <a:pt x="802" y="308"/>
                      </a:lnTo>
                      <a:lnTo>
                        <a:pt x="811" y="357"/>
                      </a:lnTo>
                      <a:lnTo>
                        <a:pt x="814" y="408"/>
                      </a:lnTo>
                      <a:lnTo>
                        <a:pt x="811" y="459"/>
                      </a:lnTo>
                      <a:lnTo>
                        <a:pt x="802" y="509"/>
                      </a:lnTo>
                      <a:lnTo>
                        <a:pt x="787" y="556"/>
                      </a:lnTo>
                      <a:lnTo>
                        <a:pt x="767" y="600"/>
                      </a:lnTo>
                      <a:lnTo>
                        <a:pt x="741" y="642"/>
                      </a:lnTo>
                      <a:lnTo>
                        <a:pt x="712" y="679"/>
                      </a:lnTo>
                      <a:lnTo>
                        <a:pt x="678" y="714"/>
                      </a:lnTo>
                      <a:lnTo>
                        <a:pt x="640" y="743"/>
                      </a:lnTo>
                      <a:lnTo>
                        <a:pt x="598" y="769"/>
                      </a:lnTo>
                      <a:lnTo>
                        <a:pt x="554" y="789"/>
                      </a:lnTo>
                      <a:lnTo>
                        <a:pt x="507" y="804"/>
                      </a:lnTo>
                      <a:lnTo>
                        <a:pt x="459" y="813"/>
                      </a:lnTo>
                      <a:lnTo>
                        <a:pt x="407" y="817"/>
                      </a:lnTo>
                      <a:lnTo>
                        <a:pt x="356" y="813"/>
                      </a:lnTo>
                      <a:lnTo>
                        <a:pt x="308" y="804"/>
                      </a:lnTo>
                      <a:lnTo>
                        <a:pt x="260" y="789"/>
                      </a:lnTo>
                      <a:lnTo>
                        <a:pt x="217" y="769"/>
                      </a:lnTo>
                      <a:lnTo>
                        <a:pt x="175" y="743"/>
                      </a:lnTo>
                      <a:lnTo>
                        <a:pt x="137" y="714"/>
                      </a:lnTo>
                      <a:lnTo>
                        <a:pt x="103" y="679"/>
                      </a:lnTo>
                      <a:lnTo>
                        <a:pt x="73" y="642"/>
                      </a:lnTo>
                      <a:lnTo>
                        <a:pt x="48" y="600"/>
                      </a:lnTo>
                      <a:lnTo>
                        <a:pt x="27" y="556"/>
                      </a:lnTo>
                      <a:lnTo>
                        <a:pt x="12" y="509"/>
                      </a:lnTo>
                      <a:lnTo>
                        <a:pt x="3" y="459"/>
                      </a:lnTo>
                      <a:lnTo>
                        <a:pt x="0" y="408"/>
                      </a:lnTo>
                      <a:lnTo>
                        <a:pt x="3" y="357"/>
                      </a:lnTo>
                      <a:lnTo>
                        <a:pt x="12" y="308"/>
                      </a:lnTo>
                      <a:lnTo>
                        <a:pt x="27" y="261"/>
                      </a:lnTo>
                      <a:lnTo>
                        <a:pt x="48" y="216"/>
                      </a:lnTo>
                      <a:lnTo>
                        <a:pt x="73" y="175"/>
                      </a:lnTo>
                      <a:lnTo>
                        <a:pt x="103" y="137"/>
                      </a:lnTo>
                      <a:lnTo>
                        <a:pt x="137" y="103"/>
                      </a:lnTo>
                      <a:lnTo>
                        <a:pt x="175" y="73"/>
                      </a:lnTo>
                      <a:lnTo>
                        <a:pt x="217" y="48"/>
                      </a:lnTo>
                      <a:lnTo>
                        <a:pt x="260" y="28"/>
                      </a:lnTo>
                      <a:lnTo>
                        <a:pt x="308" y="13"/>
                      </a:lnTo>
                      <a:lnTo>
                        <a:pt x="356" y="3"/>
                      </a:lnTo>
                      <a:lnTo>
                        <a:pt x="40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5" name="Freeform 314"/>
                <p:cNvSpPr>
                  <a:spLocks/>
                </p:cNvSpPr>
                <p:nvPr/>
              </p:nvSpPr>
              <p:spPr bwMode="auto">
                <a:xfrm>
                  <a:off x="9410700" y="3738563"/>
                  <a:ext cx="17462" cy="19050"/>
                </a:xfrm>
                <a:custGeom>
                  <a:avLst/>
                  <a:gdLst>
                    <a:gd name="T0" fmla="*/ 58 w 116"/>
                    <a:gd name="T1" fmla="*/ 0 h 117"/>
                    <a:gd name="T2" fmla="*/ 77 w 116"/>
                    <a:gd name="T3" fmla="*/ 3 h 117"/>
                    <a:gd name="T4" fmla="*/ 93 w 116"/>
                    <a:gd name="T5" fmla="*/ 12 h 117"/>
                    <a:gd name="T6" fmla="*/ 106 w 116"/>
                    <a:gd name="T7" fmla="*/ 24 h 117"/>
                    <a:gd name="T8" fmla="*/ 113 w 116"/>
                    <a:gd name="T9" fmla="*/ 40 h 117"/>
                    <a:gd name="T10" fmla="*/ 116 w 116"/>
                    <a:gd name="T11" fmla="*/ 58 h 117"/>
                    <a:gd name="T12" fmla="*/ 113 w 116"/>
                    <a:gd name="T13" fmla="*/ 76 h 117"/>
                    <a:gd name="T14" fmla="*/ 106 w 116"/>
                    <a:gd name="T15" fmla="*/ 93 h 117"/>
                    <a:gd name="T16" fmla="*/ 93 w 116"/>
                    <a:gd name="T17" fmla="*/ 105 h 117"/>
                    <a:gd name="T18" fmla="*/ 77 w 116"/>
                    <a:gd name="T19" fmla="*/ 113 h 117"/>
                    <a:gd name="T20" fmla="*/ 58 w 116"/>
                    <a:gd name="T21" fmla="*/ 117 h 117"/>
                    <a:gd name="T22" fmla="*/ 40 w 116"/>
                    <a:gd name="T23" fmla="*/ 113 h 117"/>
                    <a:gd name="T24" fmla="*/ 24 w 116"/>
                    <a:gd name="T25" fmla="*/ 105 h 117"/>
                    <a:gd name="T26" fmla="*/ 11 w 116"/>
                    <a:gd name="T27" fmla="*/ 93 h 117"/>
                    <a:gd name="T28" fmla="*/ 3 w 116"/>
                    <a:gd name="T29" fmla="*/ 76 h 117"/>
                    <a:gd name="T30" fmla="*/ 0 w 116"/>
                    <a:gd name="T31" fmla="*/ 58 h 117"/>
                    <a:gd name="T32" fmla="*/ 3 w 116"/>
                    <a:gd name="T33" fmla="*/ 40 h 117"/>
                    <a:gd name="T34" fmla="*/ 11 w 116"/>
                    <a:gd name="T35" fmla="*/ 24 h 117"/>
                    <a:gd name="T36" fmla="*/ 24 w 116"/>
                    <a:gd name="T37" fmla="*/ 12 h 117"/>
                    <a:gd name="T38" fmla="*/ 40 w 116"/>
                    <a:gd name="T39" fmla="*/ 3 h 117"/>
                    <a:gd name="T40" fmla="*/ 58 w 116"/>
                    <a:gd name="T41" fmla="*/ 0 h 1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6" h="117">
                      <a:moveTo>
                        <a:pt x="58" y="0"/>
                      </a:moveTo>
                      <a:lnTo>
                        <a:pt x="77" y="3"/>
                      </a:lnTo>
                      <a:lnTo>
                        <a:pt x="93" y="12"/>
                      </a:lnTo>
                      <a:lnTo>
                        <a:pt x="106" y="24"/>
                      </a:lnTo>
                      <a:lnTo>
                        <a:pt x="113" y="40"/>
                      </a:lnTo>
                      <a:lnTo>
                        <a:pt x="116" y="58"/>
                      </a:lnTo>
                      <a:lnTo>
                        <a:pt x="113" y="76"/>
                      </a:lnTo>
                      <a:lnTo>
                        <a:pt x="106" y="93"/>
                      </a:lnTo>
                      <a:lnTo>
                        <a:pt x="93" y="105"/>
                      </a:lnTo>
                      <a:lnTo>
                        <a:pt x="77" y="113"/>
                      </a:lnTo>
                      <a:lnTo>
                        <a:pt x="58" y="117"/>
                      </a:lnTo>
                      <a:lnTo>
                        <a:pt x="40" y="113"/>
                      </a:lnTo>
                      <a:lnTo>
                        <a:pt x="24" y="105"/>
                      </a:lnTo>
                      <a:lnTo>
                        <a:pt x="11" y="93"/>
                      </a:lnTo>
                      <a:lnTo>
                        <a:pt x="3" y="76"/>
                      </a:lnTo>
                      <a:lnTo>
                        <a:pt x="0" y="58"/>
                      </a:lnTo>
                      <a:lnTo>
                        <a:pt x="3" y="40"/>
                      </a:lnTo>
                      <a:lnTo>
                        <a:pt x="11" y="24"/>
                      </a:lnTo>
                      <a:lnTo>
                        <a:pt x="24" y="12"/>
                      </a:lnTo>
                      <a:lnTo>
                        <a:pt x="40" y="3"/>
                      </a:lnTo>
                      <a:lnTo>
                        <a:pt x="58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6" name="Freeform 315"/>
                <p:cNvSpPr>
                  <a:spLocks noEditPoints="1"/>
                </p:cNvSpPr>
                <p:nvPr/>
              </p:nvSpPr>
              <p:spPr bwMode="auto">
                <a:xfrm>
                  <a:off x="9142413" y="3460750"/>
                  <a:ext cx="554037" cy="555625"/>
                </a:xfrm>
                <a:custGeom>
                  <a:avLst/>
                  <a:gdLst>
                    <a:gd name="T0" fmla="*/ 2665 w 3490"/>
                    <a:gd name="T1" fmla="*/ 2900 h 3500"/>
                    <a:gd name="T2" fmla="*/ 2708 w 3490"/>
                    <a:gd name="T3" fmla="*/ 3348 h 3500"/>
                    <a:gd name="T4" fmla="*/ 3245 w 3490"/>
                    <a:gd name="T5" fmla="*/ 2748 h 3500"/>
                    <a:gd name="T6" fmla="*/ 286 w 3490"/>
                    <a:gd name="T7" fmla="*/ 2726 h 3500"/>
                    <a:gd name="T8" fmla="*/ 750 w 3490"/>
                    <a:gd name="T9" fmla="*/ 3383 h 3500"/>
                    <a:gd name="T10" fmla="*/ 845 w 3490"/>
                    <a:gd name="T11" fmla="*/ 2944 h 3500"/>
                    <a:gd name="T12" fmla="*/ 465 w 3490"/>
                    <a:gd name="T13" fmla="*/ 2683 h 3500"/>
                    <a:gd name="T14" fmla="*/ 2706 w 3490"/>
                    <a:gd name="T15" fmla="*/ 2363 h 3500"/>
                    <a:gd name="T16" fmla="*/ 2162 w 3490"/>
                    <a:gd name="T17" fmla="*/ 2373 h 3500"/>
                    <a:gd name="T18" fmla="*/ 2242 w 3490"/>
                    <a:gd name="T19" fmla="*/ 2814 h 3500"/>
                    <a:gd name="T20" fmla="*/ 2014 w 3490"/>
                    <a:gd name="T21" fmla="*/ 3180 h 3500"/>
                    <a:gd name="T22" fmla="*/ 2565 w 3490"/>
                    <a:gd name="T23" fmla="*/ 3339 h 3500"/>
                    <a:gd name="T24" fmla="*/ 2573 w 3490"/>
                    <a:gd name="T25" fmla="*/ 2827 h 3500"/>
                    <a:gd name="T26" fmla="*/ 3025 w 3490"/>
                    <a:gd name="T27" fmla="*/ 2567 h 3500"/>
                    <a:gd name="T28" fmla="*/ 3296 w 3490"/>
                    <a:gd name="T29" fmla="*/ 2330 h 3500"/>
                    <a:gd name="T30" fmla="*/ 2935 w 3490"/>
                    <a:gd name="T31" fmla="*/ 1983 h 3500"/>
                    <a:gd name="T32" fmla="*/ 194 w 3490"/>
                    <a:gd name="T33" fmla="*/ 2330 h 3500"/>
                    <a:gd name="T34" fmla="*/ 465 w 3490"/>
                    <a:gd name="T35" fmla="*/ 2567 h 3500"/>
                    <a:gd name="T36" fmla="*/ 917 w 3490"/>
                    <a:gd name="T37" fmla="*/ 2827 h 3500"/>
                    <a:gd name="T38" fmla="*/ 925 w 3490"/>
                    <a:gd name="T39" fmla="*/ 3339 h 3500"/>
                    <a:gd name="T40" fmla="*/ 1476 w 3490"/>
                    <a:gd name="T41" fmla="*/ 3180 h 3500"/>
                    <a:gd name="T42" fmla="*/ 1248 w 3490"/>
                    <a:gd name="T43" fmla="*/ 2814 h 3500"/>
                    <a:gd name="T44" fmla="*/ 1328 w 3490"/>
                    <a:gd name="T45" fmla="*/ 2373 h 3500"/>
                    <a:gd name="T46" fmla="*/ 784 w 3490"/>
                    <a:gd name="T47" fmla="*/ 2363 h 3500"/>
                    <a:gd name="T48" fmla="*/ 391 w 3490"/>
                    <a:gd name="T49" fmla="*/ 1983 h 3500"/>
                    <a:gd name="T50" fmla="*/ 2172 w 3490"/>
                    <a:gd name="T51" fmla="*/ 117 h 3500"/>
                    <a:gd name="T52" fmla="*/ 1687 w 3490"/>
                    <a:gd name="T53" fmla="*/ 294 h 3500"/>
                    <a:gd name="T54" fmla="*/ 254 w 3490"/>
                    <a:gd name="T55" fmla="*/ 2095 h 3500"/>
                    <a:gd name="T56" fmla="*/ 800 w 3490"/>
                    <a:gd name="T57" fmla="*/ 2241 h 3500"/>
                    <a:gd name="T58" fmla="*/ 1365 w 3490"/>
                    <a:gd name="T59" fmla="*/ 2518 h 3500"/>
                    <a:gd name="T60" fmla="*/ 1391 w 3490"/>
                    <a:gd name="T61" fmla="*/ 2812 h 3500"/>
                    <a:gd name="T62" fmla="*/ 1398 w 3490"/>
                    <a:gd name="T63" fmla="*/ 3335 h 3500"/>
                    <a:gd name="T64" fmla="*/ 1803 w 3490"/>
                    <a:gd name="T65" fmla="*/ 2905 h 3500"/>
                    <a:gd name="T66" fmla="*/ 2167 w 3490"/>
                    <a:gd name="T67" fmla="*/ 2668 h 3500"/>
                    <a:gd name="T68" fmla="*/ 2519 w 3490"/>
                    <a:gd name="T69" fmla="*/ 2264 h 3500"/>
                    <a:gd name="T70" fmla="*/ 2788 w 3490"/>
                    <a:gd name="T71" fmla="*/ 2122 h 3500"/>
                    <a:gd name="T72" fmla="*/ 3342 w 3490"/>
                    <a:gd name="T73" fmla="*/ 2222 h 3500"/>
                    <a:gd name="T74" fmla="*/ 2237 w 3490"/>
                    <a:gd name="T75" fmla="*/ 190 h 3500"/>
                    <a:gd name="T76" fmla="*/ 2603 w 3490"/>
                    <a:gd name="T77" fmla="*/ 287 h 3500"/>
                    <a:gd name="T78" fmla="*/ 2696 w 3490"/>
                    <a:gd name="T79" fmla="*/ 642 h 3500"/>
                    <a:gd name="T80" fmla="*/ 2993 w 3490"/>
                    <a:gd name="T81" fmla="*/ 597 h 3500"/>
                    <a:gd name="T82" fmla="*/ 3176 w 3490"/>
                    <a:gd name="T83" fmla="*/ 912 h 3500"/>
                    <a:gd name="T84" fmla="*/ 3256 w 3490"/>
                    <a:gd name="T85" fmla="*/ 992 h 3500"/>
                    <a:gd name="T86" fmla="*/ 3183 w 3490"/>
                    <a:gd name="T87" fmla="*/ 1342 h 3500"/>
                    <a:gd name="T88" fmla="*/ 3166 w 3490"/>
                    <a:gd name="T89" fmla="*/ 1559 h 3500"/>
                    <a:gd name="T90" fmla="*/ 2297 w 3490"/>
                    <a:gd name="T91" fmla="*/ 1686 h 3500"/>
                    <a:gd name="T92" fmla="*/ 2265 w 3490"/>
                    <a:gd name="T93" fmla="*/ 1579 h 3500"/>
                    <a:gd name="T94" fmla="*/ 2632 w 3490"/>
                    <a:gd name="T95" fmla="*/ 740 h 3500"/>
                    <a:gd name="T96" fmla="*/ 1803 w 3490"/>
                    <a:gd name="T97" fmla="*/ 412 h 3500"/>
                    <a:gd name="T98" fmla="*/ 1690 w 3490"/>
                    <a:gd name="T99" fmla="*/ 1243 h 3500"/>
                    <a:gd name="T100" fmla="*/ 1006 w 3490"/>
                    <a:gd name="T101" fmla="*/ 630 h 3500"/>
                    <a:gd name="T102" fmla="*/ 439 w 3490"/>
                    <a:gd name="T103" fmla="*/ 1322 h 3500"/>
                    <a:gd name="T104" fmla="*/ 1218 w 3490"/>
                    <a:gd name="T105" fmla="*/ 1679 h 3500"/>
                    <a:gd name="T106" fmla="*/ 342 w 3490"/>
                    <a:gd name="T107" fmla="*/ 1554 h 3500"/>
                    <a:gd name="T108" fmla="*/ 305 w 3490"/>
                    <a:gd name="T109" fmla="*/ 1348 h 3500"/>
                    <a:gd name="T110" fmla="*/ 242 w 3490"/>
                    <a:gd name="T111" fmla="*/ 1003 h 3500"/>
                    <a:gd name="T112" fmla="*/ 298 w 3490"/>
                    <a:gd name="T113" fmla="*/ 906 h 3500"/>
                    <a:gd name="T114" fmla="*/ 495 w 3490"/>
                    <a:gd name="T115" fmla="*/ 597 h 3500"/>
                    <a:gd name="T116" fmla="*/ 793 w 3490"/>
                    <a:gd name="T117" fmla="*/ 642 h 3500"/>
                    <a:gd name="T118" fmla="*/ 886 w 3490"/>
                    <a:gd name="T119" fmla="*/ 286 h 3500"/>
                    <a:gd name="T120" fmla="*/ 1252 w 3490"/>
                    <a:gd name="T121" fmla="*/ 190 h 3500"/>
                    <a:gd name="T122" fmla="*/ 3490 w 3490"/>
                    <a:gd name="T123" fmla="*/ 0 h 35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3490" h="3500">
                      <a:moveTo>
                        <a:pt x="3025" y="2683"/>
                      </a:moveTo>
                      <a:lnTo>
                        <a:pt x="2974" y="2687"/>
                      </a:lnTo>
                      <a:lnTo>
                        <a:pt x="2924" y="2696"/>
                      </a:lnTo>
                      <a:lnTo>
                        <a:pt x="2878" y="2711"/>
                      </a:lnTo>
                      <a:lnTo>
                        <a:pt x="2833" y="2731"/>
                      </a:lnTo>
                      <a:lnTo>
                        <a:pt x="2792" y="2757"/>
                      </a:lnTo>
                      <a:lnTo>
                        <a:pt x="2754" y="2786"/>
                      </a:lnTo>
                      <a:lnTo>
                        <a:pt x="2720" y="2820"/>
                      </a:lnTo>
                      <a:lnTo>
                        <a:pt x="2690" y="2858"/>
                      </a:lnTo>
                      <a:lnTo>
                        <a:pt x="2665" y="2900"/>
                      </a:lnTo>
                      <a:lnTo>
                        <a:pt x="2645" y="2944"/>
                      </a:lnTo>
                      <a:lnTo>
                        <a:pt x="2630" y="2991"/>
                      </a:lnTo>
                      <a:lnTo>
                        <a:pt x="2621" y="3041"/>
                      </a:lnTo>
                      <a:lnTo>
                        <a:pt x="2618" y="3092"/>
                      </a:lnTo>
                      <a:lnTo>
                        <a:pt x="2621" y="3138"/>
                      </a:lnTo>
                      <a:lnTo>
                        <a:pt x="2628" y="3184"/>
                      </a:lnTo>
                      <a:lnTo>
                        <a:pt x="2641" y="3228"/>
                      </a:lnTo>
                      <a:lnTo>
                        <a:pt x="2659" y="3271"/>
                      </a:lnTo>
                      <a:lnTo>
                        <a:pt x="2682" y="3311"/>
                      </a:lnTo>
                      <a:lnTo>
                        <a:pt x="2708" y="3348"/>
                      </a:lnTo>
                      <a:lnTo>
                        <a:pt x="2740" y="3383"/>
                      </a:lnTo>
                      <a:lnTo>
                        <a:pt x="3309" y="3383"/>
                      </a:lnTo>
                      <a:lnTo>
                        <a:pt x="3333" y="3358"/>
                      </a:lnTo>
                      <a:lnTo>
                        <a:pt x="3355" y="3330"/>
                      </a:lnTo>
                      <a:lnTo>
                        <a:pt x="3374" y="3302"/>
                      </a:lnTo>
                      <a:lnTo>
                        <a:pt x="3374" y="2882"/>
                      </a:lnTo>
                      <a:lnTo>
                        <a:pt x="3347" y="2842"/>
                      </a:lnTo>
                      <a:lnTo>
                        <a:pt x="3317" y="2807"/>
                      </a:lnTo>
                      <a:lnTo>
                        <a:pt x="3282" y="2776"/>
                      </a:lnTo>
                      <a:lnTo>
                        <a:pt x="3245" y="2748"/>
                      </a:lnTo>
                      <a:lnTo>
                        <a:pt x="3204" y="2726"/>
                      </a:lnTo>
                      <a:lnTo>
                        <a:pt x="3162" y="2708"/>
                      </a:lnTo>
                      <a:lnTo>
                        <a:pt x="3118" y="2694"/>
                      </a:lnTo>
                      <a:lnTo>
                        <a:pt x="3072" y="2687"/>
                      </a:lnTo>
                      <a:lnTo>
                        <a:pt x="3025" y="2683"/>
                      </a:lnTo>
                      <a:close/>
                      <a:moveTo>
                        <a:pt x="465" y="2683"/>
                      </a:moveTo>
                      <a:lnTo>
                        <a:pt x="418" y="2687"/>
                      </a:lnTo>
                      <a:lnTo>
                        <a:pt x="372" y="2694"/>
                      </a:lnTo>
                      <a:lnTo>
                        <a:pt x="328" y="2708"/>
                      </a:lnTo>
                      <a:lnTo>
                        <a:pt x="286" y="2726"/>
                      </a:lnTo>
                      <a:lnTo>
                        <a:pt x="245" y="2748"/>
                      </a:lnTo>
                      <a:lnTo>
                        <a:pt x="207" y="2776"/>
                      </a:lnTo>
                      <a:lnTo>
                        <a:pt x="173" y="2807"/>
                      </a:lnTo>
                      <a:lnTo>
                        <a:pt x="143" y="2842"/>
                      </a:lnTo>
                      <a:lnTo>
                        <a:pt x="116" y="2882"/>
                      </a:lnTo>
                      <a:lnTo>
                        <a:pt x="116" y="3302"/>
                      </a:lnTo>
                      <a:lnTo>
                        <a:pt x="135" y="3330"/>
                      </a:lnTo>
                      <a:lnTo>
                        <a:pt x="157" y="3358"/>
                      </a:lnTo>
                      <a:lnTo>
                        <a:pt x="181" y="3383"/>
                      </a:lnTo>
                      <a:lnTo>
                        <a:pt x="750" y="3383"/>
                      </a:lnTo>
                      <a:lnTo>
                        <a:pt x="782" y="3348"/>
                      </a:lnTo>
                      <a:lnTo>
                        <a:pt x="808" y="3311"/>
                      </a:lnTo>
                      <a:lnTo>
                        <a:pt x="831" y="3271"/>
                      </a:lnTo>
                      <a:lnTo>
                        <a:pt x="849" y="3228"/>
                      </a:lnTo>
                      <a:lnTo>
                        <a:pt x="862" y="3184"/>
                      </a:lnTo>
                      <a:lnTo>
                        <a:pt x="869" y="3138"/>
                      </a:lnTo>
                      <a:lnTo>
                        <a:pt x="873" y="3092"/>
                      </a:lnTo>
                      <a:lnTo>
                        <a:pt x="869" y="3041"/>
                      </a:lnTo>
                      <a:lnTo>
                        <a:pt x="860" y="2991"/>
                      </a:lnTo>
                      <a:lnTo>
                        <a:pt x="845" y="2944"/>
                      </a:lnTo>
                      <a:lnTo>
                        <a:pt x="825" y="2900"/>
                      </a:lnTo>
                      <a:lnTo>
                        <a:pt x="800" y="2858"/>
                      </a:lnTo>
                      <a:lnTo>
                        <a:pt x="770" y="2820"/>
                      </a:lnTo>
                      <a:lnTo>
                        <a:pt x="736" y="2786"/>
                      </a:lnTo>
                      <a:lnTo>
                        <a:pt x="698" y="2757"/>
                      </a:lnTo>
                      <a:lnTo>
                        <a:pt x="657" y="2731"/>
                      </a:lnTo>
                      <a:lnTo>
                        <a:pt x="612" y="2711"/>
                      </a:lnTo>
                      <a:lnTo>
                        <a:pt x="566" y="2696"/>
                      </a:lnTo>
                      <a:lnTo>
                        <a:pt x="516" y="2687"/>
                      </a:lnTo>
                      <a:lnTo>
                        <a:pt x="465" y="2683"/>
                      </a:lnTo>
                      <a:close/>
                      <a:moveTo>
                        <a:pt x="2935" y="1983"/>
                      </a:moveTo>
                      <a:lnTo>
                        <a:pt x="2909" y="2113"/>
                      </a:lnTo>
                      <a:lnTo>
                        <a:pt x="2899" y="2154"/>
                      </a:lnTo>
                      <a:lnTo>
                        <a:pt x="2884" y="2193"/>
                      </a:lnTo>
                      <a:lnTo>
                        <a:pt x="2864" y="2229"/>
                      </a:lnTo>
                      <a:lnTo>
                        <a:pt x="2840" y="2263"/>
                      </a:lnTo>
                      <a:lnTo>
                        <a:pt x="2811" y="2294"/>
                      </a:lnTo>
                      <a:lnTo>
                        <a:pt x="2779" y="2321"/>
                      </a:lnTo>
                      <a:lnTo>
                        <a:pt x="2744" y="2344"/>
                      </a:lnTo>
                      <a:lnTo>
                        <a:pt x="2706" y="2363"/>
                      </a:lnTo>
                      <a:lnTo>
                        <a:pt x="2666" y="2377"/>
                      </a:lnTo>
                      <a:lnTo>
                        <a:pt x="2625" y="2385"/>
                      </a:lnTo>
                      <a:lnTo>
                        <a:pt x="2584" y="2388"/>
                      </a:lnTo>
                      <a:lnTo>
                        <a:pt x="2542" y="2387"/>
                      </a:lnTo>
                      <a:lnTo>
                        <a:pt x="2501" y="2380"/>
                      </a:lnTo>
                      <a:lnTo>
                        <a:pt x="2462" y="2368"/>
                      </a:lnTo>
                      <a:lnTo>
                        <a:pt x="2423" y="2351"/>
                      </a:lnTo>
                      <a:lnTo>
                        <a:pt x="2387" y="2330"/>
                      </a:lnTo>
                      <a:lnTo>
                        <a:pt x="2278" y="2256"/>
                      </a:lnTo>
                      <a:lnTo>
                        <a:pt x="2162" y="2373"/>
                      </a:lnTo>
                      <a:lnTo>
                        <a:pt x="2218" y="2449"/>
                      </a:lnTo>
                      <a:lnTo>
                        <a:pt x="2242" y="2486"/>
                      </a:lnTo>
                      <a:lnTo>
                        <a:pt x="2260" y="2524"/>
                      </a:lnTo>
                      <a:lnTo>
                        <a:pt x="2273" y="2565"/>
                      </a:lnTo>
                      <a:lnTo>
                        <a:pt x="2281" y="2606"/>
                      </a:lnTo>
                      <a:lnTo>
                        <a:pt x="2284" y="2648"/>
                      </a:lnTo>
                      <a:lnTo>
                        <a:pt x="2281" y="2691"/>
                      </a:lnTo>
                      <a:lnTo>
                        <a:pt x="2274" y="2733"/>
                      </a:lnTo>
                      <a:lnTo>
                        <a:pt x="2260" y="2775"/>
                      </a:lnTo>
                      <a:lnTo>
                        <a:pt x="2242" y="2814"/>
                      </a:lnTo>
                      <a:lnTo>
                        <a:pt x="2219" y="2850"/>
                      </a:lnTo>
                      <a:lnTo>
                        <a:pt x="2192" y="2883"/>
                      </a:lnTo>
                      <a:lnTo>
                        <a:pt x="2162" y="2912"/>
                      </a:lnTo>
                      <a:lnTo>
                        <a:pt x="2128" y="2937"/>
                      </a:lnTo>
                      <a:lnTo>
                        <a:pt x="2091" y="2957"/>
                      </a:lnTo>
                      <a:lnTo>
                        <a:pt x="2051" y="2973"/>
                      </a:lnTo>
                      <a:lnTo>
                        <a:pt x="2008" y="2985"/>
                      </a:lnTo>
                      <a:lnTo>
                        <a:pt x="1920" y="3002"/>
                      </a:lnTo>
                      <a:lnTo>
                        <a:pt x="1920" y="3166"/>
                      </a:lnTo>
                      <a:lnTo>
                        <a:pt x="2014" y="3180"/>
                      </a:lnTo>
                      <a:lnTo>
                        <a:pt x="2057" y="3189"/>
                      </a:lnTo>
                      <a:lnTo>
                        <a:pt x="2097" y="3204"/>
                      </a:lnTo>
                      <a:lnTo>
                        <a:pt x="2136" y="3224"/>
                      </a:lnTo>
                      <a:lnTo>
                        <a:pt x="2171" y="3248"/>
                      </a:lnTo>
                      <a:lnTo>
                        <a:pt x="2203" y="3276"/>
                      </a:lnTo>
                      <a:lnTo>
                        <a:pt x="2230" y="3308"/>
                      </a:lnTo>
                      <a:lnTo>
                        <a:pt x="2255" y="3344"/>
                      </a:lnTo>
                      <a:lnTo>
                        <a:pt x="2274" y="3383"/>
                      </a:lnTo>
                      <a:lnTo>
                        <a:pt x="2591" y="3383"/>
                      </a:lnTo>
                      <a:lnTo>
                        <a:pt x="2565" y="3339"/>
                      </a:lnTo>
                      <a:lnTo>
                        <a:pt x="2542" y="3293"/>
                      </a:lnTo>
                      <a:lnTo>
                        <a:pt x="2524" y="3244"/>
                      </a:lnTo>
                      <a:lnTo>
                        <a:pt x="2512" y="3195"/>
                      </a:lnTo>
                      <a:lnTo>
                        <a:pt x="2503" y="3144"/>
                      </a:lnTo>
                      <a:lnTo>
                        <a:pt x="2501" y="3092"/>
                      </a:lnTo>
                      <a:lnTo>
                        <a:pt x="2504" y="3034"/>
                      </a:lnTo>
                      <a:lnTo>
                        <a:pt x="2513" y="2979"/>
                      </a:lnTo>
                      <a:lnTo>
                        <a:pt x="2528" y="2926"/>
                      </a:lnTo>
                      <a:lnTo>
                        <a:pt x="2548" y="2875"/>
                      </a:lnTo>
                      <a:lnTo>
                        <a:pt x="2573" y="2827"/>
                      </a:lnTo>
                      <a:lnTo>
                        <a:pt x="2603" y="2782"/>
                      </a:lnTo>
                      <a:lnTo>
                        <a:pt x="2637" y="2740"/>
                      </a:lnTo>
                      <a:lnTo>
                        <a:pt x="2674" y="2702"/>
                      </a:lnTo>
                      <a:lnTo>
                        <a:pt x="2716" y="2668"/>
                      </a:lnTo>
                      <a:lnTo>
                        <a:pt x="2760" y="2639"/>
                      </a:lnTo>
                      <a:lnTo>
                        <a:pt x="2809" y="2613"/>
                      </a:lnTo>
                      <a:lnTo>
                        <a:pt x="2860" y="2593"/>
                      </a:lnTo>
                      <a:lnTo>
                        <a:pt x="2913" y="2578"/>
                      </a:lnTo>
                      <a:lnTo>
                        <a:pt x="2968" y="2570"/>
                      </a:lnTo>
                      <a:lnTo>
                        <a:pt x="3025" y="2567"/>
                      </a:lnTo>
                      <a:lnTo>
                        <a:pt x="3081" y="2570"/>
                      </a:lnTo>
                      <a:lnTo>
                        <a:pt x="3135" y="2578"/>
                      </a:lnTo>
                      <a:lnTo>
                        <a:pt x="3188" y="2593"/>
                      </a:lnTo>
                      <a:lnTo>
                        <a:pt x="3238" y="2613"/>
                      </a:lnTo>
                      <a:lnTo>
                        <a:pt x="3286" y="2638"/>
                      </a:lnTo>
                      <a:lnTo>
                        <a:pt x="3331" y="2667"/>
                      </a:lnTo>
                      <a:lnTo>
                        <a:pt x="3374" y="2702"/>
                      </a:lnTo>
                      <a:lnTo>
                        <a:pt x="3374" y="2358"/>
                      </a:lnTo>
                      <a:lnTo>
                        <a:pt x="3333" y="2346"/>
                      </a:lnTo>
                      <a:lnTo>
                        <a:pt x="3296" y="2330"/>
                      </a:lnTo>
                      <a:lnTo>
                        <a:pt x="3262" y="2311"/>
                      </a:lnTo>
                      <a:lnTo>
                        <a:pt x="3230" y="2287"/>
                      </a:lnTo>
                      <a:lnTo>
                        <a:pt x="3200" y="2259"/>
                      </a:lnTo>
                      <a:lnTo>
                        <a:pt x="3175" y="2228"/>
                      </a:lnTo>
                      <a:lnTo>
                        <a:pt x="3153" y="2194"/>
                      </a:lnTo>
                      <a:lnTo>
                        <a:pt x="3136" y="2158"/>
                      </a:lnTo>
                      <a:lnTo>
                        <a:pt x="3122" y="2119"/>
                      </a:lnTo>
                      <a:lnTo>
                        <a:pt x="3112" y="2078"/>
                      </a:lnTo>
                      <a:lnTo>
                        <a:pt x="3099" y="1983"/>
                      </a:lnTo>
                      <a:lnTo>
                        <a:pt x="2935" y="1983"/>
                      </a:lnTo>
                      <a:close/>
                      <a:moveTo>
                        <a:pt x="391" y="1983"/>
                      </a:moveTo>
                      <a:lnTo>
                        <a:pt x="378" y="2078"/>
                      </a:lnTo>
                      <a:lnTo>
                        <a:pt x="368" y="2119"/>
                      </a:lnTo>
                      <a:lnTo>
                        <a:pt x="354" y="2158"/>
                      </a:lnTo>
                      <a:lnTo>
                        <a:pt x="337" y="2194"/>
                      </a:lnTo>
                      <a:lnTo>
                        <a:pt x="315" y="2228"/>
                      </a:lnTo>
                      <a:lnTo>
                        <a:pt x="290" y="2259"/>
                      </a:lnTo>
                      <a:lnTo>
                        <a:pt x="260" y="2287"/>
                      </a:lnTo>
                      <a:lnTo>
                        <a:pt x="228" y="2311"/>
                      </a:lnTo>
                      <a:lnTo>
                        <a:pt x="194" y="2330"/>
                      </a:lnTo>
                      <a:lnTo>
                        <a:pt x="157" y="2346"/>
                      </a:lnTo>
                      <a:lnTo>
                        <a:pt x="116" y="2358"/>
                      </a:lnTo>
                      <a:lnTo>
                        <a:pt x="116" y="2702"/>
                      </a:lnTo>
                      <a:lnTo>
                        <a:pt x="159" y="2667"/>
                      </a:lnTo>
                      <a:lnTo>
                        <a:pt x="204" y="2638"/>
                      </a:lnTo>
                      <a:lnTo>
                        <a:pt x="252" y="2613"/>
                      </a:lnTo>
                      <a:lnTo>
                        <a:pt x="302" y="2593"/>
                      </a:lnTo>
                      <a:lnTo>
                        <a:pt x="355" y="2578"/>
                      </a:lnTo>
                      <a:lnTo>
                        <a:pt x="409" y="2570"/>
                      </a:lnTo>
                      <a:lnTo>
                        <a:pt x="465" y="2567"/>
                      </a:lnTo>
                      <a:lnTo>
                        <a:pt x="522" y="2570"/>
                      </a:lnTo>
                      <a:lnTo>
                        <a:pt x="577" y="2578"/>
                      </a:lnTo>
                      <a:lnTo>
                        <a:pt x="630" y="2593"/>
                      </a:lnTo>
                      <a:lnTo>
                        <a:pt x="681" y="2613"/>
                      </a:lnTo>
                      <a:lnTo>
                        <a:pt x="730" y="2639"/>
                      </a:lnTo>
                      <a:lnTo>
                        <a:pt x="774" y="2668"/>
                      </a:lnTo>
                      <a:lnTo>
                        <a:pt x="816" y="2702"/>
                      </a:lnTo>
                      <a:lnTo>
                        <a:pt x="853" y="2740"/>
                      </a:lnTo>
                      <a:lnTo>
                        <a:pt x="887" y="2782"/>
                      </a:lnTo>
                      <a:lnTo>
                        <a:pt x="917" y="2827"/>
                      </a:lnTo>
                      <a:lnTo>
                        <a:pt x="942" y="2875"/>
                      </a:lnTo>
                      <a:lnTo>
                        <a:pt x="962" y="2926"/>
                      </a:lnTo>
                      <a:lnTo>
                        <a:pt x="977" y="2979"/>
                      </a:lnTo>
                      <a:lnTo>
                        <a:pt x="986" y="3034"/>
                      </a:lnTo>
                      <a:lnTo>
                        <a:pt x="989" y="3092"/>
                      </a:lnTo>
                      <a:lnTo>
                        <a:pt x="987" y="3144"/>
                      </a:lnTo>
                      <a:lnTo>
                        <a:pt x="978" y="3195"/>
                      </a:lnTo>
                      <a:lnTo>
                        <a:pt x="966" y="3244"/>
                      </a:lnTo>
                      <a:lnTo>
                        <a:pt x="948" y="3293"/>
                      </a:lnTo>
                      <a:lnTo>
                        <a:pt x="925" y="3339"/>
                      </a:lnTo>
                      <a:lnTo>
                        <a:pt x="899" y="3383"/>
                      </a:lnTo>
                      <a:lnTo>
                        <a:pt x="1216" y="3383"/>
                      </a:lnTo>
                      <a:lnTo>
                        <a:pt x="1235" y="3344"/>
                      </a:lnTo>
                      <a:lnTo>
                        <a:pt x="1260" y="3308"/>
                      </a:lnTo>
                      <a:lnTo>
                        <a:pt x="1287" y="3276"/>
                      </a:lnTo>
                      <a:lnTo>
                        <a:pt x="1319" y="3248"/>
                      </a:lnTo>
                      <a:lnTo>
                        <a:pt x="1354" y="3224"/>
                      </a:lnTo>
                      <a:lnTo>
                        <a:pt x="1393" y="3204"/>
                      </a:lnTo>
                      <a:lnTo>
                        <a:pt x="1433" y="3189"/>
                      </a:lnTo>
                      <a:lnTo>
                        <a:pt x="1476" y="3180"/>
                      </a:lnTo>
                      <a:lnTo>
                        <a:pt x="1571" y="3166"/>
                      </a:lnTo>
                      <a:lnTo>
                        <a:pt x="1571" y="3002"/>
                      </a:lnTo>
                      <a:lnTo>
                        <a:pt x="1482" y="2985"/>
                      </a:lnTo>
                      <a:lnTo>
                        <a:pt x="1439" y="2973"/>
                      </a:lnTo>
                      <a:lnTo>
                        <a:pt x="1399" y="2957"/>
                      </a:lnTo>
                      <a:lnTo>
                        <a:pt x="1362" y="2937"/>
                      </a:lnTo>
                      <a:lnTo>
                        <a:pt x="1328" y="2911"/>
                      </a:lnTo>
                      <a:lnTo>
                        <a:pt x="1298" y="2883"/>
                      </a:lnTo>
                      <a:lnTo>
                        <a:pt x="1271" y="2850"/>
                      </a:lnTo>
                      <a:lnTo>
                        <a:pt x="1248" y="2814"/>
                      </a:lnTo>
                      <a:lnTo>
                        <a:pt x="1230" y="2775"/>
                      </a:lnTo>
                      <a:lnTo>
                        <a:pt x="1216" y="2733"/>
                      </a:lnTo>
                      <a:lnTo>
                        <a:pt x="1209" y="2691"/>
                      </a:lnTo>
                      <a:lnTo>
                        <a:pt x="1206" y="2648"/>
                      </a:lnTo>
                      <a:lnTo>
                        <a:pt x="1209" y="2606"/>
                      </a:lnTo>
                      <a:lnTo>
                        <a:pt x="1217" y="2565"/>
                      </a:lnTo>
                      <a:lnTo>
                        <a:pt x="1230" y="2524"/>
                      </a:lnTo>
                      <a:lnTo>
                        <a:pt x="1248" y="2486"/>
                      </a:lnTo>
                      <a:lnTo>
                        <a:pt x="1272" y="2449"/>
                      </a:lnTo>
                      <a:lnTo>
                        <a:pt x="1328" y="2373"/>
                      </a:lnTo>
                      <a:lnTo>
                        <a:pt x="1212" y="2256"/>
                      </a:lnTo>
                      <a:lnTo>
                        <a:pt x="1103" y="2330"/>
                      </a:lnTo>
                      <a:lnTo>
                        <a:pt x="1067" y="2351"/>
                      </a:lnTo>
                      <a:lnTo>
                        <a:pt x="1028" y="2368"/>
                      </a:lnTo>
                      <a:lnTo>
                        <a:pt x="989" y="2380"/>
                      </a:lnTo>
                      <a:lnTo>
                        <a:pt x="948" y="2387"/>
                      </a:lnTo>
                      <a:lnTo>
                        <a:pt x="906" y="2388"/>
                      </a:lnTo>
                      <a:lnTo>
                        <a:pt x="865" y="2385"/>
                      </a:lnTo>
                      <a:lnTo>
                        <a:pt x="824" y="2377"/>
                      </a:lnTo>
                      <a:lnTo>
                        <a:pt x="784" y="2363"/>
                      </a:lnTo>
                      <a:lnTo>
                        <a:pt x="746" y="2344"/>
                      </a:lnTo>
                      <a:lnTo>
                        <a:pt x="711" y="2321"/>
                      </a:lnTo>
                      <a:lnTo>
                        <a:pt x="679" y="2294"/>
                      </a:lnTo>
                      <a:lnTo>
                        <a:pt x="650" y="2263"/>
                      </a:lnTo>
                      <a:lnTo>
                        <a:pt x="626" y="2229"/>
                      </a:lnTo>
                      <a:lnTo>
                        <a:pt x="606" y="2193"/>
                      </a:lnTo>
                      <a:lnTo>
                        <a:pt x="591" y="2154"/>
                      </a:lnTo>
                      <a:lnTo>
                        <a:pt x="581" y="2113"/>
                      </a:lnTo>
                      <a:lnTo>
                        <a:pt x="555" y="1983"/>
                      </a:lnTo>
                      <a:lnTo>
                        <a:pt x="391" y="1983"/>
                      </a:lnTo>
                      <a:close/>
                      <a:moveTo>
                        <a:pt x="1803" y="117"/>
                      </a:moveTo>
                      <a:lnTo>
                        <a:pt x="1803" y="295"/>
                      </a:lnTo>
                      <a:lnTo>
                        <a:pt x="1896" y="302"/>
                      </a:lnTo>
                      <a:lnTo>
                        <a:pt x="1988" y="315"/>
                      </a:lnTo>
                      <a:lnTo>
                        <a:pt x="2078" y="333"/>
                      </a:lnTo>
                      <a:lnTo>
                        <a:pt x="2125" y="159"/>
                      </a:lnTo>
                      <a:lnTo>
                        <a:pt x="2132" y="143"/>
                      </a:lnTo>
                      <a:lnTo>
                        <a:pt x="2143" y="130"/>
                      </a:lnTo>
                      <a:lnTo>
                        <a:pt x="2156" y="122"/>
                      </a:lnTo>
                      <a:lnTo>
                        <a:pt x="2172" y="117"/>
                      </a:lnTo>
                      <a:lnTo>
                        <a:pt x="1803" y="117"/>
                      </a:lnTo>
                      <a:close/>
                      <a:moveTo>
                        <a:pt x="1317" y="117"/>
                      </a:moveTo>
                      <a:lnTo>
                        <a:pt x="1333" y="122"/>
                      </a:lnTo>
                      <a:lnTo>
                        <a:pt x="1346" y="130"/>
                      </a:lnTo>
                      <a:lnTo>
                        <a:pt x="1357" y="143"/>
                      </a:lnTo>
                      <a:lnTo>
                        <a:pt x="1364" y="159"/>
                      </a:lnTo>
                      <a:lnTo>
                        <a:pt x="1410" y="332"/>
                      </a:lnTo>
                      <a:lnTo>
                        <a:pt x="1501" y="314"/>
                      </a:lnTo>
                      <a:lnTo>
                        <a:pt x="1594" y="301"/>
                      </a:lnTo>
                      <a:lnTo>
                        <a:pt x="1687" y="294"/>
                      </a:lnTo>
                      <a:lnTo>
                        <a:pt x="1687" y="117"/>
                      </a:lnTo>
                      <a:lnTo>
                        <a:pt x="1317" y="117"/>
                      </a:lnTo>
                      <a:close/>
                      <a:moveTo>
                        <a:pt x="116" y="117"/>
                      </a:moveTo>
                      <a:lnTo>
                        <a:pt x="116" y="2236"/>
                      </a:lnTo>
                      <a:lnTo>
                        <a:pt x="148" y="2222"/>
                      </a:lnTo>
                      <a:lnTo>
                        <a:pt x="177" y="2204"/>
                      </a:lnTo>
                      <a:lnTo>
                        <a:pt x="202" y="2182"/>
                      </a:lnTo>
                      <a:lnTo>
                        <a:pt x="223" y="2155"/>
                      </a:lnTo>
                      <a:lnTo>
                        <a:pt x="241" y="2127"/>
                      </a:lnTo>
                      <a:lnTo>
                        <a:pt x="254" y="2095"/>
                      </a:lnTo>
                      <a:lnTo>
                        <a:pt x="262" y="2060"/>
                      </a:lnTo>
                      <a:lnTo>
                        <a:pt x="292" y="1867"/>
                      </a:lnTo>
                      <a:lnTo>
                        <a:pt x="651" y="1867"/>
                      </a:lnTo>
                      <a:lnTo>
                        <a:pt x="695" y="2090"/>
                      </a:lnTo>
                      <a:lnTo>
                        <a:pt x="703" y="2122"/>
                      </a:lnTo>
                      <a:lnTo>
                        <a:pt x="715" y="2151"/>
                      </a:lnTo>
                      <a:lnTo>
                        <a:pt x="731" y="2177"/>
                      </a:lnTo>
                      <a:lnTo>
                        <a:pt x="751" y="2202"/>
                      </a:lnTo>
                      <a:lnTo>
                        <a:pt x="773" y="2223"/>
                      </a:lnTo>
                      <a:lnTo>
                        <a:pt x="800" y="2241"/>
                      </a:lnTo>
                      <a:lnTo>
                        <a:pt x="828" y="2255"/>
                      </a:lnTo>
                      <a:lnTo>
                        <a:pt x="864" y="2267"/>
                      </a:lnTo>
                      <a:lnTo>
                        <a:pt x="900" y="2272"/>
                      </a:lnTo>
                      <a:lnTo>
                        <a:pt x="936" y="2272"/>
                      </a:lnTo>
                      <a:lnTo>
                        <a:pt x="971" y="2264"/>
                      </a:lnTo>
                      <a:lnTo>
                        <a:pt x="1006" y="2252"/>
                      </a:lnTo>
                      <a:lnTo>
                        <a:pt x="1039" y="2234"/>
                      </a:lnTo>
                      <a:lnTo>
                        <a:pt x="1227" y="2105"/>
                      </a:lnTo>
                      <a:lnTo>
                        <a:pt x="1481" y="2361"/>
                      </a:lnTo>
                      <a:lnTo>
                        <a:pt x="1365" y="2518"/>
                      </a:lnTo>
                      <a:lnTo>
                        <a:pt x="1348" y="2545"/>
                      </a:lnTo>
                      <a:lnTo>
                        <a:pt x="1336" y="2575"/>
                      </a:lnTo>
                      <a:lnTo>
                        <a:pt x="1327" y="2606"/>
                      </a:lnTo>
                      <a:lnTo>
                        <a:pt x="1323" y="2637"/>
                      </a:lnTo>
                      <a:lnTo>
                        <a:pt x="1323" y="2668"/>
                      </a:lnTo>
                      <a:lnTo>
                        <a:pt x="1328" y="2700"/>
                      </a:lnTo>
                      <a:lnTo>
                        <a:pt x="1338" y="2732"/>
                      </a:lnTo>
                      <a:lnTo>
                        <a:pt x="1352" y="2761"/>
                      </a:lnTo>
                      <a:lnTo>
                        <a:pt x="1370" y="2788"/>
                      </a:lnTo>
                      <a:lnTo>
                        <a:pt x="1391" y="2812"/>
                      </a:lnTo>
                      <a:lnTo>
                        <a:pt x="1415" y="2832"/>
                      </a:lnTo>
                      <a:lnTo>
                        <a:pt x="1443" y="2849"/>
                      </a:lnTo>
                      <a:lnTo>
                        <a:pt x="1472" y="2862"/>
                      </a:lnTo>
                      <a:lnTo>
                        <a:pt x="1503" y="2870"/>
                      </a:lnTo>
                      <a:lnTo>
                        <a:pt x="1687" y="2905"/>
                      </a:lnTo>
                      <a:lnTo>
                        <a:pt x="1687" y="3266"/>
                      </a:lnTo>
                      <a:lnTo>
                        <a:pt x="1494" y="3295"/>
                      </a:lnTo>
                      <a:lnTo>
                        <a:pt x="1459" y="3304"/>
                      </a:lnTo>
                      <a:lnTo>
                        <a:pt x="1428" y="3317"/>
                      </a:lnTo>
                      <a:lnTo>
                        <a:pt x="1398" y="3335"/>
                      </a:lnTo>
                      <a:lnTo>
                        <a:pt x="1372" y="3357"/>
                      </a:lnTo>
                      <a:lnTo>
                        <a:pt x="1349" y="3383"/>
                      </a:lnTo>
                      <a:lnTo>
                        <a:pt x="2141" y="3383"/>
                      </a:lnTo>
                      <a:lnTo>
                        <a:pt x="2118" y="3357"/>
                      </a:lnTo>
                      <a:lnTo>
                        <a:pt x="2092" y="3335"/>
                      </a:lnTo>
                      <a:lnTo>
                        <a:pt x="2062" y="3317"/>
                      </a:lnTo>
                      <a:lnTo>
                        <a:pt x="2031" y="3304"/>
                      </a:lnTo>
                      <a:lnTo>
                        <a:pt x="1996" y="3295"/>
                      </a:lnTo>
                      <a:lnTo>
                        <a:pt x="1803" y="3266"/>
                      </a:lnTo>
                      <a:lnTo>
                        <a:pt x="1803" y="2905"/>
                      </a:lnTo>
                      <a:lnTo>
                        <a:pt x="1987" y="2869"/>
                      </a:lnTo>
                      <a:lnTo>
                        <a:pt x="2018" y="2860"/>
                      </a:lnTo>
                      <a:lnTo>
                        <a:pt x="2047" y="2849"/>
                      </a:lnTo>
                      <a:lnTo>
                        <a:pt x="2075" y="2832"/>
                      </a:lnTo>
                      <a:lnTo>
                        <a:pt x="2099" y="2812"/>
                      </a:lnTo>
                      <a:lnTo>
                        <a:pt x="2120" y="2787"/>
                      </a:lnTo>
                      <a:lnTo>
                        <a:pt x="2138" y="2761"/>
                      </a:lnTo>
                      <a:lnTo>
                        <a:pt x="2152" y="2732"/>
                      </a:lnTo>
                      <a:lnTo>
                        <a:pt x="2162" y="2700"/>
                      </a:lnTo>
                      <a:lnTo>
                        <a:pt x="2167" y="2668"/>
                      </a:lnTo>
                      <a:lnTo>
                        <a:pt x="2167" y="2637"/>
                      </a:lnTo>
                      <a:lnTo>
                        <a:pt x="2163" y="2606"/>
                      </a:lnTo>
                      <a:lnTo>
                        <a:pt x="2154" y="2575"/>
                      </a:lnTo>
                      <a:lnTo>
                        <a:pt x="2142" y="2545"/>
                      </a:lnTo>
                      <a:lnTo>
                        <a:pt x="2125" y="2518"/>
                      </a:lnTo>
                      <a:lnTo>
                        <a:pt x="2009" y="2361"/>
                      </a:lnTo>
                      <a:lnTo>
                        <a:pt x="2263" y="2105"/>
                      </a:lnTo>
                      <a:lnTo>
                        <a:pt x="2451" y="2234"/>
                      </a:lnTo>
                      <a:lnTo>
                        <a:pt x="2484" y="2252"/>
                      </a:lnTo>
                      <a:lnTo>
                        <a:pt x="2519" y="2264"/>
                      </a:lnTo>
                      <a:lnTo>
                        <a:pt x="2554" y="2271"/>
                      </a:lnTo>
                      <a:lnTo>
                        <a:pt x="2590" y="2272"/>
                      </a:lnTo>
                      <a:lnTo>
                        <a:pt x="2626" y="2267"/>
                      </a:lnTo>
                      <a:lnTo>
                        <a:pt x="2662" y="2255"/>
                      </a:lnTo>
                      <a:lnTo>
                        <a:pt x="2690" y="2241"/>
                      </a:lnTo>
                      <a:lnTo>
                        <a:pt x="2717" y="2223"/>
                      </a:lnTo>
                      <a:lnTo>
                        <a:pt x="2739" y="2202"/>
                      </a:lnTo>
                      <a:lnTo>
                        <a:pt x="2759" y="2177"/>
                      </a:lnTo>
                      <a:lnTo>
                        <a:pt x="2775" y="2151"/>
                      </a:lnTo>
                      <a:lnTo>
                        <a:pt x="2788" y="2122"/>
                      </a:lnTo>
                      <a:lnTo>
                        <a:pt x="2795" y="2090"/>
                      </a:lnTo>
                      <a:lnTo>
                        <a:pt x="2839" y="1867"/>
                      </a:lnTo>
                      <a:lnTo>
                        <a:pt x="3198" y="1867"/>
                      </a:lnTo>
                      <a:lnTo>
                        <a:pt x="3228" y="2060"/>
                      </a:lnTo>
                      <a:lnTo>
                        <a:pt x="3236" y="2095"/>
                      </a:lnTo>
                      <a:lnTo>
                        <a:pt x="3249" y="2127"/>
                      </a:lnTo>
                      <a:lnTo>
                        <a:pt x="3267" y="2155"/>
                      </a:lnTo>
                      <a:lnTo>
                        <a:pt x="3288" y="2182"/>
                      </a:lnTo>
                      <a:lnTo>
                        <a:pt x="3313" y="2204"/>
                      </a:lnTo>
                      <a:lnTo>
                        <a:pt x="3342" y="2222"/>
                      </a:lnTo>
                      <a:lnTo>
                        <a:pt x="3374" y="2236"/>
                      </a:lnTo>
                      <a:lnTo>
                        <a:pt x="3374" y="117"/>
                      </a:lnTo>
                      <a:lnTo>
                        <a:pt x="2188" y="117"/>
                      </a:lnTo>
                      <a:lnTo>
                        <a:pt x="2196" y="118"/>
                      </a:lnTo>
                      <a:lnTo>
                        <a:pt x="2210" y="124"/>
                      </a:lnTo>
                      <a:lnTo>
                        <a:pt x="2222" y="134"/>
                      </a:lnTo>
                      <a:lnTo>
                        <a:pt x="2231" y="145"/>
                      </a:lnTo>
                      <a:lnTo>
                        <a:pt x="2237" y="159"/>
                      </a:lnTo>
                      <a:lnTo>
                        <a:pt x="2239" y="174"/>
                      </a:lnTo>
                      <a:lnTo>
                        <a:pt x="2237" y="190"/>
                      </a:lnTo>
                      <a:lnTo>
                        <a:pt x="2190" y="365"/>
                      </a:lnTo>
                      <a:lnTo>
                        <a:pt x="2277" y="397"/>
                      </a:lnTo>
                      <a:lnTo>
                        <a:pt x="2363" y="433"/>
                      </a:lnTo>
                      <a:lnTo>
                        <a:pt x="2445" y="474"/>
                      </a:lnTo>
                      <a:lnTo>
                        <a:pt x="2537" y="314"/>
                      </a:lnTo>
                      <a:lnTo>
                        <a:pt x="2547" y="302"/>
                      </a:lnTo>
                      <a:lnTo>
                        <a:pt x="2559" y="293"/>
                      </a:lnTo>
                      <a:lnTo>
                        <a:pt x="2573" y="287"/>
                      </a:lnTo>
                      <a:lnTo>
                        <a:pt x="2588" y="285"/>
                      </a:lnTo>
                      <a:lnTo>
                        <a:pt x="2603" y="287"/>
                      </a:lnTo>
                      <a:lnTo>
                        <a:pt x="2616" y="293"/>
                      </a:lnTo>
                      <a:lnTo>
                        <a:pt x="2629" y="302"/>
                      </a:lnTo>
                      <a:lnTo>
                        <a:pt x="2639" y="315"/>
                      </a:lnTo>
                      <a:lnTo>
                        <a:pt x="2644" y="329"/>
                      </a:lnTo>
                      <a:lnTo>
                        <a:pt x="2646" y="343"/>
                      </a:lnTo>
                      <a:lnTo>
                        <a:pt x="2644" y="358"/>
                      </a:lnTo>
                      <a:lnTo>
                        <a:pt x="2639" y="372"/>
                      </a:lnTo>
                      <a:lnTo>
                        <a:pt x="2546" y="533"/>
                      </a:lnTo>
                      <a:lnTo>
                        <a:pt x="2622" y="585"/>
                      </a:lnTo>
                      <a:lnTo>
                        <a:pt x="2696" y="642"/>
                      </a:lnTo>
                      <a:lnTo>
                        <a:pt x="2766" y="702"/>
                      </a:lnTo>
                      <a:lnTo>
                        <a:pt x="2896" y="571"/>
                      </a:lnTo>
                      <a:lnTo>
                        <a:pt x="2908" y="562"/>
                      </a:lnTo>
                      <a:lnTo>
                        <a:pt x="2922" y="556"/>
                      </a:lnTo>
                      <a:lnTo>
                        <a:pt x="2937" y="554"/>
                      </a:lnTo>
                      <a:lnTo>
                        <a:pt x="2952" y="556"/>
                      </a:lnTo>
                      <a:lnTo>
                        <a:pt x="2965" y="562"/>
                      </a:lnTo>
                      <a:lnTo>
                        <a:pt x="2978" y="571"/>
                      </a:lnTo>
                      <a:lnTo>
                        <a:pt x="2988" y="583"/>
                      </a:lnTo>
                      <a:lnTo>
                        <a:pt x="2993" y="597"/>
                      </a:lnTo>
                      <a:lnTo>
                        <a:pt x="2995" y="612"/>
                      </a:lnTo>
                      <a:lnTo>
                        <a:pt x="2993" y="627"/>
                      </a:lnTo>
                      <a:lnTo>
                        <a:pt x="2988" y="641"/>
                      </a:lnTo>
                      <a:lnTo>
                        <a:pt x="2978" y="653"/>
                      </a:lnTo>
                      <a:lnTo>
                        <a:pt x="2848" y="784"/>
                      </a:lnTo>
                      <a:lnTo>
                        <a:pt x="2895" y="836"/>
                      </a:lnTo>
                      <a:lnTo>
                        <a:pt x="2939" y="890"/>
                      </a:lnTo>
                      <a:lnTo>
                        <a:pt x="2980" y="945"/>
                      </a:lnTo>
                      <a:lnTo>
                        <a:pt x="3019" y="1002"/>
                      </a:lnTo>
                      <a:lnTo>
                        <a:pt x="3176" y="912"/>
                      </a:lnTo>
                      <a:lnTo>
                        <a:pt x="3191" y="906"/>
                      </a:lnTo>
                      <a:lnTo>
                        <a:pt x="3206" y="904"/>
                      </a:lnTo>
                      <a:lnTo>
                        <a:pt x="3220" y="906"/>
                      </a:lnTo>
                      <a:lnTo>
                        <a:pt x="3234" y="912"/>
                      </a:lnTo>
                      <a:lnTo>
                        <a:pt x="3246" y="921"/>
                      </a:lnTo>
                      <a:lnTo>
                        <a:pt x="3255" y="933"/>
                      </a:lnTo>
                      <a:lnTo>
                        <a:pt x="3262" y="948"/>
                      </a:lnTo>
                      <a:lnTo>
                        <a:pt x="3264" y="963"/>
                      </a:lnTo>
                      <a:lnTo>
                        <a:pt x="3262" y="978"/>
                      </a:lnTo>
                      <a:lnTo>
                        <a:pt x="3256" y="992"/>
                      </a:lnTo>
                      <a:lnTo>
                        <a:pt x="3247" y="1003"/>
                      </a:lnTo>
                      <a:lnTo>
                        <a:pt x="3234" y="1013"/>
                      </a:lnTo>
                      <a:lnTo>
                        <a:pt x="3079" y="1103"/>
                      </a:lnTo>
                      <a:lnTo>
                        <a:pt x="3117" y="1177"/>
                      </a:lnTo>
                      <a:lnTo>
                        <a:pt x="3151" y="1255"/>
                      </a:lnTo>
                      <a:lnTo>
                        <a:pt x="3179" y="1334"/>
                      </a:lnTo>
                      <a:lnTo>
                        <a:pt x="3180" y="1336"/>
                      </a:lnTo>
                      <a:lnTo>
                        <a:pt x="3182" y="1337"/>
                      </a:lnTo>
                      <a:lnTo>
                        <a:pt x="3182" y="1340"/>
                      </a:lnTo>
                      <a:lnTo>
                        <a:pt x="3183" y="1342"/>
                      </a:lnTo>
                      <a:lnTo>
                        <a:pt x="3183" y="1344"/>
                      </a:lnTo>
                      <a:lnTo>
                        <a:pt x="3204" y="1416"/>
                      </a:lnTo>
                      <a:lnTo>
                        <a:pt x="3223" y="1488"/>
                      </a:lnTo>
                      <a:lnTo>
                        <a:pt x="3223" y="1507"/>
                      </a:lnTo>
                      <a:lnTo>
                        <a:pt x="3219" y="1525"/>
                      </a:lnTo>
                      <a:lnTo>
                        <a:pt x="3210" y="1540"/>
                      </a:lnTo>
                      <a:lnTo>
                        <a:pt x="3196" y="1552"/>
                      </a:lnTo>
                      <a:lnTo>
                        <a:pt x="3178" y="1558"/>
                      </a:lnTo>
                      <a:lnTo>
                        <a:pt x="3172" y="1559"/>
                      </a:lnTo>
                      <a:lnTo>
                        <a:pt x="3166" y="1559"/>
                      </a:lnTo>
                      <a:lnTo>
                        <a:pt x="3151" y="1557"/>
                      </a:lnTo>
                      <a:lnTo>
                        <a:pt x="3136" y="1551"/>
                      </a:lnTo>
                      <a:lnTo>
                        <a:pt x="3124" y="1541"/>
                      </a:lnTo>
                      <a:lnTo>
                        <a:pt x="3115" y="1528"/>
                      </a:lnTo>
                      <a:lnTo>
                        <a:pt x="3109" y="1513"/>
                      </a:lnTo>
                      <a:lnTo>
                        <a:pt x="3099" y="1472"/>
                      </a:lnTo>
                      <a:lnTo>
                        <a:pt x="3088" y="1432"/>
                      </a:lnTo>
                      <a:lnTo>
                        <a:pt x="2315" y="1683"/>
                      </a:lnTo>
                      <a:lnTo>
                        <a:pt x="2307" y="1685"/>
                      </a:lnTo>
                      <a:lnTo>
                        <a:pt x="2297" y="1686"/>
                      </a:lnTo>
                      <a:lnTo>
                        <a:pt x="2283" y="1684"/>
                      </a:lnTo>
                      <a:lnTo>
                        <a:pt x="2270" y="1679"/>
                      </a:lnTo>
                      <a:lnTo>
                        <a:pt x="2258" y="1670"/>
                      </a:lnTo>
                      <a:lnTo>
                        <a:pt x="2248" y="1660"/>
                      </a:lnTo>
                      <a:lnTo>
                        <a:pt x="2242" y="1646"/>
                      </a:lnTo>
                      <a:lnTo>
                        <a:pt x="2239" y="1631"/>
                      </a:lnTo>
                      <a:lnTo>
                        <a:pt x="2241" y="1615"/>
                      </a:lnTo>
                      <a:lnTo>
                        <a:pt x="2245" y="1602"/>
                      </a:lnTo>
                      <a:lnTo>
                        <a:pt x="2254" y="1589"/>
                      </a:lnTo>
                      <a:lnTo>
                        <a:pt x="2265" y="1579"/>
                      </a:lnTo>
                      <a:lnTo>
                        <a:pt x="2279" y="1573"/>
                      </a:lnTo>
                      <a:lnTo>
                        <a:pt x="3051" y="1322"/>
                      </a:lnTo>
                      <a:lnTo>
                        <a:pt x="3016" y="1237"/>
                      </a:lnTo>
                      <a:lnTo>
                        <a:pt x="2975" y="1156"/>
                      </a:lnTo>
                      <a:lnTo>
                        <a:pt x="2929" y="1078"/>
                      </a:lnTo>
                      <a:lnTo>
                        <a:pt x="2879" y="1003"/>
                      </a:lnTo>
                      <a:lnTo>
                        <a:pt x="2824" y="931"/>
                      </a:lnTo>
                      <a:lnTo>
                        <a:pt x="2765" y="864"/>
                      </a:lnTo>
                      <a:lnTo>
                        <a:pt x="2700" y="800"/>
                      </a:lnTo>
                      <a:lnTo>
                        <a:pt x="2632" y="740"/>
                      </a:lnTo>
                      <a:lnTo>
                        <a:pt x="2561" y="684"/>
                      </a:lnTo>
                      <a:lnTo>
                        <a:pt x="2487" y="633"/>
                      </a:lnTo>
                      <a:lnTo>
                        <a:pt x="2409" y="587"/>
                      </a:lnTo>
                      <a:lnTo>
                        <a:pt x="2329" y="545"/>
                      </a:lnTo>
                      <a:lnTo>
                        <a:pt x="2246" y="509"/>
                      </a:lnTo>
                      <a:lnTo>
                        <a:pt x="2162" y="478"/>
                      </a:lnTo>
                      <a:lnTo>
                        <a:pt x="2074" y="453"/>
                      </a:lnTo>
                      <a:lnTo>
                        <a:pt x="1985" y="433"/>
                      </a:lnTo>
                      <a:lnTo>
                        <a:pt x="1895" y="419"/>
                      </a:lnTo>
                      <a:lnTo>
                        <a:pt x="1803" y="412"/>
                      </a:lnTo>
                      <a:lnTo>
                        <a:pt x="1803" y="1225"/>
                      </a:lnTo>
                      <a:lnTo>
                        <a:pt x="1800" y="1243"/>
                      </a:lnTo>
                      <a:lnTo>
                        <a:pt x="1792" y="1260"/>
                      </a:lnTo>
                      <a:lnTo>
                        <a:pt x="1779" y="1272"/>
                      </a:lnTo>
                      <a:lnTo>
                        <a:pt x="1763" y="1280"/>
                      </a:lnTo>
                      <a:lnTo>
                        <a:pt x="1745" y="1283"/>
                      </a:lnTo>
                      <a:lnTo>
                        <a:pt x="1727" y="1280"/>
                      </a:lnTo>
                      <a:lnTo>
                        <a:pt x="1711" y="1272"/>
                      </a:lnTo>
                      <a:lnTo>
                        <a:pt x="1698" y="1260"/>
                      </a:lnTo>
                      <a:lnTo>
                        <a:pt x="1690" y="1243"/>
                      </a:lnTo>
                      <a:lnTo>
                        <a:pt x="1687" y="1225"/>
                      </a:lnTo>
                      <a:lnTo>
                        <a:pt x="1687" y="412"/>
                      </a:lnTo>
                      <a:lnTo>
                        <a:pt x="1596" y="418"/>
                      </a:lnTo>
                      <a:lnTo>
                        <a:pt x="1506" y="432"/>
                      </a:lnTo>
                      <a:lnTo>
                        <a:pt x="1417" y="451"/>
                      </a:lnTo>
                      <a:lnTo>
                        <a:pt x="1330" y="476"/>
                      </a:lnTo>
                      <a:lnTo>
                        <a:pt x="1246" y="507"/>
                      </a:lnTo>
                      <a:lnTo>
                        <a:pt x="1163" y="543"/>
                      </a:lnTo>
                      <a:lnTo>
                        <a:pt x="1083" y="584"/>
                      </a:lnTo>
                      <a:lnTo>
                        <a:pt x="1006" y="630"/>
                      </a:lnTo>
                      <a:lnTo>
                        <a:pt x="932" y="682"/>
                      </a:lnTo>
                      <a:lnTo>
                        <a:pt x="860" y="737"/>
                      </a:lnTo>
                      <a:lnTo>
                        <a:pt x="792" y="798"/>
                      </a:lnTo>
                      <a:lnTo>
                        <a:pt x="729" y="861"/>
                      </a:lnTo>
                      <a:lnTo>
                        <a:pt x="668" y="929"/>
                      </a:lnTo>
                      <a:lnTo>
                        <a:pt x="613" y="1001"/>
                      </a:lnTo>
                      <a:lnTo>
                        <a:pt x="563" y="1077"/>
                      </a:lnTo>
                      <a:lnTo>
                        <a:pt x="516" y="1155"/>
                      </a:lnTo>
                      <a:lnTo>
                        <a:pt x="475" y="1238"/>
                      </a:lnTo>
                      <a:lnTo>
                        <a:pt x="439" y="1322"/>
                      </a:lnTo>
                      <a:lnTo>
                        <a:pt x="1209" y="1573"/>
                      </a:lnTo>
                      <a:lnTo>
                        <a:pt x="1223" y="1579"/>
                      </a:lnTo>
                      <a:lnTo>
                        <a:pt x="1234" y="1589"/>
                      </a:lnTo>
                      <a:lnTo>
                        <a:pt x="1243" y="1602"/>
                      </a:lnTo>
                      <a:lnTo>
                        <a:pt x="1248" y="1615"/>
                      </a:lnTo>
                      <a:lnTo>
                        <a:pt x="1249" y="1631"/>
                      </a:lnTo>
                      <a:lnTo>
                        <a:pt x="1246" y="1646"/>
                      </a:lnTo>
                      <a:lnTo>
                        <a:pt x="1239" y="1660"/>
                      </a:lnTo>
                      <a:lnTo>
                        <a:pt x="1230" y="1670"/>
                      </a:lnTo>
                      <a:lnTo>
                        <a:pt x="1218" y="1679"/>
                      </a:lnTo>
                      <a:lnTo>
                        <a:pt x="1206" y="1684"/>
                      </a:lnTo>
                      <a:lnTo>
                        <a:pt x="1191" y="1686"/>
                      </a:lnTo>
                      <a:lnTo>
                        <a:pt x="1173" y="1683"/>
                      </a:lnTo>
                      <a:lnTo>
                        <a:pt x="402" y="1433"/>
                      </a:lnTo>
                      <a:lnTo>
                        <a:pt x="391" y="1472"/>
                      </a:lnTo>
                      <a:lnTo>
                        <a:pt x="381" y="1511"/>
                      </a:lnTo>
                      <a:lnTo>
                        <a:pt x="375" y="1526"/>
                      </a:lnTo>
                      <a:lnTo>
                        <a:pt x="367" y="1538"/>
                      </a:lnTo>
                      <a:lnTo>
                        <a:pt x="355" y="1547"/>
                      </a:lnTo>
                      <a:lnTo>
                        <a:pt x="342" y="1554"/>
                      </a:lnTo>
                      <a:lnTo>
                        <a:pt x="327" y="1557"/>
                      </a:lnTo>
                      <a:lnTo>
                        <a:pt x="312" y="1556"/>
                      </a:lnTo>
                      <a:lnTo>
                        <a:pt x="294" y="1548"/>
                      </a:lnTo>
                      <a:lnTo>
                        <a:pt x="280" y="1537"/>
                      </a:lnTo>
                      <a:lnTo>
                        <a:pt x="271" y="1522"/>
                      </a:lnTo>
                      <a:lnTo>
                        <a:pt x="267" y="1505"/>
                      </a:lnTo>
                      <a:lnTo>
                        <a:pt x="268" y="1486"/>
                      </a:lnTo>
                      <a:lnTo>
                        <a:pt x="284" y="1418"/>
                      </a:lnTo>
                      <a:lnTo>
                        <a:pt x="305" y="1351"/>
                      </a:lnTo>
                      <a:lnTo>
                        <a:pt x="305" y="1348"/>
                      </a:lnTo>
                      <a:lnTo>
                        <a:pt x="306" y="1344"/>
                      </a:lnTo>
                      <a:lnTo>
                        <a:pt x="306" y="1340"/>
                      </a:lnTo>
                      <a:lnTo>
                        <a:pt x="308" y="1334"/>
                      </a:lnTo>
                      <a:lnTo>
                        <a:pt x="311" y="1329"/>
                      </a:lnTo>
                      <a:lnTo>
                        <a:pt x="314" y="1325"/>
                      </a:lnTo>
                      <a:lnTo>
                        <a:pt x="343" y="1249"/>
                      </a:lnTo>
                      <a:lnTo>
                        <a:pt x="375" y="1175"/>
                      </a:lnTo>
                      <a:lnTo>
                        <a:pt x="411" y="1104"/>
                      </a:lnTo>
                      <a:lnTo>
                        <a:pt x="255" y="1013"/>
                      </a:lnTo>
                      <a:lnTo>
                        <a:pt x="242" y="1003"/>
                      </a:lnTo>
                      <a:lnTo>
                        <a:pt x="233" y="992"/>
                      </a:lnTo>
                      <a:lnTo>
                        <a:pt x="227" y="978"/>
                      </a:lnTo>
                      <a:lnTo>
                        <a:pt x="225" y="963"/>
                      </a:lnTo>
                      <a:lnTo>
                        <a:pt x="227" y="948"/>
                      </a:lnTo>
                      <a:lnTo>
                        <a:pt x="233" y="933"/>
                      </a:lnTo>
                      <a:lnTo>
                        <a:pt x="242" y="921"/>
                      </a:lnTo>
                      <a:lnTo>
                        <a:pt x="255" y="912"/>
                      </a:lnTo>
                      <a:lnTo>
                        <a:pt x="269" y="906"/>
                      </a:lnTo>
                      <a:lnTo>
                        <a:pt x="283" y="904"/>
                      </a:lnTo>
                      <a:lnTo>
                        <a:pt x="298" y="906"/>
                      </a:lnTo>
                      <a:lnTo>
                        <a:pt x="313" y="912"/>
                      </a:lnTo>
                      <a:lnTo>
                        <a:pt x="471" y="1003"/>
                      </a:lnTo>
                      <a:lnTo>
                        <a:pt x="524" y="927"/>
                      </a:lnTo>
                      <a:lnTo>
                        <a:pt x="581" y="854"/>
                      </a:lnTo>
                      <a:lnTo>
                        <a:pt x="642" y="785"/>
                      </a:lnTo>
                      <a:lnTo>
                        <a:pt x="511" y="653"/>
                      </a:lnTo>
                      <a:lnTo>
                        <a:pt x="501" y="641"/>
                      </a:lnTo>
                      <a:lnTo>
                        <a:pt x="495" y="627"/>
                      </a:lnTo>
                      <a:lnTo>
                        <a:pt x="494" y="612"/>
                      </a:lnTo>
                      <a:lnTo>
                        <a:pt x="495" y="597"/>
                      </a:lnTo>
                      <a:lnTo>
                        <a:pt x="501" y="583"/>
                      </a:lnTo>
                      <a:lnTo>
                        <a:pt x="511" y="571"/>
                      </a:lnTo>
                      <a:lnTo>
                        <a:pt x="524" y="561"/>
                      </a:lnTo>
                      <a:lnTo>
                        <a:pt x="537" y="556"/>
                      </a:lnTo>
                      <a:lnTo>
                        <a:pt x="552" y="554"/>
                      </a:lnTo>
                      <a:lnTo>
                        <a:pt x="567" y="556"/>
                      </a:lnTo>
                      <a:lnTo>
                        <a:pt x="581" y="561"/>
                      </a:lnTo>
                      <a:lnTo>
                        <a:pt x="592" y="571"/>
                      </a:lnTo>
                      <a:lnTo>
                        <a:pt x="724" y="702"/>
                      </a:lnTo>
                      <a:lnTo>
                        <a:pt x="793" y="642"/>
                      </a:lnTo>
                      <a:lnTo>
                        <a:pt x="867" y="585"/>
                      </a:lnTo>
                      <a:lnTo>
                        <a:pt x="943" y="532"/>
                      </a:lnTo>
                      <a:lnTo>
                        <a:pt x="850" y="372"/>
                      </a:lnTo>
                      <a:lnTo>
                        <a:pt x="845" y="358"/>
                      </a:lnTo>
                      <a:lnTo>
                        <a:pt x="843" y="343"/>
                      </a:lnTo>
                      <a:lnTo>
                        <a:pt x="845" y="329"/>
                      </a:lnTo>
                      <a:lnTo>
                        <a:pt x="850" y="315"/>
                      </a:lnTo>
                      <a:lnTo>
                        <a:pt x="860" y="302"/>
                      </a:lnTo>
                      <a:lnTo>
                        <a:pt x="871" y="293"/>
                      </a:lnTo>
                      <a:lnTo>
                        <a:pt x="886" y="286"/>
                      </a:lnTo>
                      <a:lnTo>
                        <a:pt x="901" y="285"/>
                      </a:lnTo>
                      <a:lnTo>
                        <a:pt x="916" y="287"/>
                      </a:lnTo>
                      <a:lnTo>
                        <a:pt x="930" y="293"/>
                      </a:lnTo>
                      <a:lnTo>
                        <a:pt x="942" y="302"/>
                      </a:lnTo>
                      <a:lnTo>
                        <a:pt x="952" y="314"/>
                      </a:lnTo>
                      <a:lnTo>
                        <a:pt x="1043" y="474"/>
                      </a:lnTo>
                      <a:lnTo>
                        <a:pt x="1126" y="432"/>
                      </a:lnTo>
                      <a:lnTo>
                        <a:pt x="1211" y="396"/>
                      </a:lnTo>
                      <a:lnTo>
                        <a:pt x="1299" y="364"/>
                      </a:lnTo>
                      <a:lnTo>
                        <a:pt x="1252" y="190"/>
                      </a:lnTo>
                      <a:lnTo>
                        <a:pt x="1250" y="174"/>
                      </a:lnTo>
                      <a:lnTo>
                        <a:pt x="1251" y="159"/>
                      </a:lnTo>
                      <a:lnTo>
                        <a:pt x="1257" y="145"/>
                      </a:lnTo>
                      <a:lnTo>
                        <a:pt x="1266" y="134"/>
                      </a:lnTo>
                      <a:lnTo>
                        <a:pt x="1279" y="124"/>
                      </a:lnTo>
                      <a:lnTo>
                        <a:pt x="1292" y="118"/>
                      </a:lnTo>
                      <a:lnTo>
                        <a:pt x="1301" y="117"/>
                      </a:lnTo>
                      <a:lnTo>
                        <a:pt x="116" y="117"/>
                      </a:lnTo>
                      <a:close/>
                      <a:moveTo>
                        <a:pt x="0" y="0"/>
                      </a:moveTo>
                      <a:lnTo>
                        <a:pt x="3490" y="0"/>
                      </a:lnTo>
                      <a:lnTo>
                        <a:pt x="3490" y="3500"/>
                      </a:lnTo>
                      <a:lnTo>
                        <a:pt x="0" y="35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19" name="Group 554"/>
              <p:cNvGrpSpPr/>
              <p:nvPr/>
            </p:nvGrpSpPr>
            <p:grpSpPr>
              <a:xfrm>
                <a:off x="3296490" y="3071652"/>
                <a:ext cx="530225" cy="527050"/>
                <a:chOff x="5381625" y="5018088"/>
                <a:chExt cx="530225" cy="527050"/>
              </a:xfrm>
              <a:solidFill>
                <a:schemeClr val="bg1"/>
              </a:solidFill>
            </p:grpSpPr>
            <p:sp>
              <p:nvSpPr>
                <p:cNvPr id="20" name="Freeform 485"/>
                <p:cNvSpPr>
                  <a:spLocks noEditPoints="1"/>
                </p:cNvSpPr>
                <p:nvPr/>
              </p:nvSpPr>
              <p:spPr bwMode="auto">
                <a:xfrm>
                  <a:off x="5381625" y="5018088"/>
                  <a:ext cx="530225" cy="527050"/>
                </a:xfrm>
                <a:custGeom>
                  <a:avLst/>
                  <a:gdLst>
                    <a:gd name="T0" fmla="*/ 680 w 3343"/>
                    <a:gd name="T1" fmla="*/ 2930 h 3324"/>
                    <a:gd name="T2" fmla="*/ 653 w 3343"/>
                    <a:gd name="T3" fmla="*/ 2811 h 3324"/>
                    <a:gd name="T4" fmla="*/ 583 w 3343"/>
                    <a:gd name="T5" fmla="*/ 2717 h 3324"/>
                    <a:gd name="T6" fmla="*/ 479 w 3343"/>
                    <a:gd name="T7" fmla="*/ 2660 h 3324"/>
                    <a:gd name="T8" fmla="*/ 355 w 3343"/>
                    <a:gd name="T9" fmla="*/ 2651 h 3324"/>
                    <a:gd name="T10" fmla="*/ 242 w 3343"/>
                    <a:gd name="T11" fmla="*/ 2694 h 3324"/>
                    <a:gd name="T12" fmla="*/ 159 w 3343"/>
                    <a:gd name="T13" fmla="*/ 2776 h 3324"/>
                    <a:gd name="T14" fmla="*/ 116 w 3343"/>
                    <a:gd name="T15" fmla="*/ 2888 h 3324"/>
                    <a:gd name="T16" fmla="*/ 125 w 3343"/>
                    <a:gd name="T17" fmla="*/ 3011 h 3324"/>
                    <a:gd name="T18" fmla="*/ 182 w 3343"/>
                    <a:gd name="T19" fmla="*/ 3115 h 3324"/>
                    <a:gd name="T20" fmla="*/ 275 w 3343"/>
                    <a:gd name="T21" fmla="*/ 3185 h 3324"/>
                    <a:gd name="T22" fmla="*/ 393 w 3343"/>
                    <a:gd name="T23" fmla="*/ 3211 h 3324"/>
                    <a:gd name="T24" fmla="*/ 793 w 3343"/>
                    <a:gd name="T25" fmla="*/ 508 h 3324"/>
                    <a:gd name="T26" fmla="*/ 267 w 3343"/>
                    <a:gd name="T27" fmla="*/ 144 h 3324"/>
                    <a:gd name="T28" fmla="*/ 179 w 3343"/>
                    <a:gd name="T29" fmla="*/ 215 h 3324"/>
                    <a:gd name="T30" fmla="*/ 124 w 3343"/>
                    <a:gd name="T31" fmla="*/ 316 h 3324"/>
                    <a:gd name="T32" fmla="*/ 114 w 3343"/>
                    <a:gd name="T33" fmla="*/ 2654 h 3324"/>
                    <a:gd name="T34" fmla="*/ 207 w 3343"/>
                    <a:gd name="T35" fmla="*/ 2583 h 3324"/>
                    <a:gd name="T36" fmla="*/ 246 w 3343"/>
                    <a:gd name="T37" fmla="*/ 2565 h 3324"/>
                    <a:gd name="T38" fmla="*/ 285 w 3343"/>
                    <a:gd name="T39" fmla="*/ 2551 h 3324"/>
                    <a:gd name="T40" fmla="*/ 316 w 3343"/>
                    <a:gd name="T41" fmla="*/ 2543 h 3324"/>
                    <a:gd name="T42" fmla="*/ 397 w 3343"/>
                    <a:gd name="T43" fmla="*/ 2535 h 3324"/>
                    <a:gd name="T44" fmla="*/ 532 w 3343"/>
                    <a:gd name="T45" fmla="*/ 2559 h 3324"/>
                    <a:gd name="T46" fmla="*/ 647 w 3343"/>
                    <a:gd name="T47" fmla="*/ 2624 h 3324"/>
                    <a:gd name="T48" fmla="*/ 677 w 3343"/>
                    <a:gd name="T49" fmla="*/ 355 h 3324"/>
                    <a:gd name="T50" fmla="*/ 638 w 3343"/>
                    <a:gd name="T51" fmla="*/ 246 h 3324"/>
                    <a:gd name="T52" fmla="*/ 559 w 3343"/>
                    <a:gd name="T53" fmla="*/ 164 h 3324"/>
                    <a:gd name="T54" fmla="*/ 452 w 3343"/>
                    <a:gd name="T55" fmla="*/ 119 h 3324"/>
                    <a:gd name="T56" fmla="*/ 428 w 3343"/>
                    <a:gd name="T57" fmla="*/ 159 h 3324"/>
                    <a:gd name="T58" fmla="*/ 380 w 3343"/>
                    <a:gd name="T59" fmla="*/ 167 h 3324"/>
                    <a:gd name="T60" fmla="*/ 345 w 3343"/>
                    <a:gd name="T61" fmla="*/ 134 h 3324"/>
                    <a:gd name="T62" fmla="*/ 446 w 3343"/>
                    <a:gd name="T63" fmla="*/ 4 h 3324"/>
                    <a:gd name="T64" fmla="*/ 583 w 3343"/>
                    <a:gd name="T65" fmla="*/ 46 h 3324"/>
                    <a:gd name="T66" fmla="*/ 693 w 3343"/>
                    <a:gd name="T67" fmla="*/ 133 h 3324"/>
                    <a:gd name="T68" fmla="*/ 766 w 3343"/>
                    <a:gd name="T69" fmla="*/ 252 h 3324"/>
                    <a:gd name="T70" fmla="*/ 793 w 3343"/>
                    <a:gd name="T71" fmla="*/ 395 h 3324"/>
                    <a:gd name="T72" fmla="*/ 393 w 3343"/>
                    <a:gd name="T73" fmla="*/ 3324 h 3324"/>
                    <a:gd name="T74" fmla="*/ 251 w 3343"/>
                    <a:gd name="T75" fmla="*/ 3297 h 3324"/>
                    <a:gd name="T76" fmla="*/ 131 w 3343"/>
                    <a:gd name="T77" fmla="*/ 3225 h 3324"/>
                    <a:gd name="T78" fmla="*/ 46 w 3343"/>
                    <a:gd name="T79" fmla="*/ 3116 h 3324"/>
                    <a:gd name="T80" fmla="*/ 3 w 3343"/>
                    <a:gd name="T81" fmla="*/ 2982 h 3324"/>
                    <a:gd name="T82" fmla="*/ 0 w 3343"/>
                    <a:gd name="T83" fmla="*/ 2930 h 3324"/>
                    <a:gd name="T84" fmla="*/ 3 w 3343"/>
                    <a:gd name="T85" fmla="*/ 345 h 3324"/>
                    <a:gd name="T86" fmla="*/ 46 w 3343"/>
                    <a:gd name="T87" fmla="*/ 210 h 3324"/>
                    <a:gd name="T88" fmla="*/ 133 w 3343"/>
                    <a:gd name="T89" fmla="*/ 100 h 3324"/>
                    <a:gd name="T90" fmla="*/ 254 w 3343"/>
                    <a:gd name="T91" fmla="*/ 27 h 3324"/>
                    <a:gd name="T92" fmla="*/ 397 w 3343"/>
                    <a:gd name="T93" fmla="*/ 0 h 33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3343" h="3324">
                      <a:moveTo>
                        <a:pt x="793" y="508"/>
                      </a:moveTo>
                      <a:lnTo>
                        <a:pt x="793" y="2930"/>
                      </a:lnTo>
                      <a:lnTo>
                        <a:pt x="680" y="2930"/>
                      </a:lnTo>
                      <a:lnTo>
                        <a:pt x="676" y="2888"/>
                      </a:lnTo>
                      <a:lnTo>
                        <a:pt x="668" y="2848"/>
                      </a:lnTo>
                      <a:lnTo>
                        <a:pt x="653" y="2811"/>
                      </a:lnTo>
                      <a:lnTo>
                        <a:pt x="634" y="2776"/>
                      </a:lnTo>
                      <a:lnTo>
                        <a:pt x="610" y="2745"/>
                      </a:lnTo>
                      <a:lnTo>
                        <a:pt x="583" y="2717"/>
                      </a:lnTo>
                      <a:lnTo>
                        <a:pt x="550" y="2694"/>
                      </a:lnTo>
                      <a:lnTo>
                        <a:pt x="515" y="2674"/>
                      </a:lnTo>
                      <a:lnTo>
                        <a:pt x="479" y="2660"/>
                      </a:lnTo>
                      <a:lnTo>
                        <a:pt x="439" y="2651"/>
                      </a:lnTo>
                      <a:lnTo>
                        <a:pt x="397" y="2648"/>
                      </a:lnTo>
                      <a:lnTo>
                        <a:pt x="355" y="2651"/>
                      </a:lnTo>
                      <a:lnTo>
                        <a:pt x="315" y="2660"/>
                      </a:lnTo>
                      <a:lnTo>
                        <a:pt x="277" y="2674"/>
                      </a:lnTo>
                      <a:lnTo>
                        <a:pt x="242" y="2694"/>
                      </a:lnTo>
                      <a:lnTo>
                        <a:pt x="210" y="2717"/>
                      </a:lnTo>
                      <a:lnTo>
                        <a:pt x="183" y="2745"/>
                      </a:lnTo>
                      <a:lnTo>
                        <a:pt x="159" y="2776"/>
                      </a:lnTo>
                      <a:lnTo>
                        <a:pt x="140" y="2811"/>
                      </a:lnTo>
                      <a:lnTo>
                        <a:pt x="125" y="2848"/>
                      </a:lnTo>
                      <a:lnTo>
                        <a:pt x="116" y="2888"/>
                      </a:lnTo>
                      <a:lnTo>
                        <a:pt x="114" y="2930"/>
                      </a:lnTo>
                      <a:lnTo>
                        <a:pt x="116" y="2972"/>
                      </a:lnTo>
                      <a:lnTo>
                        <a:pt x="125" y="3011"/>
                      </a:lnTo>
                      <a:lnTo>
                        <a:pt x="139" y="3049"/>
                      </a:lnTo>
                      <a:lnTo>
                        <a:pt x="158" y="3084"/>
                      </a:lnTo>
                      <a:lnTo>
                        <a:pt x="182" y="3115"/>
                      </a:lnTo>
                      <a:lnTo>
                        <a:pt x="209" y="3142"/>
                      </a:lnTo>
                      <a:lnTo>
                        <a:pt x="241" y="3166"/>
                      </a:lnTo>
                      <a:lnTo>
                        <a:pt x="275" y="3185"/>
                      </a:lnTo>
                      <a:lnTo>
                        <a:pt x="312" y="3200"/>
                      </a:lnTo>
                      <a:lnTo>
                        <a:pt x="351" y="3208"/>
                      </a:lnTo>
                      <a:lnTo>
                        <a:pt x="393" y="3211"/>
                      </a:lnTo>
                      <a:lnTo>
                        <a:pt x="3231" y="3211"/>
                      </a:lnTo>
                      <a:lnTo>
                        <a:pt x="3231" y="508"/>
                      </a:lnTo>
                      <a:lnTo>
                        <a:pt x="793" y="508"/>
                      </a:lnTo>
                      <a:close/>
                      <a:moveTo>
                        <a:pt x="341" y="119"/>
                      </a:moveTo>
                      <a:lnTo>
                        <a:pt x="303" y="129"/>
                      </a:lnTo>
                      <a:lnTo>
                        <a:pt x="267" y="144"/>
                      </a:lnTo>
                      <a:lnTo>
                        <a:pt x="235" y="164"/>
                      </a:lnTo>
                      <a:lnTo>
                        <a:pt x="205" y="188"/>
                      </a:lnTo>
                      <a:lnTo>
                        <a:pt x="179" y="215"/>
                      </a:lnTo>
                      <a:lnTo>
                        <a:pt x="156" y="246"/>
                      </a:lnTo>
                      <a:lnTo>
                        <a:pt x="138" y="280"/>
                      </a:lnTo>
                      <a:lnTo>
                        <a:pt x="124" y="316"/>
                      </a:lnTo>
                      <a:lnTo>
                        <a:pt x="116" y="355"/>
                      </a:lnTo>
                      <a:lnTo>
                        <a:pt x="114" y="395"/>
                      </a:lnTo>
                      <a:lnTo>
                        <a:pt x="114" y="2654"/>
                      </a:lnTo>
                      <a:lnTo>
                        <a:pt x="142" y="2627"/>
                      </a:lnTo>
                      <a:lnTo>
                        <a:pt x="174" y="2604"/>
                      </a:lnTo>
                      <a:lnTo>
                        <a:pt x="207" y="2583"/>
                      </a:lnTo>
                      <a:lnTo>
                        <a:pt x="209" y="2582"/>
                      </a:lnTo>
                      <a:lnTo>
                        <a:pt x="242" y="2566"/>
                      </a:lnTo>
                      <a:lnTo>
                        <a:pt x="246" y="2565"/>
                      </a:lnTo>
                      <a:lnTo>
                        <a:pt x="250" y="2563"/>
                      </a:lnTo>
                      <a:lnTo>
                        <a:pt x="278" y="2552"/>
                      </a:lnTo>
                      <a:lnTo>
                        <a:pt x="285" y="2551"/>
                      </a:lnTo>
                      <a:lnTo>
                        <a:pt x="294" y="2549"/>
                      </a:lnTo>
                      <a:lnTo>
                        <a:pt x="304" y="2546"/>
                      </a:lnTo>
                      <a:lnTo>
                        <a:pt x="316" y="2543"/>
                      </a:lnTo>
                      <a:lnTo>
                        <a:pt x="338" y="2540"/>
                      </a:lnTo>
                      <a:lnTo>
                        <a:pt x="356" y="2537"/>
                      </a:lnTo>
                      <a:lnTo>
                        <a:pt x="397" y="2535"/>
                      </a:lnTo>
                      <a:lnTo>
                        <a:pt x="443" y="2538"/>
                      </a:lnTo>
                      <a:lnTo>
                        <a:pt x="488" y="2546"/>
                      </a:lnTo>
                      <a:lnTo>
                        <a:pt x="532" y="2559"/>
                      </a:lnTo>
                      <a:lnTo>
                        <a:pt x="573" y="2576"/>
                      </a:lnTo>
                      <a:lnTo>
                        <a:pt x="611" y="2598"/>
                      </a:lnTo>
                      <a:lnTo>
                        <a:pt x="647" y="2624"/>
                      </a:lnTo>
                      <a:lnTo>
                        <a:pt x="680" y="2654"/>
                      </a:lnTo>
                      <a:lnTo>
                        <a:pt x="680" y="395"/>
                      </a:lnTo>
                      <a:lnTo>
                        <a:pt x="677" y="355"/>
                      </a:lnTo>
                      <a:lnTo>
                        <a:pt x="669" y="316"/>
                      </a:lnTo>
                      <a:lnTo>
                        <a:pt x="655" y="280"/>
                      </a:lnTo>
                      <a:lnTo>
                        <a:pt x="638" y="246"/>
                      </a:lnTo>
                      <a:lnTo>
                        <a:pt x="614" y="215"/>
                      </a:lnTo>
                      <a:lnTo>
                        <a:pt x="588" y="188"/>
                      </a:lnTo>
                      <a:lnTo>
                        <a:pt x="559" y="164"/>
                      </a:lnTo>
                      <a:lnTo>
                        <a:pt x="525" y="144"/>
                      </a:lnTo>
                      <a:lnTo>
                        <a:pt x="490" y="129"/>
                      </a:lnTo>
                      <a:lnTo>
                        <a:pt x="452" y="119"/>
                      </a:lnTo>
                      <a:lnTo>
                        <a:pt x="448" y="134"/>
                      </a:lnTo>
                      <a:lnTo>
                        <a:pt x="440" y="149"/>
                      </a:lnTo>
                      <a:lnTo>
                        <a:pt x="428" y="159"/>
                      </a:lnTo>
                      <a:lnTo>
                        <a:pt x="413" y="167"/>
                      </a:lnTo>
                      <a:lnTo>
                        <a:pt x="397" y="169"/>
                      </a:lnTo>
                      <a:lnTo>
                        <a:pt x="380" y="167"/>
                      </a:lnTo>
                      <a:lnTo>
                        <a:pt x="365" y="159"/>
                      </a:lnTo>
                      <a:lnTo>
                        <a:pt x="353" y="149"/>
                      </a:lnTo>
                      <a:lnTo>
                        <a:pt x="345" y="134"/>
                      </a:lnTo>
                      <a:lnTo>
                        <a:pt x="341" y="119"/>
                      </a:lnTo>
                      <a:close/>
                      <a:moveTo>
                        <a:pt x="397" y="0"/>
                      </a:moveTo>
                      <a:lnTo>
                        <a:pt x="446" y="4"/>
                      </a:lnTo>
                      <a:lnTo>
                        <a:pt x="494" y="12"/>
                      </a:lnTo>
                      <a:lnTo>
                        <a:pt x="540" y="27"/>
                      </a:lnTo>
                      <a:lnTo>
                        <a:pt x="583" y="46"/>
                      </a:lnTo>
                      <a:lnTo>
                        <a:pt x="623" y="72"/>
                      </a:lnTo>
                      <a:lnTo>
                        <a:pt x="660" y="100"/>
                      </a:lnTo>
                      <a:lnTo>
                        <a:pt x="693" y="133"/>
                      </a:lnTo>
                      <a:lnTo>
                        <a:pt x="722" y="170"/>
                      </a:lnTo>
                      <a:lnTo>
                        <a:pt x="747" y="210"/>
                      </a:lnTo>
                      <a:lnTo>
                        <a:pt x="766" y="252"/>
                      </a:lnTo>
                      <a:lnTo>
                        <a:pt x="781" y="297"/>
                      </a:lnTo>
                      <a:lnTo>
                        <a:pt x="790" y="345"/>
                      </a:lnTo>
                      <a:lnTo>
                        <a:pt x="793" y="395"/>
                      </a:lnTo>
                      <a:lnTo>
                        <a:pt x="3343" y="395"/>
                      </a:lnTo>
                      <a:lnTo>
                        <a:pt x="3343" y="3324"/>
                      </a:lnTo>
                      <a:lnTo>
                        <a:pt x="393" y="3324"/>
                      </a:lnTo>
                      <a:lnTo>
                        <a:pt x="344" y="3321"/>
                      </a:lnTo>
                      <a:lnTo>
                        <a:pt x="297" y="3311"/>
                      </a:lnTo>
                      <a:lnTo>
                        <a:pt x="251" y="3297"/>
                      </a:lnTo>
                      <a:lnTo>
                        <a:pt x="208" y="3278"/>
                      </a:lnTo>
                      <a:lnTo>
                        <a:pt x="168" y="3254"/>
                      </a:lnTo>
                      <a:lnTo>
                        <a:pt x="131" y="3225"/>
                      </a:lnTo>
                      <a:lnTo>
                        <a:pt x="99" y="3192"/>
                      </a:lnTo>
                      <a:lnTo>
                        <a:pt x="70" y="3156"/>
                      </a:lnTo>
                      <a:lnTo>
                        <a:pt x="46" y="3116"/>
                      </a:lnTo>
                      <a:lnTo>
                        <a:pt x="26" y="3074"/>
                      </a:lnTo>
                      <a:lnTo>
                        <a:pt x="12" y="3029"/>
                      </a:lnTo>
                      <a:lnTo>
                        <a:pt x="3" y="2982"/>
                      </a:lnTo>
                      <a:lnTo>
                        <a:pt x="0" y="2933"/>
                      </a:lnTo>
                      <a:lnTo>
                        <a:pt x="0" y="2931"/>
                      </a:lnTo>
                      <a:lnTo>
                        <a:pt x="0" y="2930"/>
                      </a:lnTo>
                      <a:lnTo>
                        <a:pt x="0" y="2930"/>
                      </a:lnTo>
                      <a:lnTo>
                        <a:pt x="0" y="395"/>
                      </a:lnTo>
                      <a:lnTo>
                        <a:pt x="3" y="345"/>
                      </a:lnTo>
                      <a:lnTo>
                        <a:pt x="12" y="297"/>
                      </a:lnTo>
                      <a:lnTo>
                        <a:pt x="26" y="252"/>
                      </a:lnTo>
                      <a:lnTo>
                        <a:pt x="46" y="210"/>
                      </a:lnTo>
                      <a:lnTo>
                        <a:pt x="70" y="170"/>
                      </a:lnTo>
                      <a:lnTo>
                        <a:pt x="100" y="133"/>
                      </a:lnTo>
                      <a:lnTo>
                        <a:pt x="133" y="100"/>
                      </a:lnTo>
                      <a:lnTo>
                        <a:pt x="170" y="72"/>
                      </a:lnTo>
                      <a:lnTo>
                        <a:pt x="210" y="46"/>
                      </a:lnTo>
                      <a:lnTo>
                        <a:pt x="254" y="27"/>
                      </a:lnTo>
                      <a:lnTo>
                        <a:pt x="299" y="12"/>
                      </a:lnTo>
                      <a:lnTo>
                        <a:pt x="347" y="4"/>
                      </a:lnTo>
                      <a:lnTo>
                        <a:pt x="39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" name="Freeform 486"/>
                <p:cNvSpPr>
                  <a:spLocks/>
                </p:cNvSpPr>
                <p:nvPr/>
              </p:nvSpPr>
              <p:spPr bwMode="auto">
                <a:xfrm>
                  <a:off x="5776913" y="5178425"/>
                  <a:ext cx="33338" cy="28575"/>
                </a:xfrm>
                <a:custGeom>
                  <a:avLst/>
                  <a:gdLst>
                    <a:gd name="T0" fmla="*/ 62 w 206"/>
                    <a:gd name="T1" fmla="*/ 0 h 177"/>
                    <a:gd name="T2" fmla="*/ 76 w 206"/>
                    <a:gd name="T3" fmla="*/ 3 h 177"/>
                    <a:gd name="T4" fmla="*/ 90 w 206"/>
                    <a:gd name="T5" fmla="*/ 10 h 177"/>
                    <a:gd name="T6" fmla="*/ 182 w 206"/>
                    <a:gd name="T7" fmla="*/ 75 h 177"/>
                    <a:gd name="T8" fmla="*/ 194 w 206"/>
                    <a:gd name="T9" fmla="*/ 85 h 177"/>
                    <a:gd name="T10" fmla="*/ 201 w 206"/>
                    <a:gd name="T11" fmla="*/ 98 h 177"/>
                    <a:gd name="T12" fmla="*/ 205 w 206"/>
                    <a:gd name="T13" fmla="*/ 111 h 177"/>
                    <a:gd name="T14" fmla="*/ 206 w 206"/>
                    <a:gd name="T15" fmla="*/ 126 h 177"/>
                    <a:gd name="T16" fmla="*/ 203 w 206"/>
                    <a:gd name="T17" fmla="*/ 141 h 177"/>
                    <a:gd name="T18" fmla="*/ 196 w 206"/>
                    <a:gd name="T19" fmla="*/ 153 h 177"/>
                    <a:gd name="T20" fmla="*/ 186 w 206"/>
                    <a:gd name="T21" fmla="*/ 164 h 177"/>
                    <a:gd name="T22" fmla="*/ 175 w 206"/>
                    <a:gd name="T23" fmla="*/ 171 h 177"/>
                    <a:gd name="T24" fmla="*/ 163 w 206"/>
                    <a:gd name="T25" fmla="*/ 176 h 177"/>
                    <a:gd name="T26" fmla="*/ 149 w 206"/>
                    <a:gd name="T27" fmla="*/ 177 h 177"/>
                    <a:gd name="T28" fmla="*/ 133 w 206"/>
                    <a:gd name="T29" fmla="*/ 175 h 177"/>
                    <a:gd name="T30" fmla="*/ 117 w 206"/>
                    <a:gd name="T31" fmla="*/ 167 h 177"/>
                    <a:gd name="T32" fmla="*/ 24 w 206"/>
                    <a:gd name="T33" fmla="*/ 102 h 177"/>
                    <a:gd name="T34" fmla="*/ 13 w 206"/>
                    <a:gd name="T35" fmla="*/ 92 h 177"/>
                    <a:gd name="T36" fmla="*/ 5 w 206"/>
                    <a:gd name="T37" fmla="*/ 79 h 177"/>
                    <a:gd name="T38" fmla="*/ 1 w 206"/>
                    <a:gd name="T39" fmla="*/ 65 h 177"/>
                    <a:gd name="T40" fmla="*/ 0 w 206"/>
                    <a:gd name="T41" fmla="*/ 52 h 177"/>
                    <a:gd name="T42" fmla="*/ 3 w 206"/>
                    <a:gd name="T43" fmla="*/ 37 h 177"/>
                    <a:gd name="T44" fmla="*/ 11 w 206"/>
                    <a:gd name="T45" fmla="*/ 24 h 177"/>
                    <a:gd name="T46" fmla="*/ 21 w 206"/>
                    <a:gd name="T47" fmla="*/ 12 h 177"/>
                    <a:gd name="T48" fmla="*/ 34 w 206"/>
                    <a:gd name="T49" fmla="*/ 5 h 177"/>
                    <a:gd name="T50" fmla="*/ 47 w 206"/>
                    <a:gd name="T51" fmla="*/ 1 h 177"/>
                    <a:gd name="T52" fmla="*/ 62 w 206"/>
                    <a:gd name="T53" fmla="*/ 0 h 1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06" h="177">
                      <a:moveTo>
                        <a:pt x="62" y="0"/>
                      </a:moveTo>
                      <a:lnTo>
                        <a:pt x="76" y="3"/>
                      </a:lnTo>
                      <a:lnTo>
                        <a:pt x="90" y="10"/>
                      </a:lnTo>
                      <a:lnTo>
                        <a:pt x="182" y="75"/>
                      </a:lnTo>
                      <a:lnTo>
                        <a:pt x="194" y="85"/>
                      </a:lnTo>
                      <a:lnTo>
                        <a:pt x="201" y="98"/>
                      </a:lnTo>
                      <a:lnTo>
                        <a:pt x="205" y="111"/>
                      </a:lnTo>
                      <a:lnTo>
                        <a:pt x="206" y="126"/>
                      </a:lnTo>
                      <a:lnTo>
                        <a:pt x="203" y="141"/>
                      </a:lnTo>
                      <a:lnTo>
                        <a:pt x="196" y="153"/>
                      </a:lnTo>
                      <a:lnTo>
                        <a:pt x="186" y="164"/>
                      </a:lnTo>
                      <a:lnTo>
                        <a:pt x="175" y="171"/>
                      </a:lnTo>
                      <a:lnTo>
                        <a:pt x="163" y="176"/>
                      </a:lnTo>
                      <a:lnTo>
                        <a:pt x="149" y="177"/>
                      </a:lnTo>
                      <a:lnTo>
                        <a:pt x="133" y="175"/>
                      </a:lnTo>
                      <a:lnTo>
                        <a:pt x="117" y="167"/>
                      </a:lnTo>
                      <a:lnTo>
                        <a:pt x="24" y="102"/>
                      </a:lnTo>
                      <a:lnTo>
                        <a:pt x="13" y="92"/>
                      </a:lnTo>
                      <a:lnTo>
                        <a:pt x="5" y="79"/>
                      </a:lnTo>
                      <a:lnTo>
                        <a:pt x="1" y="65"/>
                      </a:lnTo>
                      <a:lnTo>
                        <a:pt x="0" y="52"/>
                      </a:lnTo>
                      <a:lnTo>
                        <a:pt x="3" y="37"/>
                      </a:lnTo>
                      <a:lnTo>
                        <a:pt x="11" y="24"/>
                      </a:lnTo>
                      <a:lnTo>
                        <a:pt x="21" y="12"/>
                      </a:lnTo>
                      <a:lnTo>
                        <a:pt x="34" y="5"/>
                      </a:lnTo>
                      <a:lnTo>
                        <a:pt x="47" y="1"/>
                      </a:lnTo>
                      <a:lnTo>
                        <a:pt x="62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" name="Freeform 487"/>
                <p:cNvSpPr>
                  <a:spLocks/>
                </p:cNvSpPr>
                <p:nvPr/>
              </p:nvSpPr>
              <p:spPr bwMode="auto">
                <a:xfrm>
                  <a:off x="5821363" y="5210175"/>
                  <a:ext cx="33338" cy="26987"/>
                </a:xfrm>
                <a:custGeom>
                  <a:avLst/>
                  <a:gdLst>
                    <a:gd name="T0" fmla="*/ 62 w 206"/>
                    <a:gd name="T1" fmla="*/ 0 h 178"/>
                    <a:gd name="T2" fmla="*/ 76 w 206"/>
                    <a:gd name="T3" fmla="*/ 3 h 178"/>
                    <a:gd name="T4" fmla="*/ 89 w 206"/>
                    <a:gd name="T5" fmla="*/ 11 h 178"/>
                    <a:gd name="T6" fmla="*/ 182 w 206"/>
                    <a:gd name="T7" fmla="*/ 75 h 178"/>
                    <a:gd name="T8" fmla="*/ 193 w 206"/>
                    <a:gd name="T9" fmla="*/ 86 h 178"/>
                    <a:gd name="T10" fmla="*/ 201 w 206"/>
                    <a:gd name="T11" fmla="*/ 97 h 178"/>
                    <a:gd name="T12" fmla="*/ 205 w 206"/>
                    <a:gd name="T13" fmla="*/ 112 h 178"/>
                    <a:gd name="T14" fmla="*/ 206 w 206"/>
                    <a:gd name="T15" fmla="*/ 126 h 178"/>
                    <a:gd name="T16" fmla="*/ 203 w 206"/>
                    <a:gd name="T17" fmla="*/ 140 h 178"/>
                    <a:gd name="T18" fmla="*/ 195 w 206"/>
                    <a:gd name="T19" fmla="*/ 154 h 178"/>
                    <a:gd name="T20" fmla="*/ 186 w 206"/>
                    <a:gd name="T21" fmla="*/ 164 h 178"/>
                    <a:gd name="T22" fmla="*/ 175 w 206"/>
                    <a:gd name="T23" fmla="*/ 172 h 178"/>
                    <a:gd name="T24" fmla="*/ 163 w 206"/>
                    <a:gd name="T25" fmla="*/ 176 h 178"/>
                    <a:gd name="T26" fmla="*/ 149 w 206"/>
                    <a:gd name="T27" fmla="*/ 178 h 178"/>
                    <a:gd name="T28" fmla="*/ 132 w 206"/>
                    <a:gd name="T29" fmla="*/ 175 h 178"/>
                    <a:gd name="T30" fmla="*/ 117 w 206"/>
                    <a:gd name="T31" fmla="*/ 167 h 178"/>
                    <a:gd name="T32" fmla="*/ 24 w 206"/>
                    <a:gd name="T33" fmla="*/ 103 h 178"/>
                    <a:gd name="T34" fmla="*/ 12 w 206"/>
                    <a:gd name="T35" fmla="*/ 92 h 178"/>
                    <a:gd name="T36" fmla="*/ 5 w 206"/>
                    <a:gd name="T37" fmla="*/ 80 h 178"/>
                    <a:gd name="T38" fmla="*/ 1 w 206"/>
                    <a:gd name="T39" fmla="*/ 66 h 178"/>
                    <a:gd name="T40" fmla="*/ 0 w 206"/>
                    <a:gd name="T41" fmla="*/ 51 h 178"/>
                    <a:gd name="T42" fmla="*/ 3 w 206"/>
                    <a:gd name="T43" fmla="*/ 37 h 178"/>
                    <a:gd name="T44" fmla="*/ 10 w 206"/>
                    <a:gd name="T45" fmla="*/ 24 h 178"/>
                    <a:gd name="T46" fmla="*/ 21 w 206"/>
                    <a:gd name="T47" fmla="*/ 13 h 178"/>
                    <a:gd name="T48" fmla="*/ 33 w 206"/>
                    <a:gd name="T49" fmla="*/ 5 h 178"/>
                    <a:gd name="T50" fmla="*/ 47 w 206"/>
                    <a:gd name="T51" fmla="*/ 1 h 178"/>
                    <a:gd name="T52" fmla="*/ 62 w 206"/>
                    <a:gd name="T53" fmla="*/ 0 h 1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06" h="178">
                      <a:moveTo>
                        <a:pt x="62" y="0"/>
                      </a:moveTo>
                      <a:lnTo>
                        <a:pt x="76" y="3"/>
                      </a:lnTo>
                      <a:lnTo>
                        <a:pt x="89" y="11"/>
                      </a:lnTo>
                      <a:lnTo>
                        <a:pt x="182" y="75"/>
                      </a:lnTo>
                      <a:lnTo>
                        <a:pt x="193" y="86"/>
                      </a:lnTo>
                      <a:lnTo>
                        <a:pt x="201" y="97"/>
                      </a:lnTo>
                      <a:lnTo>
                        <a:pt x="205" y="112"/>
                      </a:lnTo>
                      <a:lnTo>
                        <a:pt x="206" y="126"/>
                      </a:lnTo>
                      <a:lnTo>
                        <a:pt x="203" y="140"/>
                      </a:lnTo>
                      <a:lnTo>
                        <a:pt x="195" y="154"/>
                      </a:lnTo>
                      <a:lnTo>
                        <a:pt x="186" y="164"/>
                      </a:lnTo>
                      <a:lnTo>
                        <a:pt x="175" y="172"/>
                      </a:lnTo>
                      <a:lnTo>
                        <a:pt x="163" y="176"/>
                      </a:lnTo>
                      <a:lnTo>
                        <a:pt x="149" y="178"/>
                      </a:lnTo>
                      <a:lnTo>
                        <a:pt x="132" y="175"/>
                      </a:lnTo>
                      <a:lnTo>
                        <a:pt x="117" y="167"/>
                      </a:lnTo>
                      <a:lnTo>
                        <a:pt x="24" y="103"/>
                      </a:lnTo>
                      <a:lnTo>
                        <a:pt x="12" y="92"/>
                      </a:lnTo>
                      <a:lnTo>
                        <a:pt x="5" y="80"/>
                      </a:lnTo>
                      <a:lnTo>
                        <a:pt x="1" y="66"/>
                      </a:lnTo>
                      <a:lnTo>
                        <a:pt x="0" y="51"/>
                      </a:lnTo>
                      <a:lnTo>
                        <a:pt x="3" y="37"/>
                      </a:lnTo>
                      <a:lnTo>
                        <a:pt x="10" y="24"/>
                      </a:lnTo>
                      <a:lnTo>
                        <a:pt x="21" y="13"/>
                      </a:lnTo>
                      <a:lnTo>
                        <a:pt x="33" y="5"/>
                      </a:lnTo>
                      <a:lnTo>
                        <a:pt x="47" y="1"/>
                      </a:lnTo>
                      <a:lnTo>
                        <a:pt x="62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3" name="Freeform 488"/>
                <p:cNvSpPr>
                  <a:spLocks/>
                </p:cNvSpPr>
                <p:nvPr/>
              </p:nvSpPr>
              <p:spPr bwMode="auto">
                <a:xfrm>
                  <a:off x="5715000" y="5375275"/>
                  <a:ext cx="34925" cy="17462"/>
                </a:xfrm>
                <a:custGeom>
                  <a:avLst/>
                  <a:gdLst>
                    <a:gd name="T0" fmla="*/ 56 w 227"/>
                    <a:gd name="T1" fmla="*/ 0 h 113"/>
                    <a:gd name="T2" fmla="*/ 170 w 227"/>
                    <a:gd name="T3" fmla="*/ 0 h 113"/>
                    <a:gd name="T4" fmla="*/ 188 w 227"/>
                    <a:gd name="T5" fmla="*/ 4 h 113"/>
                    <a:gd name="T6" fmla="*/ 204 w 227"/>
                    <a:gd name="T7" fmla="*/ 11 h 113"/>
                    <a:gd name="T8" fmla="*/ 215 w 227"/>
                    <a:gd name="T9" fmla="*/ 23 h 113"/>
                    <a:gd name="T10" fmla="*/ 224 w 227"/>
                    <a:gd name="T11" fmla="*/ 39 h 113"/>
                    <a:gd name="T12" fmla="*/ 227 w 227"/>
                    <a:gd name="T13" fmla="*/ 57 h 113"/>
                    <a:gd name="T14" fmla="*/ 224 w 227"/>
                    <a:gd name="T15" fmla="*/ 75 h 113"/>
                    <a:gd name="T16" fmla="*/ 215 w 227"/>
                    <a:gd name="T17" fmla="*/ 90 h 113"/>
                    <a:gd name="T18" fmla="*/ 204 w 227"/>
                    <a:gd name="T19" fmla="*/ 102 h 113"/>
                    <a:gd name="T20" fmla="*/ 188 w 227"/>
                    <a:gd name="T21" fmla="*/ 110 h 113"/>
                    <a:gd name="T22" fmla="*/ 170 w 227"/>
                    <a:gd name="T23" fmla="*/ 113 h 113"/>
                    <a:gd name="T24" fmla="*/ 56 w 227"/>
                    <a:gd name="T25" fmla="*/ 113 h 113"/>
                    <a:gd name="T26" fmla="*/ 39 w 227"/>
                    <a:gd name="T27" fmla="*/ 110 h 113"/>
                    <a:gd name="T28" fmla="*/ 23 w 227"/>
                    <a:gd name="T29" fmla="*/ 102 h 113"/>
                    <a:gd name="T30" fmla="*/ 11 w 227"/>
                    <a:gd name="T31" fmla="*/ 90 h 113"/>
                    <a:gd name="T32" fmla="*/ 3 w 227"/>
                    <a:gd name="T33" fmla="*/ 75 h 113"/>
                    <a:gd name="T34" fmla="*/ 0 w 227"/>
                    <a:gd name="T35" fmla="*/ 57 h 113"/>
                    <a:gd name="T36" fmla="*/ 3 w 227"/>
                    <a:gd name="T37" fmla="*/ 39 h 113"/>
                    <a:gd name="T38" fmla="*/ 11 w 227"/>
                    <a:gd name="T39" fmla="*/ 23 h 113"/>
                    <a:gd name="T40" fmla="*/ 23 w 227"/>
                    <a:gd name="T41" fmla="*/ 11 h 113"/>
                    <a:gd name="T42" fmla="*/ 39 w 227"/>
                    <a:gd name="T43" fmla="*/ 4 h 113"/>
                    <a:gd name="T44" fmla="*/ 56 w 227"/>
                    <a:gd name="T45" fmla="*/ 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27" h="113">
                      <a:moveTo>
                        <a:pt x="56" y="0"/>
                      </a:moveTo>
                      <a:lnTo>
                        <a:pt x="170" y="0"/>
                      </a:lnTo>
                      <a:lnTo>
                        <a:pt x="188" y="4"/>
                      </a:lnTo>
                      <a:lnTo>
                        <a:pt x="204" y="11"/>
                      </a:lnTo>
                      <a:lnTo>
                        <a:pt x="215" y="23"/>
                      </a:lnTo>
                      <a:lnTo>
                        <a:pt x="224" y="39"/>
                      </a:lnTo>
                      <a:lnTo>
                        <a:pt x="227" y="57"/>
                      </a:lnTo>
                      <a:lnTo>
                        <a:pt x="224" y="75"/>
                      </a:lnTo>
                      <a:lnTo>
                        <a:pt x="215" y="90"/>
                      </a:lnTo>
                      <a:lnTo>
                        <a:pt x="204" y="102"/>
                      </a:lnTo>
                      <a:lnTo>
                        <a:pt x="188" y="110"/>
                      </a:lnTo>
                      <a:lnTo>
                        <a:pt x="170" y="113"/>
                      </a:lnTo>
                      <a:lnTo>
                        <a:pt x="56" y="113"/>
                      </a:lnTo>
                      <a:lnTo>
                        <a:pt x="39" y="110"/>
                      </a:lnTo>
                      <a:lnTo>
                        <a:pt x="23" y="102"/>
                      </a:lnTo>
                      <a:lnTo>
                        <a:pt x="11" y="90"/>
                      </a:lnTo>
                      <a:lnTo>
                        <a:pt x="3" y="75"/>
                      </a:lnTo>
                      <a:lnTo>
                        <a:pt x="0" y="57"/>
                      </a:lnTo>
                      <a:lnTo>
                        <a:pt x="3" y="39"/>
                      </a:lnTo>
                      <a:lnTo>
                        <a:pt x="11" y="23"/>
                      </a:lnTo>
                      <a:lnTo>
                        <a:pt x="23" y="11"/>
                      </a:lnTo>
                      <a:lnTo>
                        <a:pt x="39" y="4"/>
                      </a:lnTo>
                      <a:lnTo>
                        <a:pt x="5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" name="Freeform 489"/>
                <p:cNvSpPr>
                  <a:spLocks/>
                </p:cNvSpPr>
                <p:nvPr/>
              </p:nvSpPr>
              <p:spPr bwMode="auto">
                <a:xfrm>
                  <a:off x="5840413" y="5253038"/>
                  <a:ext cx="17463" cy="36512"/>
                </a:xfrm>
                <a:custGeom>
                  <a:avLst/>
                  <a:gdLst>
                    <a:gd name="T0" fmla="*/ 57 w 113"/>
                    <a:gd name="T1" fmla="*/ 0 h 226"/>
                    <a:gd name="T2" fmla="*/ 74 w 113"/>
                    <a:gd name="T3" fmla="*/ 3 h 226"/>
                    <a:gd name="T4" fmla="*/ 90 w 113"/>
                    <a:gd name="T5" fmla="*/ 12 h 226"/>
                    <a:gd name="T6" fmla="*/ 103 w 113"/>
                    <a:gd name="T7" fmla="*/ 23 h 226"/>
                    <a:gd name="T8" fmla="*/ 110 w 113"/>
                    <a:gd name="T9" fmla="*/ 39 h 226"/>
                    <a:gd name="T10" fmla="*/ 113 w 113"/>
                    <a:gd name="T11" fmla="*/ 57 h 226"/>
                    <a:gd name="T12" fmla="*/ 113 w 113"/>
                    <a:gd name="T13" fmla="*/ 169 h 226"/>
                    <a:gd name="T14" fmla="*/ 110 w 113"/>
                    <a:gd name="T15" fmla="*/ 187 h 226"/>
                    <a:gd name="T16" fmla="*/ 103 w 113"/>
                    <a:gd name="T17" fmla="*/ 203 h 226"/>
                    <a:gd name="T18" fmla="*/ 90 w 113"/>
                    <a:gd name="T19" fmla="*/ 214 h 226"/>
                    <a:gd name="T20" fmla="*/ 74 w 113"/>
                    <a:gd name="T21" fmla="*/ 223 h 226"/>
                    <a:gd name="T22" fmla="*/ 57 w 113"/>
                    <a:gd name="T23" fmla="*/ 226 h 226"/>
                    <a:gd name="T24" fmla="*/ 39 w 113"/>
                    <a:gd name="T25" fmla="*/ 223 h 226"/>
                    <a:gd name="T26" fmla="*/ 23 w 113"/>
                    <a:gd name="T27" fmla="*/ 214 h 226"/>
                    <a:gd name="T28" fmla="*/ 11 w 113"/>
                    <a:gd name="T29" fmla="*/ 203 h 226"/>
                    <a:gd name="T30" fmla="*/ 3 w 113"/>
                    <a:gd name="T31" fmla="*/ 187 h 226"/>
                    <a:gd name="T32" fmla="*/ 0 w 113"/>
                    <a:gd name="T33" fmla="*/ 169 h 226"/>
                    <a:gd name="T34" fmla="*/ 0 w 113"/>
                    <a:gd name="T35" fmla="*/ 57 h 226"/>
                    <a:gd name="T36" fmla="*/ 3 w 113"/>
                    <a:gd name="T37" fmla="*/ 39 h 226"/>
                    <a:gd name="T38" fmla="*/ 11 w 113"/>
                    <a:gd name="T39" fmla="*/ 23 h 226"/>
                    <a:gd name="T40" fmla="*/ 23 w 113"/>
                    <a:gd name="T41" fmla="*/ 12 h 226"/>
                    <a:gd name="T42" fmla="*/ 39 w 113"/>
                    <a:gd name="T43" fmla="*/ 3 h 226"/>
                    <a:gd name="T44" fmla="*/ 57 w 113"/>
                    <a:gd name="T45" fmla="*/ 0 h 2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3" h="226">
                      <a:moveTo>
                        <a:pt x="57" y="0"/>
                      </a:moveTo>
                      <a:lnTo>
                        <a:pt x="74" y="3"/>
                      </a:lnTo>
                      <a:lnTo>
                        <a:pt x="90" y="12"/>
                      </a:lnTo>
                      <a:lnTo>
                        <a:pt x="103" y="23"/>
                      </a:lnTo>
                      <a:lnTo>
                        <a:pt x="110" y="39"/>
                      </a:lnTo>
                      <a:lnTo>
                        <a:pt x="113" y="57"/>
                      </a:lnTo>
                      <a:lnTo>
                        <a:pt x="113" y="169"/>
                      </a:lnTo>
                      <a:lnTo>
                        <a:pt x="110" y="187"/>
                      </a:lnTo>
                      <a:lnTo>
                        <a:pt x="103" y="203"/>
                      </a:lnTo>
                      <a:lnTo>
                        <a:pt x="90" y="214"/>
                      </a:lnTo>
                      <a:lnTo>
                        <a:pt x="74" y="223"/>
                      </a:lnTo>
                      <a:lnTo>
                        <a:pt x="57" y="226"/>
                      </a:lnTo>
                      <a:lnTo>
                        <a:pt x="39" y="223"/>
                      </a:lnTo>
                      <a:lnTo>
                        <a:pt x="23" y="214"/>
                      </a:lnTo>
                      <a:lnTo>
                        <a:pt x="11" y="203"/>
                      </a:lnTo>
                      <a:lnTo>
                        <a:pt x="3" y="187"/>
                      </a:lnTo>
                      <a:lnTo>
                        <a:pt x="0" y="169"/>
                      </a:lnTo>
                      <a:lnTo>
                        <a:pt x="0" y="57"/>
                      </a:lnTo>
                      <a:lnTo>
                        <a:pt x="3" y="39"/>
                      </a:lnTo>
                      <a:lnTo>
                        <a:pt x="11" y="23"/>
                      </a:lnTo>
                      <a:lnTo>
                        <a:pt x="23" y="12"/>
                      </a:lnTo>
                      <a:lnTo>
                        <a:pt x="39" y="3"/>
                      </a:lnTo>
                      <a:lnTo>
                        <a:pt x="5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" name="Freeform 490"/>
                <p:cNvSpPr>
                  <a:spLocks/>
                </p:cNvSpPr>
                <p:nvPr/>
              </p:nvSpPr>
              <p:spPr bwMode="auto">
                <a:xfrm>
                  <a:off x="5732463" y="5148263"/>
                  <a:ext cx="33338" cy="26987"/>
                </a:xfrm>
                <a:custGeom>
                  <a:avLst/>
                  <a:gdLst>
                    <a:gd name="T0" fmla="*/ 61 w 207"/>
                    <a:gd name="T1" fmla="*/ 0 h 178"/>
                    <a:gd name="T2" fmla="*/ 76 w 207"/>
                    <a:gd name="T3" fmla="*/ 3 h 178"/>
                    <a:gd name="T4" fmla="*/ 90 w 207"/>
                    <a:gd name="T5" fmla="*/ 11 h 178"/>
                    <a:gd name="T6" fmla="*/ 182 w 207"/>
                    <a:gd name="T7" fmla="*/ 75 h 178"/>
                    <a:gd name="T8" fmla="*/ 194 w 207"/>
                    <a:gd name="T9" fmla="*/ 86 h 178"/>
                    <a:gd name="T10" fmla="*/ 201 w 207"/>
                    <a:gd name="T11" fmla="*/ 98 h 178"/>
                    <a:gd name="T12" fmla="*/ 206 w 207"/>
                    <a:gd name="T13" fmla="*/ 112 h 178"/>
                    <a:gd name="T14" fmla="*/ 207 w 207"/>
                    <a:gd name="T15" fmla="*/ 127 h 178"/>
                    <a:gd name="T16" fmla="*/ 203 w 207"/>
                    <a:gd name="T17" fmla="*/ 140 h 178"/>
                    <a:gd name="T18" fmla="*/ 196 w 207"/>
                    <a:gd name="T19" fmla="*/ 154 h 178"/>
                    <a:gd name="T20" fmla="*/ 187 w 207"/>
                    <a:gd name="T21" fmla="*/ 164 h 178"/>
                    <a:gd name="T22" fmla="*/ 175 w 207"/>
                    <a:gd name="T23" fmla="*/ 172 h 178"/>
                    <a:gd name="T24" fmla="*/ 162 w 207"/>
                    <a:gd name="T25" fmla="*/ 176 h 178"/>
                    <a:gd name="T26" fmla="*/ 150 w 207"/>
                    <a:gd name="T27" fmla="*/ 178 h 178"/>
                    <a:gd name="T28" fmla="*/ 133 w 207"/>
                    <a:gd name="T29" fmla="*/ 175 h 178"/>
                    <a:gd name="T30" fmla="*/ 117 w 207"/>
                    <a:gd name="T31" fmla="*/ 167 h 178"/>
                    <a:gd name="T32" fmla="*/ 25 w 207"/>
                    <a:gd name="T33" fmla="*/ 103 h 178"/>
                    <a:gd name="T34" fmla="*/ 13 w 207"/>
                    <a:gd name="T35" fmla="*/ 92 h 178"/>
                    <a:gd name="T36" fmla="*/ 6 w 207"/>
                    <a:gd name="T37" fmla="*/ 80 h 178"/>
                    <a:gd name="T38" fmla="*/ 1 w 207"/>
                    <a:gd name="T39" fmla="*/ 66 h 178"/>
                    <a:gd name="T40" fmla="*/ 0 w 207"/>
                    <a:gd name="T41" fmla="*/ 51 h 178"/>
                    <a:gd name="T42" fmla="*/ 4 w 207"/>
                    <a:gd name="T43" fmla="*/ 38 h 178"/>
                    <a:gd name="T44" fmla="*/ 11 w 207"/>
                    <a:gd name="T45" fmla="*/ 24 h 178"/>
                    <a:gd name="T46" fmla="*/ 21 w 207"/>
                    <a:gd name="T47" fmla="*/ 13 h 178"/>
                    <a:gd name="T48" fmla="*/ 34 w 207"/>
                    <a:gd name="T49" fmla="*/ 5 h 178"/>
                    <a:gd name="T50" fmla="*/ 48 w 207"/>
                    <a:gd name="T51" fmla="*/ 1 h 178"/>
                    <a:gd name="T52" fmla="*/ 61 w 207"/>
                    <a:gd name="T53" fmla="*/ 0 h 1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07" h="178">
                      <a:moveTo>
                        <a:pt x="61" y="0"/>
                      </a:moveTo>
                      <a:lnTo>
                        <a:pt x="76" y="3"/>
                      </a:lnTo>
                      <a:lnTo>
                        <a:pt x="90" y="11"/>
                      </a:lnTo>
                      <a:lnTo>
                        <a:pt x="182" y="75"/>
                      </a:lnTo>
                      <a:lnTo>
                        <a:pt x="194" y="86"/>
                      </a:lnTo>
                      <a:lnTo>
                        <a:pt x="201" y="98"/>
                      </a:lnTo>
                      <a:lnTo>
                        <a:pt x="206" y="112"/>
                      </a:lnTo>
                      <a:lnTo>
                        <a:pt x="207" y="127"/>
                      </a:lnTo>
                      <a:lnTo>
                        <a:pt x="203" y="140"/>
                      </a:lnTo>
                      <a:lnTo>
                        <a:pt x="196" y="154"/>
                      </a:lnTo>
                      <a:lnTo>
                        <a:pt x="187" y="164"/>
                      </a:lnTo>
                      <a:lnTo>
                        <a:pt x="175" y="172"/>
                      </a:lnTo>
                      <a:lnTo>
                        <a:pt x="162" y="176"/>
                      </a:lnTo>
                      <a:lnTo>
                        <a:pt x="150" y="178"/>
                      </a:lnTo>
                      <a:lnTo>
                        <a:pt x="133" y="175"/>
                      </a:lnTo>
                      <a:lnTo>
                        <a:pt x="117" y="167"/>
                      </a:lnTo>
                      <a:lnTo>
                        <a:pt x="25" y="103"/>
                      </a:lnTo>
                      <a:lnTo>
                        <a:pt x="13" y="92"/>
                      </a:lnTo>
                      <a:lnTo>
                        <a:pt x="6" y="80"/>
                      </a:lnTo>
                      <a:lnTo>
                        <a:pt x="1" y="66"/>
                      </a:lnTo>
                      <a:lnTo>
                        <a:pt x="0" y="51"/>
                      </a:lnTo>
                      <a:lnTo>
                        <a:pt x="4" y="38"/>
                      </a:lnTo>
                      <a:lnTo>
                        <a:pt x="11" y="24"/>
                      </a:lnTo>
                      <a:lnTo>
                        <a:pt x="21" y="13"/>
                      </a:lnTo>
                      <a:lnTo>
                        <a:pt x="34" y="5"/>
                      </a:lnTo>
                      <a:lnTo>
                        <a:pt x="48" y="1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" name="Freeform 491"/>
                <p:cNvSpPr>
                  <a:spLocks/>
                </p:cNvSpPr>
                <p:nvPr/>
              </p:nvSpPr>
              <p:spPr bwMode="auto">
                <a:xfrm>
                  <a:off x="5768975" y="5375275"/>
                  <a:ext cx="34925" cy="17462"/>
                </a:xfrm>
                <a:custGeom>
                  <a:avLst/>
                  <a:gdLst>
                    <a:gd name="T0" fmla="*/ 57 w 228"/>
                    <a:gd name="T1" fmla="*/ 0 h 113"/>
                    <a:gd name="T2" fmla="*/ 171 w 228"/>
                    <a:gd name="T3" fmla="*/ 0 h 113"/>
                    <a:gd name="T4" fmla="*/ 189 w 228"/>
                    <a:gd name="T5" fmla="*/ 4 h 113"/>
                    <a:gd name="T6" fmla="*/ 204 w 228"/>
                    <a:gd name="T7" fmla="*/ 11 h 113"/>
                    <a:gd name="T8" fmla="*/ 217 w 228"/>
                    <a:gd name="T9" fmla="*/ 23 h 113"/>
                    <a:gd name="T10" fmla="*/ 224 w 228"/>
                    <a:gd name="T11" fmla="*/ 39 h 113"/>
                    <a:gd name="T12" fmla="*/ 228 w 228"/>
                    <a:gd name="T13" fmla="*/ 57 h 113"/>
                    <a:gd name="T14" fmla="*/ 224 w 228"/>
                    <a:gd name="T15" fmla="*/ 75 h 113"/>
                    <a:gd name="T16" fmla="*/ 217 w 228"/>
                    <a:gd name="T17" fmla="*/ 90 h 113"/>
                    <a:gd name="T18" fmla="*/ 204 w 228"/>
                    <a:gd name="T19" fmla="*/ 102 h 113"/>
                    <a:gd name="T20" fmla="*/ 189 w 228"/>
                    <a:gd name="T21" fmla="*/ 110 h 113"/>
                    <a:gd name="T22" fmla="*/ 171 w 228"/>
                    <a:gd name="T23" fmla="*/ 113 h 113"/>
                    <a:gd name="T24" fmla="*/ 57 w 228"/>
                    <a:gd name="T25" fmla="*/ 113 h 113"/>
                    <a:gd name="T26" fmla="*/ 39 w 228"/>
                    <a:gd name="T27" fmla="*/ 110 h 113"/>
                    <a:gd name="T28" fmla="*/ 24 w 228"/>
                    <a:gd name="T29" fmla="*/ 102 h 113"/>
                    <a:gd name="T30" fmla="*/ 12 w 228"/>
                    <a:gd name="T31" fmla="*/ 90 h 113"/>
                    <a:gd name="T32" fmla="*/ 4 w 228"/>
                    <a:gd name="T33" fmla="*/ 75 h 113"/>
                    <a:gd name="T34" fmla="*/ 0 w 228"/>
                    <a:gd name="T35" fmla="*/ 57 h 113"/>
                    <a:gd name="T36" fmla="*/ 4 w 228"/>
                    <a:gd name="T37" fmla="*/ 39 h 113"/>
                    <a:gd name="T38" fmla="*/ 12 w 228"/>
                    <a:gd name="T39" fmla="*/ 23 h 113"/>
                    <a:gd name="T40" fmla="*/ 24 w 228"/>
                    <a:gd name="T41" fmla="*/ 11 h 113"/>
                    <a:gd name="T42" fmla="*/ 39 w 228"/>
                    <a:gd name="T43" fmla="*/ 4 h 113"/>
                    <a:gd name="T44" fmla="*/ 57 w 228"/>
                    <a:gd name="T45" fmla="*/ 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28" h="113">
                      <a:moveTo>
                        <a:pt x="57" y="0"/>
                      </a:moveTo>
                      <a:lnTo>
                        <a:pt x="171" y="0"/>
                      </a:lnTo>
                      <a:lnTo>
                        <a:pt x="189" y="4"/>
                      </a:lnTo>
                      <a:lnTo>
                        <a:pt x="204" y="11"/>
                      </a:lnTo>
                      <a:lnTo>
                        <a:pt x="217" y="23"/>
                      </a:lnTo>
                      <a:lnTo>
                        <a:pt x="224" y="39"/>
                      </a:lnTo>
                      <a:lnTo>
                        <a:pt x="228" y="57"/>
                      </a:lnTo>
                      <a:lnTo>
                        <a:pt x="224" y="75"/>
                      </a:lnTo>
                      <a:lnTo>
                        <a:pt x="217" y="90"/>
                      </a:lnTo>
                      <a:lnTo>
                        <a:pt x="204" y="102"/>
                      </a:lnTo>
                      <a:lnTo>
                        <a:pt x="189" y="110"/>
                      </a:lnTo>
                      <a:lnTo>
                        <a:pt x="171" y="113"/>
                      </a:lnTo>
                      <a:lnTo>
                        <a:pt x="57" y="113"/>
                      </a:lnTo>
                      <a:lnTo>
                        <a:pt x="39" y="110"/>
                      </a:lnTo>
                      <a:lnTo>
                        <a:pt x="24" y="102"/>
                      </a:lnTo>
                      <a:lnTo>
                        <a:pt x="12" y="90"/>
                      </a:lnTo>
                      <a:lnTo>
                        <a:pt x="4" y="75"/>
                      </a:lnTo>
                      <a:lnTo>
                        <a:pt x="0" y="57"/>
                      </a:lnTo>
                      <a:lnTo>
                        <a:pt x="4" y="39"/>
                      </a:lnTo>
                      <a:lnTo>
                        <a:pt x="12" y="23"/>
                      </a:lnTo>
                      <a:lnTo>
                        <a:pt x="24" y="11"/>
                      </a:lnTo>
                      <a:lnTo>
                        <a:pt x="39" y="4"/>
                      </a:lnTo>
                      <a:lnTo>
                        <a:pt x="5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" name="Freeform 492"/>
                <p:cNvSpPr>
                  <a:spLocks/>
                </p:cNvSpPr>
                <p:nvPr/>
              </p:nvSpPr>
              <p:spPr bwMode="auto">
                <a:xfrm>
                  <a:off x="5607050" y="5375275"/>
                  <a:ext cx="34925" cy="17462"/>
                </a:xfrm>
                <a:custGeom>
                  <a:avLst/>
                  <a:gdLst>
                    <a:gd name="T0" fmla="*/ 57 w 226"/>
                    <a:gd name="T1" fmla="*/ 0 h 113"/>
                    <a:gd name="T2" fmla="*/ 169 w 226"/>
                    <a:gd name="T3" fmla="*/ 0 h 113"/>
                    <a:gd name="T4" fmla="*/ 187 w 226"/>
                    <a:gd name="T5" fmla="*/ 4 h 113"/>
                    <a:gd name="T6" fmla="*/ 203 w 226"/>
                    <a:gd name="T7" fmla="*/ 11 h 113"/>
                    <a:gd name="T8" fmla="*/ 216 w 226"/>
                    <a:gd name="T9" fmla="*/ 23 h 113"/>
                    <a:gd name="T10" fmla="*/ 223 w 226"/>
                    <a:gd name="T11" fmla="*/ 39 h 113"/>
                    <a:gd name="T12" fmla="*/ 226 w 226"/>
                    <a:gd name="T13" fmla="*/ 57 h 113"/>
                    <a:gd name="T14" fmla="*/ 223 w 226"/>
                    <a:gd name="T15" fmla="*/ 75 h 113"/>
                    <a:gd name="T16" fmla="*/ 216 w 226"/>
                    <a:gd name="T17" fmla="*/ 90 h 113"/>
                    <a:gd name="T18" fmla="*/ 203 w 226"/>
                    <a:gd name="T19" fmla="*/ 102 h 113"/>
                    <a:gd name="T20" fmla="*/ 187 w 226"/>
                    <a:gd name="T21" fmla="*/ 110 h 113"/>
                    <a:gd name="T22" fmla="*/ 169 w 226"/>
                    <a:gd name="T23" fmla="*/ 113 h 113"/>
                    <a:gd name="T24" fmla="*/ 57 w 226"/>
                    <a:gd name="T25" fmla="*/ 113 h 113"/>
                    <a:gd name="T26" fmla="*/ 39 w 226"/>
                    <a:gd name="T27" fmla="*/ 110 h 113"/>
                    <a:gd name="T28" fmla="*/ 23 w 226"/>
                    <a:gd name="T29" fmla="*/ 102 h 113"/>
                    <a:gd name="T30" fmla="*/ 11 w 226"/>
                    <a:gd name="T31" fmla="*/ 90 h 113"/>
                    <a:gd name="T32" fmla="*/ 2 w 226"/>
                    <a:gd name="T33" fmla="*/ 75 h 113"/>
                    <a:gd name="T34" fmla="*/ 0 w 226"/>
                    <a:gd name="T35" fmla="*/ 57 h 113"/>
                    <a:gd name="T36" fmla="*/ 2 w 226"/>
                    <a:gd name="T37" fmla="*/ 39 h 113"/>
                    <a:gd name="T38" fmla="*/ 11 w 226"/>
                    <a:gd name="T39" fmla="*/ 23 h 113"/>
                    <a:gd name="T40" fmla="*/ 23 w 226"/>
                    <a:gd name="T41" fmla="*/ 11 h 113"/>
                    <a:gd name="T42" fmla="*/ 39 w 226"/>
                    <a:gd name="T43" fmla="*/ 4 h 113"/>
                    <a:gd name="T44" fmla="*/ 57 w 226"/>
                    <a:gd name="T45" fmla="*/ 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26" h="113">
                      <a:moveTo>
                        <a:pt x="57" y="0"/>
                      </a:moveTo>
                      <a:lnTo>
                        <a:pt x="169" y="0"/>
                      </a:lnTo>
                      <a:lnTo>
                        <a:pt x="187" y="4"/>
                      </a:lnTo>
                      <a:lnTo>
                        <a:pt x="203" y="11"/>
                      </a:lnTo>
                      <a:lnTo>
                        <a:pt x="216" y="23"/>
                      </a:lnTo>
                      <a:lnTo>
                        <a:pt x="223" y="39"/>
                      </a:lnTo>
                      <a:lnTo>
                        <a:pt x="226" y="57"/>
                      </a:lnTo>
                      <a:lnTo>
                        <a:pt x="223" y="75"/>
                      </a:lnTo>
                      <a:lnTo>
                        <a:pt x="216" y="90"/>
                      </a:lnTo>
                      <a:lnTo>
                        <a:pt x="203" y="102"/>
                      </a:lnTo>
                      <a:lnTo>
                        <a:pt x="187" y="110"/>
                      </a:lnTo>
                      <a:lnTo>
                        <a:pt x="169" y="113"/>
                      </a:lnTo>
                      <a:lnTo>
                        <a:pt x="57" y="113"/>
                      </a:lnTo>
                      <a:lnTo>
                        <a:pt x="39" y="110"/>
                      </a:lnTo>
                      <a:lnTo>
                        <a:pt x="23" y="102"/>
                      </a:lnTo>
                      <a:lnTo>
                        <a:pt x="11" y="90"/>
                      </a:lnTo>
                      <a:lnTo>
                        <a:pt x="2" y="75"/>
                      </a:lnTo>
                      <a:lnTo>
                        <a:pt x="0" y="57"/>
                      </a:lnTo>
                      <a:lnTo>
                        <a:pt x="2" y="39"/>
                      </a:lnTo>
                      <a:lnTo>
                        <a:pt x="11" y="23"/>
                      </a:lnTo>
                      <a:lnTo>
                        <a:pt x="23" y="11"/>
                      </a:lnTo>
                      <a:lnTo>
                        <a:pt x="39" y="4"/>
                      </a:lnTo>
                      <a:lnTo>
                        <a:pt x="5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" name="Freeform 493"/>
                <p:cNvSpPr>
                  <a:spLocks/>
                </p:cNvSpPr>
                <p:nvPr/>
              </p:nvSpPr>
              <p:spPr bwMode="auto">
                <a:xfrm>
                  <a:off x="5840413" y="5307013"/>
                  <a:ext cx="17463" cy="36512"/>
                </a:xfrm>
                <a:custGeom>
                  <a:avLst/>
                  <a:gdLst>
                    <a:gd name="T0" fmla="*/ 57 w 113"/>
                    <a:gd name="T1" fmla="*/ 0 h 225"/>
                    <a:gd name="T2" fmla="*/ 74 w 113"/>
                    <a:gd name="T3" fmla="*/ 2 h 225"/>
                    <a:gd name="T4" fmla="*/ 90 w 113"/>
                    <a:gd name="T5" fmla="*/ 10 h 225"/>
                    <a:gd name="T6" fmla="*/ 103 w 113"/>
                    <a:gd name="T7" fmla="*/ 23 h 225"/>
                    <a:gd name="T8" fmla="*/ 110 w 113"/>
                    <a:gd name="T9" fmla="*/ 37 h 225"/>
                    <a:gd name="T10" fmla="*/ 113 w 113"/>
                    <a:gd name="T11" fmla="*/ 56 h 225"/>
                    <a:gd name="T12" fmla="*/ 113 w 113"/>
                    <a:gd name="T13" fmla="*/ 168 h 225"/>
                    <a:gd name="T14" fmla="*/ 110 w 113"/>
                    <a:gd name="T15" fmla="*/ 186 h 225"/>
                    <a:gd name="T16" fmla="*/ 103 w 113"/>
                    <a:gd name="T17" fmla="*/ 202 h 225"/>
                    <a:gd name="T18" fmla="*/ 90 w 113"/>
                    <a:gd name="T19" fmla="*/ 214 h 225"/>
                    <a:gd name="T20" fmla="*/ 74 w 113"/>
                    <a:gd name="T21" fmla="*/ 221 h 225"/>
                    <a:gd name="T22" fmla="*/ 57 w 113"/>
                    <a:gd name="T23" fmla="*/ 225 h 225"/>
                    <a:gd name="T24" fmla="*/ 39 w 113"/>
                    <a:gd name="T25" fmla="*/ 221 h 225"/>
                    <a:gd name="T26" fmla="*/ 23 w 113"/>
                    <a:gd name="T27" fmla="*/ 214 h 225"/>
                    <a:gd name="T28" fmla="*/ 11 w 113"/>
                    <a:gd name="T29" fmla="*/ 202 h 225"/>
                    <a:gd name="T30" fmla="*/ 3 w 113"/>
                    <a:gd name="T31" fmla="*/ 186 h 225"/>
                    <a:gd name="T32" fmla="*/ 0 w 113"/>
                    <a:gd name="T33" fmla="*/ 168 h 225"/>
                    <a:gd name="T34" fmla="*/ 0 w 113"/>
                    <a:gd name="T35" fmla="*/ 56 h 225"/>
                    <a:gd name="T36" fmla="*/ 3 w 113"/>
                    <a:gd name="T37" fmla="*/ 37 h 225"/>
                    <a:gd name="T38" fmla="*/ 11 w 113"/>
                    <a:gd name="T39" fmla="*/ 23 h 225"/>
                    <a:gd name="T40" fmla="*/ 23 w 113"/>
                    <a:gd name="T41" fmla="*/ 10 h 225"/>
                    <a:gd name="T42" fmla="*/ 39 w 113"/>
                    <a:gd name="T43" fmla="*/ 2 h 225"/>
                    <a:gd name="T44" fmla="*/ 57 w 113"/>
                    <a:gd name="T45" fmla="*/ 0 h 2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3" h="225">
                      <a:moveTo>
                        <a:pt x="57" y="0"/>
                      </a:moveTo>
                      <a:lnTo>
                        <a:pt x="74" y="2"/>
                      </a:lnTo>
                      <a:lnTo>
                        <a:pt x="90" y="10"/>
                      </a:lnTo>
                      <a:lnTo>
                        <a:pt x="103" y="23"/>
                      </a:lnTo>
                      <a:lnTo>
                        <a:pt x="110" y="37"/>
                      </a:lnTo>
                      <a:lnTo>
                        <a:pt x="113" y="56"/>
                      </a:lnTo>
                      <a:lnTo>
                        <a:pt x="113" y="168"/>
                      </a:lnTo>
                      <a:lnTo>
                        <a:pt x="110" y="186"/>
                      </a:lnTo>
                      <a:lnTo>
                        <a:pt x="103" y="202"/>
                      </a:lnTo>
                      <a:lnTo>
                        <a:pt x="90" y="214"/>
                      </a:lnTo>
                      <a:lnTo>
                        <a:pt x="74" y="221"/>
                      </a:lnTo>
                      <a:lnTo>
                        <a:pt x="57" y="225"/>
                      </a:lnTo>
                      <a:lnTo>
                        <a:pt x="39" y="221"/>
                      </a:lnTo>
                      <a:lnTo>
                        <a:pt x="23" y="214"/>
                      </a:lnTo>
                      <a:lnTo>
                        <a:pt x="11" y="202"/>
                      </a:lnTo>
                      <a:lnTo>
                        <a:pt x="3" y="186"/>
                      </a:lnTo>
                      <a:lnTo>
                        <a:pt x="0" y="168"/>
                      </a:lnTo>
                      <a:lnTo>
                        <a:pt x="0" y="56"/>
                      </a:lnTo>
                      <a:lnTo>
                        <a:pt x="3" y="37"/>
                      </a:lnTo>
                      <a:lnTo>
                        <a:pt x="11" y="23"/>
                      </a:lnTo>
                      <a:lnTo>
                        <a:pt x="23" y="10"/>
                      </a:lnTo>
                      <a:lnTo>
                        <a:pt x="39" y="2"/>
                      </a:lnTo>
                      <a:lnTo>
                        <a:pt x="5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" name="Freeform 494"/>
                <p:cNvSpPr>
                  <a:spLocks/>
                </p:cNvSpPr>
                <p:nvPr/>
              </p:nvSpPr>
              <p:spPr bwMode="auto">
                <a:xfrm>
                  <a:off x="5689600" y="5116513"/>
                  <a:ext cx="31750" cy="28575"/>
                </a:xfrm>
                <a:custGeom>
                  <a:avLst/>
                  <a:gdLst>
                    <a:gd name="T0" fmla="*/ 61 w 206"/>
                    <a:gd name="T1" fmla="*/ 0 h 176"/>
                    <a:gd name="T2" fmla="*/ 75 w 206"/>
                    <a:gd name="T3" fmla="*/ 3 h 176"/>
                    <a:gd name="T4" fmla="*/ 89 w 206"/>
                    <a:gd name="T5" fmla="*/ 9 h 176"/>
                    <a:gd name="T6" fmla="*/ 182 w 206"/>
                    <a:gd name="T7" fmla="*/ 74 h 176"/>
                    <a:gd name="T8" fmla="*/ 193 w 206"/>
                    <a:gd name="T9" fmla="*/ 84 h 176"/>
                    <a:gd name="T10" fmla="*/ 201 w 206"/>
                    <a:gd name="T11" fmla="*/ 97 h 176"/>
                    <a:gd name="T12" fmla="*/ 205 w 206"/>
                    <a:gd name="T13" fmla="*/ 111 h 176"/>
                    <a:gd name="T14" fmla="*/ 206 w 206"/>
                    <a:gd name="T15" fmla="*/ 125 h 176"/>
                    <a:gd name="T16" fmla="*/ 203 w 206"/>
                    <a:gd name="T17" fmla="*/ 140 h 176"/>
                    <a:gd name="T18" fmla="*/ 195 w 206"/>
                    <a:gd name="T19" fmla="*/ 153 h 176"/>
                    <a:gd name="T20" fmla="*/ 186 w 206"/>
                    <a:gd name="T21" fmla="*/ 163 h 176"/>
                    <a:gd name="T22" fmla="*/ 174 w 206"/>
                    <a:gd name="T23" fmla="*/ 171 h 176"/>
                    <a:gd name="T24" fmla="*/ 162 w 206"/>
                    <a:gd name="T25" fmla="*/ 175 h 176"/>
                    <a:gd name="T26" fmla="*/ 149 w 206"/>
                    <a:gd name="T27" fmla="*/ 176 h 176"/>
                    <a:gd name="T28" fmla="*/ 132 w 206"/>
                    <a:gd name="T29" fmla="*/ 174 h 176"/>
                    <a:gd name="T30" fmla="*/ 116 w 206"/>
                    <a:gd name="T31" fmla="*/ 167 h 176"/>
                    <a:gd name="T32" fmla="*/ 24 w 206"/>
                    <a:gd name="T33" fmla="*/ 102 h 176"/>
                    <a:gd name="T34" fmla="*/ 12 w 206"/>
                    <a:gd name="T35" fmla="*/ 92 h 176"/>
                    <a:gd name="T36" fmla="*/ 5 w 206"/>
                    <a:gd name="T37" fmla="*/ 79 h 176"/>
                    <a:gd name="T38" fmla="*/ 1 w 206"/>
                    <a:gd name="T39" fmla="*/ 65 h 176"/>
                    <a:gd name="T40" fmla="*/ 0 w 206"/>
                    <a:gd name="T41" fmla="*/ 51 h 176"/>
                    <a:gd name="T42" fmla="*/ 3 w 206"/>
                    <a:gd name="T43" fmla="*/ 36 h 176"/>
                    <a:gd name="T44" fmla="*/ 10 w 206"/>
                    <a:gd name="T45" fmla="*/ 23 h 176"/>
                    <a:gd name="T46" fmla="*/ 21 w 206"/>
                    <a:gd name="T47" fmla="*/ 12 h 176"/>
                    <a:gd name="T48" fmla="*/ 32 w 206"/>
                    <a:gd name="T49" fmla="*/ 4 h 176"/>
                    <a:gd name="T50" fmla="*/ 47 w 206"/>
                    <a:gd name="T51" fmla="*/ 0 h 176"/>
                    <a:gd name="T52" fmla="*/ 61 w 206"/>
                    <a:gd name="T53" fmla="*/ 0 h 1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06" h="176">
                      <a:moveTo>
                        <a:pt x="61" y="0"/>
                      </a:moveTo>
                      <a:lnTo>
                        <a:pt x="75" y="3"/>
                      </a:lnTo>
                      <a:lnTo>
                        <a:pt x="89" y="9"/>
                      </a:lnTo>
                      <a:lnTo>
                        <a:pt x="182" y="74"/>
                      </a:lnTo>
                      <a:lnTo>
                        <a:pt x="193" y="84"/>
                      </a:lnTo>
                      <a:lnTo>
                        <a:pt x="201" y="97"/>
                      </a:lnTo>
                      <a:lnTo>
                        <a:pt x="205" y="111"/>
                      </a:lnTo>
                      <a:lnTo>
                        <a:pt x="206" y="125"/>
                      </a:lnTo>
                      <a:lnTo>
                        <a:pt x="203" y="140"/>
                      </a:lnTo>
                      <a:lnTo>
                        <a:pt x="195" y="153"/>
                      </a:lnTo>
                      <a:lnTo>
                        <a:pt x="186" y="163"/>
                      </a:lnTo>
                      <a:lnTo>
                        <a:pt x="174" y="171"/>
                      </a:lnTo>
                      <a:lnTo>
                        <a:pt x="162" y="175"/>
                      </a:lnTo>
                      <a:lnTo>
                        <a:pt x="149" y="176"/>
                      </a:lnTo>
                      <a:lnTo>
                        <a:pt x="132" y="174"/>
                      </a:lnTo>
                      <a:lnTo>
                        <a:pt x="116" y="167"/>
                      </a:lnTo>
                      <a:lnTo>
                        <a:pt x="24" y="102"/>
                      </a:lnTo>
                      <a:lnTo>
                        <a:pt x="12" y="92"/>
                      </a:lnTo>
                      <a:lnTo>
                        <a:pt x="5" y="79"/>
                      </a:lnTo>
                      <a:lnTo>
                        <a:pt x="1" y="65"/>
                      </a:lnTo>
                      <a:lnTo>
                        <a:pt x="0" y="51"/>
                      </a:lnTo>
                      <a:lnTo>
                        <a:pt x="3" y="36"/>
                      </a:lnTo>
                      <a:lnTo>
                        <a:pt x="10" y="23"/>
                      </a:lnTo>
                      <a:lnTo>
                        <a:pt x="21" y="12"/>
                      </a:lnTo>
                      <a:lnTo>
                        <a:pt x="32" y="4"/>
                      </a:lnTo>
                      <a:lnTo>
                        <a:pt x="47" y="0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" name="Freeform 495"/>
                <p:cNvSpPr>
                  <a:spLocks/>
                </p:cNvSpPr>
                <p:nvPr/>
              </p:nvSpPr>
              <p:spPr bwMode="auto">
                <a:xfrm>
                  <a:off x="5822950" y="5360988"/>
                  <a:ext cx="34925" cy="31750"/>
                </a:xfrm>
                <a:custGeom>
                  <a:avLst/>
                  <a:gdLst>
                    <a:gd name="T0" fmla="*/ 170 w 226"/>
                    <a:gd name="T1" fmla="*/ 0 h 204"/>
                    <a:gd name="T2" fmla="*/ 187 w 226"/>
                    <a:gd name="T3" fmla="*/ 4 h 204"/>
                    <a:gd name="T4" fmla="*/ 203 w 226"/>
                    <a:gd name="T5" fmla="*/ 11 h 204"/>
                    <a:gd name="T6" fmla="*/ 216 w 226"/>
                    <a:gd name="T7" fmla="*/ 23 h 204"/>
                    <a:gd name="T8" fmla="*/ 223 w 226"/>
                    <a:gd name="T9" fmla="*/ 39 h 204"/>
                    <a:gd name="T10" fmla="*/ 226 w 226"/>
                    <a:gd name="T11" fmla="*/ 57 h 204"/>
                    <a:gd name="T12" fmla="*/ 226 w 226"/>
                    <a:gd name="T13" fmla="*/ 204 h 204"/>
                    <a:gd name="T14" fmla="*/ 57 w 226"/>
                    <a:gd name="T15" fmla="*/ 204 h 204"/>
                    <a:gd name="T16" fmla="*/ 39 w 226"/>
                    <a:gd name="T17" fmla="*/ 201 h 204"/>
                    <a:gd name="T18" fmla="*/ 23 w 226"/>
                    <a:gd name="T19" fmla="*/ 193 h 204"/>
                    <a:gd name="T20" fmla="*/ 11 w 226"/>
                    <a:gd name="T21" fmla="*/ 181 h 204"/>
                    <a:gd name="T22" fmla="*/ 2 w 226"/>
                    <a:gd name="T23" fmla="*/ 166 h 204"/>
                    <a:gd name="T24" fmla="*/ 0 w 226"/>
                    <a:gd name="T25" fmla="*/ 148 h 204"/>
                    <a:gd name="T26" fmla="*/ 2 w 226"/>
                    <a:gd name="T27" fmla="*/ 130 h 204"/>
                    <a:gd name="T28" fmla="*/ 11 w 226"/>
                    <a:gd name="T29" fmla="*/ 114 h 204"/>
                    <a:gd name="T30" fmla="*/ 23 w 226"/>
                    <a:gd name="T31" fmla="*/ 102 h 204"/>
                    <a:gd name="T32" fmla="*/ 39 w 226"/>
                    <a:gd name="T33" fmla="*/ 95 h 204"/>
                    <a:gd name="T34" fmla="*/ 57 w 226"/>
                    <a:gd name="T35" fmla="*/ 91 h 204"/>
                    <a:gd name="T36" fmla="*/ 113 w 226"/>
                    <a:gd name="T37" fmla="*/ 91 h 204"/>
                    <a:gd name="T38" fmla="*/ 113 w 226"/>
                    <a:gd name="T39" fmla="*/ 57 h 204"/>
                    <a:gd name="T40" fmla="*/ 116 w 226"/>
                    <a:gd name="T41" fmla="*/ 39 h 204"/>
                    <a:gd name="T42" fmla="*/ 124 w 226"/>
                    <a:gd name="T43" fmla="*/ 23 h 204"/>
                    <a:gd name="T44" fmla="*/ 136 w 226"/>
                    <a:gd name="T45" fmla="*/ 11 h 204"/>
                    <a:gd name="T46" fmla="*/ 152 w 226"/>
                    <a:gd name="T47" fmla="*/ 4 h 204"/>
                    <a:gd name="T48" fmla="*/ 170 w 226"/>
                    <a:gd name="T49" fmla="*/ 0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226" h="204">
                      <a:moveTo>
                        <a:pt x="170" y="0"/>
                      </a:moveTo>
                      <a:lnTo>
                        <a:pt x="187" y="4"/>
                      </a:lnTo>
                      <a:lnTo>
                        <a:pt x="203" y="11"/>
                      </a:lnTo>
                      <a:lnTo>
                        <a:pt x="216" y="23"/>
                      </a:lnTo>
                      <a:lnTo>
                        <a:pt x="223" y="39"/>
                      </a:lnTo>
                      <a:lnTo>
                        <a:pt x="226" y="57"/>
                      </a:lnTo>
                      <a:lnTo>
                        <a:pt x="226" y="204"/>
                      </a:lnTo>
                      <a:lnTo>
                        <a:pt x="57" y="204"/>
                      </a:lnTo>
                      <a:lnTo>
                        <a:pt x="39" y="201"/>
                      </a:lnTo>
                      <a:lnTo>
                        <a:pt x="23" y="193"/>
                      </a:lnTo>
                      <a:lnTo>
                        <a:pt x="11" y="181"/>
                      </a:lnTo>
                      <a:lnTo>
                        <a:pt x="2" y="166"/>
                      </a:lnTo>
                      <a:lnTo>
                        <a:pt x="0" y="148"/>
                      </a:lnTo>
                      <a:lnTo>
                        <a:pt x="2" y="130"/>
                      </a:lnTo>
                      <a:lnTo>
                        <a:pt x="11" y="114"/>
                      </a:lnTo>
                      <a:lnTo>
                        <a:pt x="23" y="102"/>
                      </a:lnTo>
                      <a:lnTo>
                        <a:pt x="39" y="95"/>
                      </a:lnTo>
                      <a:lnTo>
                        <a:pt x="57" y="91"/>
                      </a:lnTo>
                      <a:lnTo>
                        <a:pt x="113" y="91"/>
                      </a:lnTo>
                      <a:lnTo>
                        <a:pt x="113" y="57"/>
                      </a:lnTo>
                      <a:lnTo>
                        <a:pt x="116" y="39"/>
                      </a:lnTo>
                      <a:lnTo>
                        <a:pt x="124" y="23"/>
                      </a:lnTo>
                      <a:lnTo>
                        <a:pt x="136" y="11"/>
                      </a:lnTo>
                      <a:lnTo>
                        <a:pt x="152" y="4"/>
                      </a:lnTo>
                      <a:lnTo>
                        <a:pt x="17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" name="Freeform 496"/>
                <p:cNvSpPr>
                  <a:spLocks/>
                </p:cNvSpPr>
                <p:nvPr/>
              </p:nvSpPr>
              <p:spPr bwMode="auto">
                <a:xfrm>
                  <a:off x="5553075" y="5375275"/>
                  <a:ext cx="34925" cy="17462"/>
                </a:xfrm>
                <a:custGeom>
                  <a:avLst/>
                  <a:gdLst>
                    <a:gd name="T0" fmla="*/ 57 w 227"/>
                    <a:gd name="T1" fmla="*/ 0 h 113"/>
                    <a:gd name="T2" fmla="*/ 171 w 227"/>
                    <a:gd name="T3" fmla="*/ 0 h 113"/>
                    <a:gd name="T4" fmla="*/ 188 w 227"/>
                    <a:gd name="T5" fmla="*/ 4 h 113"/>
                    <a:gd name="T6" fmla="*/ 204 w 227"/>
                    <a:gd name="T7" fmla="*/ 11 h 113"/>
                    <a:gd name="T8" fmla="*/ 216 w 227"/>
                    <a:gd name="T9" fmla="*/ 23 h 113"/>
                    <a:gd name="T10" fmla="*/ 224 w 227"/>
                    <a:gd name="T11" fmla="*/ 39 h 113"/>
                    <a:gd name="T12" fmla="*/ 227 w 227"/>
                    <a:gd name="T13" fmla="*/ 57 h 113"/>
                    <a:gd name="T14" fmla="*/ 224 w 227"/>
                    <a:gd name="T15" fmla="*/ 75 h 113"/>
                    <a:gd name="T16" fmla="*/ 216 w 227"/>
                    <a:gd name="T17" fmla="*/ 90 h 113"/>
                    <a:gd name="T18" fmla="*/ 204 w 227"/>
                    <a:gd name="T19" fmla="*/ 102 h 113"/>
                    <a:gd name="T20" fmla="*/ 188 w 227"/>
                    <a:gd name="T21" fmla="*/ 110 h 113"/>
                    <a:gd name="T22" fmla="*/ 171 w 227"/>
                    <a:gd name="T23" fmla="*/ 113 h 113"/>
                    <a:gd name="T24" fmla="*/ 57 w 227"/>
                    <a:gd name="T25" fmla="*/ 113 h 113"/>
                    <a:gd name="T26" fmla="*/ 39 w 227"/>
                    <a:gd name="T27" fmla="*/ 110 h 113"/>
                    <a:gd name="T28" fmla="*/ 23 w 227"/>
                    <a:gd name="T29" fmla="*/ 102 h 113"/>
                    <a:gd name="T30" fmla="*/ 12 w 227"/>
                    <a:gd name="T31" fmla="*/ 90 h 113"/>
                    <a:gd name="T32" fmla="*/ 3 w 227"/>
                    <a:gd name="T33" fmla="*/ 75 h 113"/>
                    <a:gd name="T34" fmla="*/ 0 w 227"/>
                    <a:gd name="T35" fmla="*/ 57 h 113"/>
                    <a:gd name="T36" fmla="*/ 3 w 227"/>
                    <a:gd name="T37" fmla="*/ 39 h 113"/>
                    <a:gd name="T38" fmla="*/ 12 w 227"/>
                    <a:gd name="T39" fmla="*/ 23 h 113"/>
                    <a:gd name="T40" fmla="*/ 23 w 227"/>
                    <a:gd name="T41" fmla="*/ 11 h 113"/>
                    <a:gd name="T42" fmla="*/ 39 w 227"/>
                    <a:gd name="T43" fmla="*/ 4 h 113"/>
                    <a:gd name="T44" fmla="*/ 57 w 227"/>
                    <a:gd name="T45" fmla="*/ 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27" h="113">
                      <a:moveTo>
                        <a:pt x="57" y="0"/>
                      </a:moveTo>
                      <a:lnTo>
                        <a:pt x="171" y="0"/>
                      </a:lnTo>
                      <a:lnTo>
                        <a:pt x="188" y="4"/>
                      </a:lnTo>
                      <a:lnTo>
                        <a:pt x="204" y="11"/>
                      </a:lnTo>
                      <a:lnTo>
                        <a:pt x="216" y="23"/>
                      </a:lnTo>
                      <a:lnTo>
                        <a:pt x="224" y="39"/>
                      </a:lnTo>
                      <a:lnTo>
                        <a:pt x="227" y="57"/>
                      </a:lnTo>
                      <a:lnTo>
                        <a:pt x="224" y="75"/>
                      </a:lnTo>
                      <a:lnTo>
                        <a:pt x="216" y="90"/>
                      </a:lnTo>
                      <a:lnTo>
                        <a:pt x="204" y="102"/>
                      </a:lnTo>
                      <a:lnTo>
                        <a:pt x="188" y="110"/>
                      </a:lnTo>
                      <a:lnTo>
                        <a:pt x="171" y="113"/>
                      </a:lnTo>
                      <a:lnTo>
                        <a:pt x="57" y="113"/>
                      </a:lnTo>
                      <a:lnTo>
                        <a:pt x="39" y="110"/>
                      </a:lnTo>
                      <a:lnTo>
                        <a:pt x="23" y="102"/>
                      </a:lnTo>
                      <a:lnTo>
                        <a:pt x="12" y="90"/>
                      </a:lnTo>
                      <a:lnTo>
                        <a:pt x="3" y="75"/>
                      </a:lnTo>
                      <a:lnTo>
                        <a:pt x="0" y="57"/>
                      </a:lnTo>
                      <a:lnTo>
                        <a:pt x="3" y="39"/>
                      </a:lnTo>
                      <a:lnTo>
                        <a:pt x="12" y="23"/>
                      </a:lnTo>
                      <a:lnTo>
                        <a:pt x="23" y="11"/>
                      </a:lnTo>
                      <a:lnTo>
                        <a:pt x="39" y="4"/>
                      </a:lnTo>
                      <a:lnTo>
                        <a:pt x="5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" name="Freeform 497"/>
                <p:cNvSpPr>
                  <a:spLocks/>
                </p:cNvSpPr>
                <p:nvPr/>
              </p:nvSpPr>
              <p:spPr bwMode="auto">
                <a:xfrm>
                  <a:off x="5534025" y="5232400"/>
                  <a:ext cx="19050" cy="34925"/>
                </a:xfrm>
                <a:custGeom>
                  <a:avLst/>
                  <a:gdLst>
                    <a:gd name="T0" fmla="*/ 55 w 112"/>
                    <a:gd name="T1" fmla="*/ 0 h 225"/>
                    <a:gd name="T2" fmla="*/ 73 w 112"/>
                    <a:gd name="T3" fmla="*/ 3 h 225"/>
                    <a:gd name="T4" fmla="*/ 89 w 112"/>
                    <a:gd name="T5" fmla="*/ 11 h 225"/>
                    <a:gd name="T6" fmla="*/ 102 w 112"/>
                    <a:gd name="T7" fmla="*/ 23 h 225"/>
                    <a:gd name="T8" fmla="*/ 110 w 112"/>
                    <a:gd name="T9" fmla="*/ 39 h 225"/>
                    <a:gd name="T10" fmla="*/ 112 w 112"/>
                    <a:gd name="T11" fmla="*/ 57 h 225"/>
                    <a:gd name="T12" fmla="*/ 112 w 112"/>
                    <a:gd name="T13" fmla="*/ 170 h 225"/>
                    <a:gd name="T14" fmla="*/ 110 w 112"/>
                    <a:gd name="T15" fmla="*/ 187 h 225"/>
                    <a:gd name="T16" fmla="*/ 102 w 112"/>
                    <a:gd name="T17" fmla="*/ 202 h 225"/>
                    <a:gd name="T18" fmla="*/ 89 w 112"/>
                    <a:gd name="T19" fmla="*/ 215 h 225"/>
                    <a:gd name="T20" fmla="*/ 73 w 112"/>
                    <a:gd name="T21" fmla="*/ 223 h 225"/>
                    <a:gd name="T22" fmla="*/ 55 w 112"/>
                    <a:gd name="T23" fmla="*/ 225 h 225"/>
                    <a:gd name="T24" fmla="*/ 37 w 112"/>
                    <a:gd name="T25" fmla="*/ 223 h 225"/>
                    <a:gd name="T26" fmla="*/ 23 w 112"/>
                    <a:gd name="T27" fmla="*/ 215 h 225"/>
                    <a:gd name="T28" fmla="*/ 10 w 112"/>
                    <a:gd name="T29" fmla="*/ 202 h 225"/>
                    <a:gd name="T30" fmla="*/ 2 w 112"/>
                    <a:gd name="T31" fmla="*/ 187 h 225"/>
                    <a:gd name="T32" fmla="*/ 0 w 112"/>
                    <a:gd name="T33" fmla="*/ 170 h 225"/>
                    <a:gd name="T34" fmla="*/ 0 w 112"/>
                    <a:gd name="T35" fmla="*/ 57 h 225"/>
                    <a:gd name="T36" fmla="*/ 2 w 112"/>
                    <a:gd name="T37" fmla="*/ 39 h 225"/>
                    <a:gd name="T38" fmla="*/ 10 w 112"/>
                    <a:gd name="T39" fmla="*/ 23 h 225"/>
                    <a:gd name="T40" fmla="*/ 23 w 112"/>
                    <a:gd name="T41" fmla="*/ 11 h 225"/>
                    <a:gd name="T42" fmla="*/ 37 w 112"/>
                    <a:gd name="T43" fmla="*/ 3 h 225"/>
                    <a:gd name="T44" fmla="*/ 55 w 112"/>
                    <a:gd name="T45" fmla="*/ 0 h 2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2" h="225">
                      <a:moveTo>
                        <a:pt x="55" y="0"/>
                      </a:moveTo>
                      <a:lnTo>
                        <a:pt x="73" y="3"/>
                      </a:lnTo>
                      <a:lnTo>
                        <a:pt x="89" y="11"/>
                      </a:lnTo>
                      <a:lnTo>
                        <a:pt x="102" y="23"/>
                      </a:lnTo>
                      <a:lnTo>
                        <a:pt x="110" y="39"/>
                      </a:lnTo>
                      <a:lnTo>
                        <a:pt x="112" y="57"/>
                      </a:lnTo>
                      <a:lnTo>
                        <a:pt x="112" y="170"/>
                      </a:lnTo>
                      <a:lnTo>
                        <a:pt x="110" y="187"/>
                      </a:lnTo>
                      <a:lnTo>
                        <a:pt x="102" y="202"/>
                      </a:lnTo>
                      <a:lnTo>
                        <a:pt x="89" y="215"/>
                      </a:lnTo>
                      <a:lnTo>
                        <a:pt x="73" y="223"/>
                      </a:lnTo>
                      <a:lnTo>
                        <a:pt x="55" y="225"/>
                      </a:lnTo>
                      <a:lnTo>
                        <a:pt x="37" y="223"/>
                      </a:lnTo>
                      <a:lnTo>
                        <a:pt x="23" y="215"/>
                      </a:lnTo>
                      <a:lnTo>
                        <a:pt x="10" y="202"/>
                      </a:lnTo>
                      <a:lnTo>
                        <a:pt x="2" y="187"/>
                      </a:lnTo>
                      <a:lnTo>
                        <a:pt x="0" y="170"/>
                      </a:lnTo>
                      <a:lnTo>
                        <a:pt x="0" y="57"/>
                      </a:lnTo>
                      <a:lnTo>
                        <a:pt x="2" y="39"/>
                      </a:lnTo>
                      <a:lnTo>
                        <a:pt x="10" y="23"/>
                      </a:lnTo>
                      <a:lnTo>
                        <a:pt x="23" y="11"/>
                      </a:lnTo>
                      <a:lnTo>
                        <a:pt x="37" y="3"/>
                      </a:lnTo>
                      <a:lnTo>
                        <a:pt x="55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" name="Freeform 498"/>
                <p:cNvSpPr>
                  <a:spLocks/>
                </p:cNvSpPr>
                <p:nvPr/>
              </p:nvSpPr>
              <p:spPr bwMode="auto">
                <a:xfrm>
                  <a:off x="5556250" y="5197475"/>
                  <a:ext cx="33338" cy="28575"/>
                </a:xfrm>
                <a:custGeom>
                  <a:avLst/>
                  <a:gdLst>
                    <a:gd name="T0" fmla="*/ 145 w 206"/>
                    <a:gd name="T1" fmla="*/ 0 h 177"/>
                    <a:gd name="T2" fmla="*/ 159 w 206"/>
                    <a:gd name="T3" fmla="*/ 0 h 177"/>
                    <a:gd name="T4" fmla="*/ 173 w 206"/>
                    <a:gd name="T5" fmla="*/ 4 h 177"/>
                    <a:gd name="T6" fmla="*/ 186 w 206"/>
                    <a:gd name="T7" fmla="*/ 12 h 177"/>
                    <a:gd name="T8" fmla="*/ 195 w 206"/>
                    <a:gd name="T9" fmla="*/ 23 h 177"/>
                    <a:gd name="T10" fmla="*/ 202 w 206"/>
                    <a:gd name="T11" fmla="*/ 36 h 177"/>
                    <a:gd name="T12" fmla="*/ 206 w 206"/>
                    <a:gd name="T13" fmla="*/ 51 h 177"/>
                    <a:gd name="T14" fmla="*/ 206 w 206"/>
                    <a:gd name="T15" fmla="*/ 66 h 177"/>
                    <a:gd name="T16" fmla="*/ 201 w 206"/>
                    <a:gd name="T17" fmla="*/ 79 h 177"/>
                    <a:gd name="T18" fmla="*/ 193 w 206"/>
                    <a:gd name="T19" fmla="*/ 92 h 177"/>
                    <a:gd name="T20" fmla="*/ 182 w 206"/>
                    <a:gd name="T21" fmla="*/ 102 h 177"/>
                    <a:gd name="T22" fmla="*/ 90 w 206"/>
                    <a:gd name="T23" fmla="*/ 167 h 177"/>
                    <a:gd name="T24" fmla="*/ 74 w 206"/>
                    <a:gd name="T25" fmla="*/ 174 h 177"/>
                    <a:gd name="T26" fmla="*/ 57 w 206"/>
                    <a:gd name="T27" fmla="*/ 177 h 177"/>
                    <a:gd name="T28" fmla="*/ 44 w 206"/>
                    <a:gd name="T29" fmla="*/ 175 h 177"/>
                    <a:gd name="T30" fmla="*/ 31 w 206"/>
                    <a:gd name="T31" fmla="*/ 171 h 177"/>
                    <a:gd name="T32" fmla="*/ 19 w 206"/>
                    <a:gd name="T33" fmla="*/ 164 h 177"/>
                    <a:gd name="T34" fmla="*/ 10 w 206"/>
                    <a:gd name="T35" fmla="*/ 153 h 177"/>
                    <a:gd name="T36" fmla="*/ 4 w 206"/>
                    <a:gd name="T37" fmla="*/ 140 h 177"/>
                    <a:gd name="T38" fmla="*/ 0 w 206"/>
                    <a:gd name="T39" fmla="*/ 125 h 177"/>
                    <a:gd name="T40" fmla="*/ 0 w 206"/>
                    <a:gd name="T41" fmla="*/ 112 h 177"/>
                    <a:gd name="T42" fmla="*/ 5 w 206"/>
                    <a:gd name="T43" fmla="*/ 97 h 177"/>
                    <a:gd name="T44" fmla="*/ 13 w 206"/>
                    <a:gd name="T45" fmla="*/ 84 h 177"/>
                    <a:gd name="T46" fmla="*/ 24 w 206"/>
                    <a:gd name="T47" fmla="*/ 75 h 177"/>
                    <a:gd name="T48" fmla="*/ 117 w 206"/>
                    <a:gd name="T49" fmla="*/ 9 h 177"/>
                    <a:gd name="T50" fmla="*/ 130 w 206"/>
                    <a:gd name="T51" fmla="*/ 3 h 177"/>
                    <a:gd name="T52" fmla="*/ 145 w 206"/>
                    <a:gd name="T53" fmla="*/ 0 h 1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06" h="177">
                      <a:moveTo>
                        <a:pt x="145" y="0"/>
                      </a:moveTo>
                      <a:lnTo>
                        <a:pt x="159" y="0"/>
                      </a:lnTo>
                      <a:lnTo>
                        <a:pt x="173" y="4"/>
                      </a:lnTo>
                      <a:lnTo>
                        <a:pt x="186" y="12"/>
                      </a:lnTo>
                      <a:lnTo>
                        <a:pt x="195" y="23"/>
                      </a:lnTo>
                      <a:lnTo>
                        <a:pt x="202" y="36"/>
                      </a:lnTo>
                      <a:lnTo>
                        <a:pt x="206" y="51"/>
                      </a:lnTo>
                      <a:lnTo>
                        <a:pt x="206" y="66"/>
                      </a:lnTo>
                      <a:lnTo>
                        <a:pt x="201" y="79"/>
                      </a:lnTo>
                      <a:lnTo>
                        <a:pt x="193" y="92"/>
                      </a:lnTo>
                      <a:lnTo>
                        <a:pt x="182" y="102"/>
                      </a:lnTo>
                      <a:lnTo>
                        <a:pt x="90" y="167"/>
                      </a:lnTo>
                      <a:lnTo>
                        <a:pt x="74" y="174"/>
                      </a:lnTo>
                      <a:lnTo>
                        <a:pt x="57" y="177"/>
                      </a:lnTo>
                      <a:lnTo>
                        <a:pt x="44" y="175"/>
                      </a:lnTo>
                      <a:lnTo>
                        <a:pt x="31" y="171"/>
                      </a:lnTo>
                      <a:lnTo>
                        <a:pt x="19" y="164"/>
                      </a:lnTo>
                      <a:lnTo>
                        <a:pt x="10" y="153"/>
                      </a:lnTo>
                      <a:lnTo>
                        <a:pt x="4" y="140"/>
                      </a:lnTo>
                      <a:lnTo>
                        <a:pt x="0" y="125"/>
                      </a:lnTo>
                      <a:lnTo>
                        <a:pt x="0" y="112"/>
                      </a:lnTo>
                      <a:lnTo>
                        <a:pt x="5" y="97"/>
                      </a:lnTo>
                      <a:lnTo>
                        <a:pt x="13" y="84"/>
                      </a:lnTo>
                      <a:lnTo>
                        <a:pt x="24" y="75"/>
                      </a:lnTo>
                      <a:lnTo>
                        <a:pt x="117" y="9"/>
                      </a:lnTo>
                      <a:lnTo>
                        <a:pt x="130" y="3"/>
                      </a:lnTo>
                      <a:lnTo>
                        <a:pt x="145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4" name="Freeform 499"/>
                <p:cNvSpPr>
                  <a:spLocks/>
                </p:cNvSpPr>
                <p:nvPr/>
              </p:nvSpPr>
              <p:spPr bwMode="auto">
                <a:xfrm>
                  <a:off x="5600700" y="5167313"/>
                  <a:ext cx="33338" cy="26987"/>
                </a:xfrm>
                <a:custGeom>
                  <a:avLst/>
                  <a:gdLst>
                    <a:gd name="T0" fmla="*/ 144 w 205"/>
                    <a:gd name="T1" fmla="*/ 0 h 177"/>
                    <a:gd name="T2" fmla="*/ 159 w 205"/>
                    <a:gd name="T3" fmla="*/ 0 h 177"/>
                    <a:gd name="T4" fmla="*/ 173 w 205"/>
                    <a:gd name="T5" fmla="*/ 4 h 177"/>
                    <a:gd name="T6" fmla="*/ 185 w 205"/>
                    <a:gd name="T7" fmla="*/ 13 h 177"/>
                    <a:gd name="T8" fmla="*/ 196 w 205"/>
                    <a:gd name="T9" fmla="*/ 23 h 177"/>
                    <a:gd name="T10" fmla="*/ 202 w 205"/>
                    <a:gd name="T11" fmla="*/ 37 h 177"/>
                    <a:gd name="T12" fmla="*/ 205 w 205"/>
                    <a:gd name="T13" fmla="*/ 50 h 177"/>
                    <a:gd name="T14" fmla="*/ 205 w 205"/>
                    <a:gd name="T15" fmla="*/ 65 h 177"/>
                    <a:gd name="T16" fmla="*/ 201 w 205"/>
                    <a:gd name="T17" fmla="*/ 79 h 177"/>
                    <a:gd name="T18" fmla="*/ 193 w 205"/>
                    <a:gd name="T19" fmla="*/ 91 h 177"/>
                    <a:gd name="T20" fmla="*/ 182 w 205"/>
                    <a:gd name="T21" fmla="*/ 102 h 177"/>
                    <a:gd name="T22" fmla="*/ 90 w 205"/>
                    <a:gd name="T23" fmla="*/ 167 h 177"/>
                    <a:gd name="T24" fmla="*/ 74 w 205"/>
                    <a:gd name="T25" fmla="*/ 175 h 177"/>
                    <a:gd name="T26" fmla="*/ 57 w 205"/>
                    <a:gd name="T27" fmla="*/ 177 h 177"/>
                    <a:gd name="T28" fmla="*/ 43 w 205"/>
                    <a:gd name="T29" fmla="*/ 176 h 177"/>
                    <a:gd name="T30" fmla="*/ 31 w 205"/>
                    <a:gd name="T31" fmla="*/ 171 h 177"/>
                    <a:gd name="T32" fmla="*/ 20 w 205"/>
                    <a:gd name="T33" fmla="*/ 163 h 177"/>
                    <a:gd name="T34" fmla="*/ 11 w 205"/>
                    <a:gd name="T35" fmla="*/ 153 h 177"/>
                    <a:gd name="T36" fmla="*/ 3 w 205"/>
                    <a:gd name="T37" fmla="*/ 140 h 177"/>
                    <a:gd name="T38" fmla="*/ 0 w 205"/>
                    <a:gd name="T39" fmla="*/ 126 h 177"/>
                    <a:gd name="T40" fmla="*/ 0 w 205"/>
                    <a:gd name="T41" fmla="*/ 111 h 177"/>
                    <a:gd name="T42" fmla="*/ 5 w 205"/>
                    <a:gd name="T43" fmla="*/ 98 h 177"/>
                    <a:gd name="T44" fmla="*/ 13 w 205"/>
                    <a:gd name="T45" fmla="*/ 85 h 177"/>
                    <a:gd name="T46" fmla="*/ 23 w 205"/>
                    <a:gd name="T47" fmla="*/ 75 h 177"/>
                    <a:gd name="T48" fmla="*/ 117 w 205"/>
                    <a:gd name="T49" fmla="*/ 10 h 177"/>
                    <a:gd name="T50" fmla="*/ 130 w 205"/>
                    <a:gd name="T51" fmla="*/ 3 h 177"/>
                    <a:gd name="T52" fmla="*/ 144 w 205"/>
                    <a:gd name="T53" fmla="*/ 0 h 1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05" h="177">
                      <a:moveTo>
                        <a:pt x="144" y="0"/>
                      </a:moveTo>
                      <a:lnTo>
                        <a:pt x="159" y="0"/>
                      </a:lnTo>
                      <a:lnTo>
                        <a:pt x="173" y="4"/>
                      </a:lnTo>
                      <a:lnTo>
                        <a:pt x="185" y="13"/>
                      </a:lnTo>
                      <a:lnTo>
                        <a:pt x="196" y="23"/>
                      </a:lnTo>
                      <a:lnTo>
                        <a:pt x="202" y="37"/>
                      </a:lnTo>
                      <a:lnTo>
                        <a:pt x="205" y="50"/>
                      </a:lnTo>
                      <a:lnTo>
                        <a:pt x="205" y="65"/>
                      </a:lnTo>
                      <a:lnTo>
                        <a:pt x="201" y="79"/>
                      </a:lnTo>
                      <a:lnTo>
                        <a:pt x="193" y="91"/>
                      </a:lnTo>
                      <a:lnTo>
                        <a:pt x="182" y="102"/>
                      </a:lnTo>
                      <a:lnTo>
                        <a:pt x="90" y="167"/>
                      </a:lnTo>
                      <a:lnTo>
                        <a:pt x="74" y="175"/>
                      </a:lnTo>
                      <a:lnTo>
                        <a:pt x="57" y="177"/>
                      </a:lnTo>
                      <a:lnTo>
                        <a:pt x="43" y="176"/>
                      </a:lnTo>
                      <a:lnTo>
                        <a:pt x="31" y="171"/>
                      </a:lnTo>
                      <a:lnTo>
                        <a:pt x="20" y="163"/>
                      </a:lnTo>
                      <a:lnTo>
                        <a:pt x="11" y="153"/>
                      </a:lnTo>
                      <a:lnTo>
                        <a:pt x="3" y="140"/>
                      </a:lnTo>
                      <a:lnTo>
                        <a:pt x="0" y="126"/>
                      </a:lnTo>
                      <a:lnTo>
                        <a:pt x="0" y="111"/>
                      </a:lnTo>
                      <a:lnTo>
                        <a:pt x="5" y="98"/>
                      </a:lnTo>
                      <a:lnTo>
                        <a:pt x="13" y="85"/>
                      </a:lnTo>
                      <a:lnTo>
                        <a:pt x="23" y="75"/>
                      </a:lnTo>
                      <a:lnTo>
                        <a:pt x="117" y="10"/>
                      </a:lnTo>
                      <a:lnTo>
                        <a:pt x="130" y="3"/>
                      </a:lnTo>
                      <a:lnTo>
                        <a:pt x="144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5" name="Freeform 500"/>
                <p:cNvSpPr>
                  <a:spLocks/>
                </p:cNvSpPr>
                <p:nvPr/>
              </p:nvSpPr>
              <p:spPr bwMode="auto">
                <a:xfrm>
                  <a:off x="5534025" y="5286375"/>
                  <a:ext cx="19050" cy="34925"/>
                </a:xfrm>
                <a:custGeom>
                  <a:avLst/>
                  <a:gdLst>
                    <a:gd name="T0" fmla="*/ 55 w 112"/>
                    <a:gd name="T1" fmla="*/ 0 h 226"/>
                    <a:gd name="T2" fmla="*/ 73 w 112"/>
                    <a:gd name="T3" fmla="*/ 3 h 226"/>
                    <a:gd name="T4" fmla="*/ 89 w 112"/>
                    <a:gd name="T5" fmla="*/ 11 h 226"/>
                    <a:gd name="T6" fmla="*/ 102 w 112"/>
                    <a:gd name="T7" fmla="*/ 23 h 226"/>
                    <a:gd name="T8" fmla="*/ 110 w 112"/>
                    <a:gd name="T9" fmla="*/ 39 h 226"/>
                    <a:gd name="T10" fmla="*/ 112 w 112"/>
                    <a:gd name="T11" fmla="*/ 56 h 226"/>
                    <a:gd name="T12" fmla="*/ 112 w 112"/>
                    <a:gd name="T13" fmla="*/ 169 h 226"/>
                    <a:gd name="T14" fmla="*/ 110 w 112"/>
                    <a:gd name="T15" fmla="*/ 187 h 226"/>
                    <a:gd name="T16" fmla="*/ 102 w 112"/>
                    <a:gd name="T17" fmla="*/ 203 h 226"/>
                    <a:gd name="T18" fmla="*/ 89 w 112"/>
                    <a:gd name="T19" fmla="*/ 214 h 226"/>
                    <a:gd name="T20" fmla="*/ 73 w 112"/>
                    <a:gd name="T21" fmla="*/ 223 h 226"/>
                    <a:gd name="T22" fmla="*/ 55 w 112"/>
                    <a:gd name="T23" fmla="*/ 226 h 226"/>
                    <a:gd name="T24" fmla="*/ 37 w 112"/>
                    <a:gd name="T25" fmla="*/ 223 h 226"/>
                    <a:gd name="T26" fmla="*/ 23 w 112"/>
                    <a:gd name="T27" fmla="*/ 214 h 226"/>
                    <a:gd name="T28" fmla="*/ 10 w 112"/>
                    <a:gd name="T29" fmla="*/ 203 h 226"/>
                    <a:gd name="T30" fmla="*/ 2 w 112"/>
                    <a:gd name="T31" fmla="*/ 187 h 226"/>
                    <a:gd name="T32" fmla="*/ 0 w 112"/>
                    <a:gd name="T33" fmla="*/ 169 h 226"/>
                    <a:gd name="T34" fmla="*/ 0 w 112"/>
                    <a:gd name="T35" fmla="*/ 56 h 226"/>
                    <a:gd name="T36" fmla="*/ 2 w 112"/>
                    <a:gd name="T37" fmla="*/ 39 h 226"/>
                    <a:gd name="T38" fmla="*/ 10 w 112"/>
                    <a:gd name="T39" fmla="*/ 23 h 226"/>
                    <a:gd name="T40" fmla="*/ 23 w 112"/>
                    <a:gd name="T41" fmla="*/ 11 h 226"/>
                    <a:gd name="T42" fmla="*/ 37 w 112"/>
                    <a:gd name="T43" fmla="*/ 3 h 226"/>
                    <a:gd name="T44" fmla="*/ 55 w 112"/>
                    <a:gd name="T45" fmla="*/ 0 h 2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2" h="226">
                      <a:moveTo>
                        <a:pt x="55" y="0"/>
                      </a:moveTo>
                      <a:lnTo>
                        <a:pt x="73" y="3"/>
                      </a:lnTo>
                      <a:lnTo>
                        <a:pt x="89" y="11"/>
                      </a:lnTo>
                      <a:lnTo>
                        <a:pt x="102" y="23"/>
                      </a:lnTo>
                      <a:lnTo>
                        <a:pt x="110" y="39"/>
                      </a:lnTo>
                      <a:lnTo>
                        <a:pt x="112" y="56"/>
                      </a:lnTo>
                      <a:lnTo>
                        <a:pt x="112" y="169"/>
                      </a:lnTo>
                      <a:lnTo>
                        <a:pt x="110" y="187"/>
                      </a:lnTo>
                      <a:lnTo>
                        <a:pt x="102" y="203"/>
                      </a:lnTo>
                      <a:lnTo>
                        <a:pt x="89" y="214"/>
                      </a:lnTo>
                      <a:lnTo>
                        <a:pt x="73" y="223"/>
                      </a:lnTo>
                      <a:lnTo>
                        <a:pt x="55" y="226"/>
                      </a:lnTo>
                      <a:lnTo>
                        <a:pt x="37" y="223"/>
                      </a:lnTo>
                      <a:lnTo>
                        <a:pt x="23" y="214"/>
                      </a:lnTo>
                      <a:lnTo>
                        <a:pt x="10" y="203"/>
                      </a:lnTo>
                      <a:lnTo>
                        <a:pt x="2" y="187"/>
                      </a:lnTo>
                      <a:lnTo>
                        <a:pt x="0" y="169"/>
                      </a:lnTo>
                      <a:lnTo>
                        <a:pt x="0" y="56"/>
                      </a:lnTo>
                      <a:lnTo>
                        <a:pt x="2" y="39"/>
                      </a:lnTo>
                      <a:lnTo>
                        <a:pt x="10" y="23"/>
                      </a:lnTo>
                      <a:lnTo>
                        <a:pt x="23" y="11"/>
                      </a:lnTo>
                      <a:lnTo>
                        <a:pt x="37" y="3"/>
                      </a:lnTo>
                      <a:lnTo>
                        <a:pt x="55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6" name="Freeform 501"/>
                <p:cNvSpPr>
                  <a:spLocks/>
                </p:cNvSpPr>
                <p:nvPr/>
              </p:nvSpPr>
              <p:spPr bwMode="auto">
                <a:xfrm>
                  <a:off x="5645150" y="5135563"/>
                  <a:ext cx="31750" cy="28575"/>
                </a:xfrm>
                <a:custGeom>
                  <a:avLst/>
                  <a:gdLst>
                    <a:gd name="T0" fmla="*/ 144 w 205"/>
                    <a:gd name="T1" fmla="*/ 0 h 178"/>
                    <a:gd name="T2" fmla="*/ 159 w 205"/>
                    <a:gd name="T3" fmla="*/ 1 h 178"/>
                    <a:gd name="T4" fmla="*/ 172 w 205"/>
                    <a:gd name="T5" fmla="*/ 5 h 178"/>
                    <a:gd name="T6" fmla="*/ 185 w 205"/>
                    <a:gd name="T7" fmla="*/ 12 h 178"/>
                    <a:gd name="T8" fmla="*/ 196 w 205"/>
                    <a:gd name="T9" fmla="*/ 24 h 178"/>
                    <a:gd name="T10" fmla="*/ 202 w 205"/>
                    <a:gd name="T11" fmla="*/ 36 h 178"/>
                    <a:gd name="T12" fmla="*/ 205 w 205"/>
                    <a:gd name="T13" fmla="*/ 51 h 178"/>
                    <a:gd name="T14" fmla="*/ 205 w 205"/>
                    <a:gd name="T15" fmla="*/ 66 h 178"/>
                    <a:gd name="T16" fmla="*/ 201 w 205"/>
                    <a:gd name="T17" fmla="*/ 79 h 178"/>
                    <a:gd name="T18" fmla="*/ 192 w 205"/>
                    <a:gd name="T19" fmla="*/ 92 h 178"/>
                    <a:gd name="T20" fmla="*/ 182 w 205"/>
                    <a:gd name="T21" fmla="*/ 102 h 178"/>
                    <a:gd name="T22" fmla="*/ 89 w 205"/>
                    <a:gd name="T23" fmla="*/ 167 h 178"/>
                    <a:gd name="T24" fmla="*/ 74 w 205"/>
                    <a:gd name="T25" fmla="*/ 174 h 178"/>
                    <a:gd name="T26" fmla="*/ 57 w 205"/>
                    <a:gd name="T27" fmla="*/ 178 h 178"/>
                    <a:gd name="T28" fmla="*/ 43 w 205"/>
                    <a:gd name="T29" fmla="*/ 175 h 178"/>
                    <a:gd name="T30" fmla="*/ 30 w 205"/>
                    <a:gd name="T31" fmla="*/ 171 h 178"/>
                    <a:gd name="T32" fmla="*/ 20 w 205"/>
                    <a:gd name="T33" fmla="*/ 164 h 178"/>
                    <a:gd name="T34" fmla="*/ 10 w 205"/>
                    <a:gd name="T35" fmla="*/ 153 h 178"/>
                    <a:gd name="T36" fmla="*/ 3 w 205"/>
                    <a:gd name="T37" fmla="*/ 140 h 178"/>
                    <a:gd name="T38" fmla="*/ 0 w 205"/>
                    <a:gd name="T39" fmla="*/ 125 h 178"/>
                    <a:gd name="T40" fmla="*/ 1 w 205"/>
                    <a:gd name="T41" fmla="*/ 112 h 178"/>
                    <a:gd name="T42" fmla="*/ 5 w 205"/>
                    <a:gd name="T43" fmla="*/ 97 h 178"/>
                    <a:gd name="T44" fmla="*/ 13 w 205"/>
                    <a:gd name="T45" fmla="*/ 86 h 178"/>
                    <a:gd name="T46" fmla="*/ 24 w 205"/>
                    <a:gd name="T47" fmla="*/ 75 h 178"/>
                    <a:gd name="T48" fmla="*/ 117 w 205"/>
                    <a:gd name="T49" fmla="*/ 10 h 178"/>
                    <a:gd name="T50" fmla="*/ 129 w 205"/>
                    <a:gd name="T51" fmla="*/ 3 h 178"/>
                    <a:gd name="T52" fmla="*/ 144 w 205"/>
                    <a:gd name="T53" fmla="*/ 0 h 1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05" h="178">
                      <a:moveTo>
                        <a:pt x="144" y="0"/>
                      </a:moveTo>
                      <a:lnTo>
                        <a:pt x="159" y="1"/>
                      </a:lnTo>
                      <a:lnTo>
                        <a:pt x="172" y="5"/>
                      </a:lnTo>
                      <a:lnTo>
                        <a:pt x="185" y="12"/>
                      </a:lnTo>
                      <a:lnTo>
                        <a:pt x="196" y="24"/>
                      </a:lnTo>
                      <a:lnTo>
                        <a:pt x="202" y="36"/>
                      </a:lnTo>
                      <a:lnTo>
                        <a:pt x="205" y="51"/>
                      </a:lnTo>
                      <a:lnTo>
                        <a:pt x="205" y="66"/>
                      </a:lnTo>
                      <a:lnTo>
                        <a:pt x="201" y="79"/>
                      </a:lnTo>
                      <a:lnTo>
                        <a:pt x="192" y="92"/>
                      </a:lnTo>
                      <a:lnTo>
                        <a:pt x="182" y="102"/>
                      </a:lnTo>
                      <a:lnTo>
                        <a:pt x="89" y="167"/>
                      </a:lnTo>
                      <a:lnTo>
                        <a:pt x="74" y="174"/>
                      </a:lnTo>
                      <a:lnTo>
                        <a:pt x="57" y="178"/>
                      </a:lnTo>
                      <a:lnTo>
                        <a:pt x="43" y="175"/>
                      </a:lnTo>
                      <a:lnTo>
                        <a:pt x="30" y="171"/>
                      </a:lnTo>
                      <a:lnTo>
                        <a:pt x="20" y="164"/>
                      </a:lnTo>
                      <a:lnTo>
                        <a:pt x="10" y="153"/>
                      </a:lnTo>
                      <a:lnTo>
                        <a:pt x="3" y="140"/>
                      </a:lnTo>
                      <a:lnTo>
                        <a:pt x="0" y="125"/>
                      </a:lnTo>
                      <a:lnTo>
                        <a:pt x="1" y="112"/>
                      </a:lnTo>
                      <a:lnTo>
                        <a:pt x="5" y="97"/>
                      </a:lnTo>
                      <a:lnTo>
                        <a:pt x="13" y="86"/>
                      </a:lnTo>
                      <a:lnTo>
                        <a:pt x="24" y="75"/>
                      </a:lnTo>
                      <a:lnTo>
                        <a:pt x="117" y="10"/>
                      </a:lnTo>
                      <a:lnTo>
                        <a:pt x="129" y="3"/>
                      </a:lnTo>
                      <a:lnTo>
                        <a:pt x="144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7" name="Freeform 502"/>
                <p:cNvSpPr>
                  <a:spLocks/>
                </p:cNvSpPr>
                <p:nvPr/>
              </p:nvSpPr>
              <p:spPr bwMode="auto">
                <a:xfrm>
                  <a:off x="5661025" y="5375275"/>
                  <a:ext cx="34925" cy="17462"/>
                </a:xfrm>
                <a:custGeom>
                  <a:avLst/>
                  <a:gdLst>
                    <a:gd name="T0" fmla="*/ 57 w 226"/>
                    <a:gd name="T1" fmla="*/ 0 h 113"/>
                    <a:gd name="T2" fmla="*/ 169 w 226"/>
                    <a:gd name="T3" fmla="*/ 0 h 113"/>
                    <a:gd name="T4" fmla="*/ 187 w 226"/>
                    <a:gd name="T5" fmla="*/ 4 h 113"/>
                    <a:gd name="T6" fmla="*/ 203 w 226"/>
                    <a:gd name="T7" fmla="*/ 11 h 113"/>
                    <a:gd name="T8" fmla="*/ 215 w 226"/>
                    <a:gd name="T9" fmla="*/ 23 h 113"/>
                    <a:gd name="T10" fmla="*/ 224 w 226"/>
                    <a:gd name="T11" fmla="*/ 39 h 113"/>
                    <a:gd name="T12" fmla="*/ 226 w 226"/>
                    <a:gd name="T13" fmla="*/ 57 h 113"/>
                    <a:gd name="T14" fmla="*/ 224 w 226"/>
                    <a:gd name="T15" fmla="*/ 75 h 113"/>
                    <a:gd name="T16" fmla="*/ 215 w 226"/>
                    <a:gd name="T17" fmla="*/ 90 h 113"/>
                    <a:gd name="T18" fmla="*/ 203 w 226"/>
                    <a:gd name="T19" fmla="*/ 102 h 113"/>
                    <a:gd name="T20" fmla="*/ 187 w 226"/>
                    <a:gd name="T21" fmla="*/ 110 h 113"/>
                    <a:gd name="T22" fmla="*/ 169 w 226"/>
                    <a:gd name="T23" fmla="*/ 113 h 113"/>
                    <a:gd name="T24" fmla="*/ 57 w 226"/>
                    <a:gd name="T25" fmla="*/ 113 h 113"/>
                    <a:gd name="T26" fmla="*/ 39 w 226"/>
                    <a:gd name="T27" fmla="*/ 110 h 113"/>
                    <a:gd name="T28" fmla="*/ 23 w 226"/>
                    <a:gd name="T29" fmla="*/ 102 h 113"/>
                    <a:gd name="T30" fmla="*/ 10 w 226"/>
                    <a:gd name="T31" fmla="*/ 90 h 113"/>
                    <a:gd name="T32" fmla="*/ 3 w 226"/>
                    <a:gd name="T33" fmla="*/ 75 h 113"/>
                    <a:gd name="T34" fmla="*/ 0 w 226"/>
                    <a:gd name="T35" fmla="*/ 57 h 113"/>
                    <a:gd name="T36" fmla="*/ 3 w 226"/>
                    <a:gd name="T37" fmla="*/ 39 h 113"/>
                    <a:gd name="T38" fmla="*/ 10 w 226"/>
                    <a:gd name="T39" fmla="*/ 23 h 113"/>
                    <a:gd name="T40" fmla="*/ 23 w 226"/>
                    <a:gd name="T41" fmla="*/ 11 h 113"/>
                    <a:gd name="T42" fmla="*/ 39 w 226"/>
                    <a:gd name="T43" fmla="*/ 4 h 113"/>
                    <a:gd name="T44" fmla="*/ 57 w 226"/>
                    <a:gd name="T45" fmla="*/ 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26" h="113">
                      <a:moveTo>
                        <a:pt x="57" y="0"/>
                      </a:moveTo>
                      <a:lnTo>
                        <a:pt x="169" y="0"/>
                      </a:lnTo>
                      <a:lnTo>
                        <a:pt x="187" y="4"/>
                      </a:lnTo>
                      <a:lnTo>
                        <a:pt x="203" y="11"/>
                      </a:lnTo>
                      <a:lnTo>
                        <a:pt x="215" y="23"/>
                      </a:lnTo>
                      <a:lnTo>
                        <a:pt x="224" y="39"/>
                      </a:lnTo>
                      <a:lnTo>
                        <a:pt x="226" y="57"/>
                      </a:lnTo>
                      <a:lnTo>
                        <a:pt x="224" y="75"/>
                      </a:lnTo>
                      <a:lnTo>
                        <a:pt x="215" y="90"/>
                      </a:lnTo>
                      <a:lnTo>
                        <a:pt x="203" y="102"/>
                      </a:lnTo>
                      <a:lnTo>
                        <a:pt x="187" y="110"/>
                      </a:lnTo>
                      <a:lnTo>
                        <a:pt x="169" y="113"/>
                      </a:lnTo>
                      <a:lnTo>
                        <a:pt x="57" y="113"/>
                      </a:lnTo>
                      <a:lnTo>
                        <a:pt x="39" y="110"/>
                      </a:lnTo>
                      <a:lnTo>
                        <a:pt x="23" y="102"/>
                      </a:lnTo>
                      <a:lnTo>
                        <a:pt x="10" y="90"/>
                      </a:lnTo>
                      <a:lnTo>
                        <a:pt x="3" y="75"/>
                      </a:lnTo>
                      <a:lnTo>
                        <a:pt x="0" y="57"/>
                      </a:lnTo>
                      <a:lnTo>
                        <a:pt x="3" y="39"/>
                      </a:lnTo>
                      <a:lnTo>
                        <a:pt x="10" y="23"/>
                      </a:lnTo>
                      <a:lnTo>
                        <a:pt x="23" y="11"/>
                      </a:lnTo>
                      <a:lnTo>
                        <a:pt x="39" y="4"/>
                      </a:lnTo>
                      <a:lnTo>
                        <a:pt x="5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8" name="Freeform 503"/>
                <p:cNvSpPr>
                  <a:spLocks/>
                </p:cNvSpPr>
                <p:nvPr/>
              </p:nvSpPr>
              <p:spPr bwMode="auto">
                <a:xfrm>
                  <a:off x="5534025" y="5338763"/>
                  <a:ext cx="19050" cy="36512"/>
                </a:xfrm>
                <a:custGeom>
                  <a:avLst/>
                  <a:gdLst>
                    <a:gd name="T0" fmla="*/ 55 w 112"/>
                    <a:gd name="T1" fmla="*/ 0 h 224"/>
                    <a:gd name="T2" fmla="*/ 73 w 112"/>
                    <a:gd name="T3" fmla="*/ 2 h 224"/>
                    <a:gd name="T4" fmla="*/ 89 w 112"/>
                    <a:gd name="T5" fmla="*/ 10 h 224"/>
                    <a:gd name="T6" fmla="*/ 102 w 112"/>
                    <a:gd name="T7" fmla="*/ 23 h 224"/>
                    <a:gd name="T8" fmla="*/ 110 w 112"/>
                    <a:gd name="T9" fmla="*/ 37 h 224"/>
                    <a:gd name="T10" fmla="*/ 112 w 112"/>
                    <a:gd name="T11" fmla="*/ 55 h 224"/>
                    <a:gd name="T12" fmla="*/ 112 w 112"/>
                    <a:gd name="T13" fmla="*/ 168 h 224"/>
                    <a:gd name="T14" fmla="*/ 110 w 112"/>
                    <a:gd name="T15" fmla="*/ 186 h 224"/>
                    <a:gd name="T16" fmla="*/ 102 w 112"/>
                    <a:gd name="T17" fmla="*/ 201 h 224"/>
                    <a:gd name="T18" fmla="*/ 89 w 112"/>
                    <a:gd name="T19" fmla="*/ 214 h 224"/>
                    <a:gd name="T20" fmla="*/ 73 w 112"/>
                    <a:gd name="T21" fmla="*/ 221 h 224"/>
                    <a:gd name="T22" fmla="*/ 55 w 112"/>
                    <a:gd name="T23" fmla="*/ 224 h 224"/>
                    <a:gd name="T24" fmla="*/ 37 w 112"/>
                    <a:gd name="T25" fmla="*/ 221 h 224"/>
                    <a:gd name="T26" fmla="*/ 23 w 112"/>
                    <a:gd name="T27" fmla="*/ 214 h 224"/>
                    <a:gd name="T28" fmla="*/ 10 w 112"/>
                    <a:gd name="T29" fmla="*/ 201 h 224"/>
                    <a:gd name="T30" fmla="*/ 2 w 112"/>
                    <a:gd name="T31" fmla="*/ 186 h 224"/>
                    <a:gd name="T32" fmla="*/ 0 w 112"/>
                    <a:gd name="T33" fmla="*/ 168 h 224"/>
                    <a:gd name="T34" fmla="*/ 0 w 112"/>
                    <a:gd name="T35" fmla="*/ 55 h 224"/>
                    <a:gd name="T36" fmla="*/ 2 w 112"/>
                    <a:gd name="T37" fmla="*/ 37 h 224"/>
                    <a:gd name="T38" fmla="*/ 10 w 112"/>
                    <a:gd name="T39" fmla="*/ 23 h 224"/>
                    <a:gd name="T40" fmla="*/ 23 w 112"/>
                    <a:gd name="T41" fmla="*/ 10 h 224"/>
                    <a:gd name="T42" fmla="*/ 37 w 112"/>
                    <a:gd name="T43" fmla="*/ 2 h 224"/>
                    <a:gd name="T44" fmla="*/ 55 w 112"/>
                    <a:gd name="T45" fmla="*/ 0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2" h="224">
                      <a:moveTo>
                        <a:pt x="55" y="0"/>
                      </a:moveTo>
                      <a:lnTo>
                        <a:pt x="73" y="2"/>
                      </a:lnTo>
                      <a:lnTo>
                        <a:pt x="89" y="10"/>
                      </a:lnTo>
                      <a:lnTo>
                        <a:pt x="102" y="23"/>
                      </a:lnTo>
                      <a:lnTo>
                        <a:pt x="110" y="37"/>
                      </a:lnTo>
                      <a:lnTo>
                        <a:pt x="112" y="55"/>
                      </a:lnTo>
                      <a:lnTo>
                        <a:pt x="112" y="168"/>
                      </a:lnTo>
                      <a:lnTo>
                        <a:pt x="110" y="186"/>
                      </a:lnTo>
                      <a:lnTo>
                        <a:pt x="102" y="201"/>
                      </a:lnTo>
                      <a:lnTo>
                        <a:pt x="89" y="214"/>
                      </a:lnTo>
                      <a:lnTo>
                        <a:pt x="73" y="221"/>
                      </a:lnTo>
                      <a:lnTo>
                        <a:pt x="55" y="224"/>
                      </a:lnTo>
                      <a:lnTo>
                        <a:pt x="37" y="221"/>
                      </a:lnTo>
                      <a:lnTo>
                        <a:pt x="23" y="214"/>
                      </a:lnTo>
                      <a:lnTo>
                        <a:pt x="10" y="201"/>
                      </a:lnTo>
                      <a:lnTo>
                        <a:pt x="2" y="186"/>
                      </a:lnTo>
                      <a:lnTo>
                        <a:pt x="0" y="168"/>
                      </a:lnTo>
                      <a:lnTo>
                        <a:pt x="0" y="55"/>
                      </a:lnTo>
                      <a:lnTo>
                        <a:pt x="2" y="37"/>
                      </a:lnTo>
                      <a:lnTo>
                        <a:pt x="10" y="23"/>
                      </a:lnTo>
                      <a:lnTo>
                        <a:pt x="23" y="10"/>
                      </a:lnTo>
                      <a:lnTo>
                        <a:pt x="37" y="2"/>
                      </a:lnTo>
                      <a:lnTo>
                        <a:pt x="55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9" name="Freeform 504"/>
                <p:cNvSpPr>
                  <a:spLocks noEditPoints="1"/>
                </p:cNvSpPr>
                <p:nvPr/>
              </p:nvSpPr>
              <p:spPr bwMode="auto">
                <a:xfrm>
                  <a:off x="5749925" y="5429250"/>
                  <a:ext cx="117475" cy="71437"/>
                </a:xfrm>
                <a:custGeom>
                  <a:avLst/>
                  <a:gdLst>
                    <a:gd name="T0" fmla="*/ 112 w 736"/>
                    <a:gd name="T1" fmla="*/ 113 h 451"/>
                    <a:gd name="T2" fmla="*/ 112 w 736"/>
                    <a:gd name="T3" fmla="*/ 339 h 451"/>
                    <a:gd name="T4" fmla="*/ 623 w 736"/>
                    <a:gd name="T5" fmla="*/ 339 h 451"/>
                    <a:gd name="T6" fmla="*/ 623 w 736"/>
                    <a:gd name="T7" fmla="*/ 113 h 451"/>
                    <a:gd name="T8" fmla="*/ 112 w 736"/>
                    <a:gd name="T9" fmla="*/ 113 h 451"/>
                    <a:gd name="T10" fmla="*/ 0 w 736"/>
                    <a:gd name="T11" fmla="*/ 0 h 451"/>
                    <a:gd name="T12" fmla="*/ 736 w 736"/>
                    <a:gd name="T13" fmla="*/ 0 h 451"/>
                    <a:gd name="T14" fmla="*/ 736 w 736"/>
                    <a:gd name="T15" fmla="*/ 451 h 451"/>
                    <a:gd name="T16" fmla="*/ 0 w 736"/>
                    <a:gd name="T17" fmla="*/ 451 h 451"/>
                    <a:gd name="T18" fmla="*/ 0 w 736"/>
                    <a:gd name="T19" fmla="*/ 0 h 4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36" h="451">
                      <a:moveTo>
                        <a:pt x="112" y="113"/>
                      </a:moveTo>
                      <a:lnTo>
                        <a:pt x="112" y="339"/>
                      </a:lnTo>
                      <a:lnTo>
                        <a:pt x="623" y="339"/>
                      </a:lnTo>
                      <a:lnTo>
                        <a:pt x="623" y="113"/>
                      </a:lnTo>
                      <a:lnTo>
                        <a:pt x="112" y="113"/>
                      </a:lnTo>
                      <a:close/>
                      <a:moveTo>
                        <a:pt x="0" y="0"/>
                      </a:moveTo>
                      <a:lnTo>
                        <a:pt x="736" y="0"/>
                      </a:lnTo>
                      <a:lnTo>
                        <a:pt x="736" y="451"/>
                      </a:lnTo>
                      <a:lnTo>
                        <a:pt x="0" y="45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" name="Freeform 505"/>
                <p:cNvSpPr>
                  <a:spLocks/>
                </p:cNvSpPr>
                <p:nvPr/>
              </p:nvSpPr>
              <p:spPr bwMode="auto">
                <a:xfrm>
                  <a:off x="5580063" y="5276850"/>
                  <a:ext cx="17463" cy="36512"/>
                </a:xfrm>
                <a:custGeom>
                  <a:avLst/>
                  <a:gdLst>
                    <a:gd name="T0" fmla="*/ 56 w 113"/>
                    <a:gd name="T1" fmla="*/ 0 h 226"/>
                    <a:gd name="T2" fmla="*/ 74 w 113"/>
                    <a:gd name="T3" fmla="*/ 4 h 226"/>
                    <a:gd name="T4" fmla="*/ 90 w 113"/>
                    <a:gd name="T5" fmla="*/ 12 h 226"/>
                    <a:gd name="T6" fmla="*/ 102 w 113"/>
                    <a:gd name="T7" fmla="*/ 23 h 226"/>
                    <a:gd name="T8" fmla="*/ 110 w 113"/>
                    <a:gd name="T9" fmla="*/ 39 h 226"/>
                    <a:gd name="T10" fmla="*/ 113 w 113"/>
                    <a:gd name="T11" fmla="*/ 57 h 226"/>
                    <a:gd name="T12" fmla="*/ 113 w 113"/>
                    <a:gd name="T13" fmla="*/ 170 h 226"/>
                    <a:gd name="T14" fmla="*/ 110 w 113"/>
                    <a:gd name="T15" fmla="*/ 188 h 226"/>
                    <a:gd name="T16" fmla="*/ 102 w 113"/>
                    <a:gd name="T17" fmla="*/ 203 h 226"/>
                    <a:gd name="T18" fmla="*/ 90 w 113"/>
                    <a:gd name="T19" fmla="*/ 215 h 226"/>
                    <a:gd name="T20" fmla="*/ 74 w 113"/>
                    <a:gd name="T21" fmla="*/ 223 h 226"/>
                    <a:gd name="T22" fmla="*/ 56 w 113"/>
                    <a:gd name="T23" fmla="*/ 226 h 226"/>
                    <a:gd name="T24" fmla="*/ 39 w 113"/>
                    <a:gd name="T25" fmla="*/ 223 h 226"/>
                    <a:gd name="T26" fmla="*/ 23 w 113"/>
                    <a:gd name="T27" fmla="*/ 215 h 226"/>
                    <a:gd name="T28" fmla="*/ 10 w 113"/>
                    <a:gd name="T29" fmla="*/ 203 h 226"/>
                    <a:gd name="T30" fmla="*/ 3 w 113"/>
                    <a:gd name="T31" fmla="*/ 188 h 226"/>
                    <a:gd name="T32" fmla="*/ 0 w 113"/>
                    <a:gd name="T33" fmla="*/ 170 h 226"/>
                    <a:gd name="T34" fmla="*/ 0 w 113"/>
                    <a:gd name="T35" fmla="*/ 57 h 226"/>
                    <a:gd name="T36" fmla="*/ 3 w 113"/>
                    <a:gd name="T37" fmla="*/ 39 h 226"/>
                    <a:gd name="T38" fmla="*/ 10 w 113"/>
                    <a:gd name="T39" fmla="*/ 23 h 226"/>
                    <a:gd name="T40" fmla="*/ 23 w 113"/>
                    <a:gd name="T41" fmla="*/ 12 h 226"/>
                    <a:gd name="T42" fmla="*/ 39 w 113"/>
                    <a:gd name="T43" fmla="*/ 4 h 226"/>
                    <a:gd name="T44" fmla="*/ 56 w 113"/>
                    <a:gd name="T45" fmla="*/ 0 h 2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3" h="226">
                      <a:moveTo>
                        <a:pt x="56" y="0"/>
                      </a:moveTo>
                      <a:lnTo>
                        <a:pt x="74" y="4"/>
                      </a:lnTo>
                      <a:lnTo>
                        <a:pt x="90" y="12"/>
                      </a:lnTo>
                      <a:lnTo>
                        <a:pt x="102" y="23"/>
                      </a:lnTo>
                      <a:lnTo>
                        <a:pt x="110" y="39"/>
                      </a:lnTo>
                      <a:lnTo>
                        <a:pt x="113" y="57"/>
                      </a:lnTo>
                      <a:lnTo>
                        <a:pt x="113" y="170"/>
                      </a:lnTo>
                      <a:lnTo>
                        <a:pt x="110" y="188"/>
                      </a:lnTo>
                      <a:lnTo>
                        <a:pt x="102" y="203"/>
                      </a:lnTo>
                      <a:lnTo>
                        <a:pt x="90" y="215"/>
                      </a:lnTo>
                      <a:lnTo>
                        <a:pt x="74" y="223"/>
                      </a:lnTo>
                      <a:lnTo>
                        <a:pt x="56" y="226"/>
                      </a:lnTo>
                      <a:lnTo>
                        <a:pt x="39" y="223"/>
                      </a:lnTo>
                      <a:lnTo>
                        <a:pt x="23" y="215"/>
                      </a:lnTo>
                      <a:lnTo>
                        <a:pt x="10" y="203"/>
                      </a:lnTo>
                      <a:lnTo>
                        <a:pt x="3" y="188"/>
                      </a:lnTo>
                      <a:lnTo>
                        <a:pt x="0" y="170"/>
                      </a:lnTo>
                      <a:lnTo>
                        <a:pt x="0" y="57"/>
                      </a:lnTo>
                      <a:lnTo>
                        <a:pt x="3" y="39"/>
                      </a:lnTo>
                      <a:lnTo>
                        <a:pt x="10" y="23"/>
                      </a:lnTo>
                      <a:lnTo>
                        <a:pt x="23" y="12"/>
                      </a:lnTo>
                      <a:lnTo>
                        <a:pt x="39" y="4"/>
                      </a:lnTo>
                      <a:lnTo>
                        <a:pt x="5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" name="Freeform 506"/>
                <p:cNvSpPr>
                  <a:spLocks/>
                </p:cNvSpPr>
                <p:nvPr/>
              </p:nvSpPr>
              <p:spPr bwMode="auto">
                <a:xfrm>
                  <a:off x="5651500" y="5259388"/>
                  <a:ext cx="17463" cy="34925"/>
                </a:xfrm>
                <a:custGeom>
                  <a:avLst/>
                  <a:gdLst>
                    <a:gd name="T0" fmla="*/ 57 w 114"/>
                    <a:gd name="T1" fmla="*/ 0 h 224"/>
                    <a:gd name="T2" fmla="*/ 75 w 114"/>
                    <a:gd name="T3" fmla="*/ 2 h 224"/>
                    <a:gd name="T4" fmla="*/ 90 w 114"/>
                    <a:gd name="T5" fmla="*/ 10 h 224"/>
                    <a:gd name="T6" fmla="*/ 102 w 114"/>
                    <a:gd name="T7" fmla="*/ 23 h 224"/>
                    <a:gd name="T8" fmla="*/ 110 w 114"/>
                    <a:gd name="T9" fmla="*/ 37 h 224"/>
                    <a:gd name="T10" fmla="*/ 114 w 114"/>
                    <a:gd name="T11" fmla="*/ 55 h 224"/>
                    <a:gd name="T12" fmla="*/ 114 w 114"/>
                    <a:gd name="T13" fmla="*/ 168 h 224"/>
                    <a:gd name="T14" fmla="*/ 110 w 114"/>
                    <a:gd name="T15" fmla="*/ 186 h 224"/>
                    <a:gd name="T16" fmla="*/ 102 w 114"/>
                    <a:gd name="T17" fmla="*/ 201 h 224"/>
                    <a:gd name="T18" fmla="*/ 90 w 114"/>
                    <a:gd name="T19" fmla="*/ 214 h 224"/>
                    <a:gd name="T20" fmla="*/ 75 w 114"/>
                    <a:gd name="T21" fmla="*/ 221 h 224"/>
                    <a:gd name="T22" fmla="*/ 57 w 114"/>
                    <a:gd name="T23" fmla="*/ 224 h 224"/>
                    <a:gd name="T24" fmla="*/ 39 w 114"/>
                    <a:gd name="T25" fmla="*/ 221 h 224"/>
                    <a:gd name="T26" fmla="*/ 23 w 114"/>
                    <a:gd name="T27" fmla="*/ 214 h 224"/>
                    <a:gd name="T28" fmla="*/ 11 w 114"/>
                    <a:gd name="T29" fmla="*/ 201 h 224"/>
                    <a:gd name="T30" fmla="*/ 3 w 114"/>
                    <a:gd name="T31" fmla="*/ 186 h 224"/>
                    <a:gd name="T32" fmla="*/ 0 w 114"/>
                    <a:gd name="T33" fmla="*/ 168 h 224"/>
                    <a:gd name="T34" fmla="*/ 0 w 114"/>
                    <a:gd name="T35" fmla="*/ 55 h 224"/>
                    <a:gd name="T36" fmla="*/ 3 w 114"/>
                    <a:gd name="T37" fmla="*/ 37 h 224"/>
                    <a:gd name="T38" fmla="*/ 11 w 114"/>
                    <a:gd name="T39" fmla="*/ 23 h 224"/>
                    <a:gd name="T40" fmla="*/ 23 w 114"/>
                    <a:gd name="T41" fmla="*/ 10 h 224"/>
                    <a:gd name="T42" fmla="*/ 39 w 114"/>
                    <a:gd name="T43" fmla="*/ 2 h 224"/>
                    <a:gd name="T44" fmla="*/ 57 w 114"/>
                    <a:gd name="T45" fmla="*/ 0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4" h="224">
                      <a:moveTo>
                        <a:pt x="57" y="0"/>
                      </a:moveTo>
                      <a:lnTo>
                        <a:pt x="75" y="2"/>
                      </a:lnTo>
                      <a:lnTo>
                        <a:pt x="90" y="10"/>
                      </a:lnTo>
                      <a:lnTo>
                        <a:pt x="102" y="23"/>
                      </a:lnTo>
                      <a:lnTo>
                        <a:pt x="110" y="37"/>
                      </a:lnTo>
                      <a:lnTo>
                        <a:pt x="114" y="55"/>
                      </a:lnTo>
                      <a:lnTo>
                        <a:pt x="114" y="168"/>
                      </a:lnTo>
                      <a:lnTo>
                        <a:pt x="110" y="186"/>
                      </a:lnTo>
                      <a:lnTo>
                        <a:pt x="102" y="201"/>
                      </a:lnTo>
                      <a:lnTo>
                        <a:pt x="90" y="214"/>
                      </a:lnTo>
                      <a:lnTo>
                        <a:pt x="75" y="221"/>
                      </a:lnTo>
                      <a:lnTo>
                        <a:pt x="57" y="224"/>
                      </a:lnTo>
                      <a:lnTo>
                        <a:pt x="39" y="221"/>
                      </a:lnTo>
                      <a:lnTo>
                        <a:pt x="23" y="214"/>
                      </a:lnTo>
                      <a:lnTo>
                        <a:pt x="11" y="201"/>
                      </a:lnTo>
                      <a:lnTo>
                        <a:pt x="3" y="186"/>
                      </a:lnTo>
                      <a:lnTo>
                        <a:pt x="0" y="168"/>
                      </a:lnTo>
                      <a:lnTo>
                        <a:pt x="0" y="55"/>
                      </a:lnTo>
                      <a:lnTo>
                        <a:pt x="3" y="37"/>
                      </a:lnTo>
                      <a:lnTo>
                        <a:pt x="11" y="23"/>
                      </a:lnTo>
                      <a:lnTo>
                        <a:pt x="23" y="10"/>
                      </a:lnTo>
                      <a:lnTo>
                        <a:pt x="39" y="2"/>
                      </a:lnTo>
                      <a:lnTo>
                        <a:pt x="5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2" name="Freeform 507"/>
                <p:cNvSpPr>
                  <a:spLocks/>
                </p:cNvSpPr>
                <p:nvPr/>
              </p:nvSpPr>
              <p:spPr bwMode="auto">
                <a:xfrm>
                  <a:off x="5597525" y="5259388"/>
                  <a:ext cx="36513" cy="17462"/>
                </a:xfrm>
                <a:custGeom>
                  <a:avLst/>
                  <a:gdLst>
                    <a:gd name="T0" fmla="*/ 57 w 226"/>
                    <a:gd name="T1" fmla="*/ 0 h 111"/>
                    <a:gd name="T2" fmla="*/ 171 w 226"/>
                    <a:gd name="T3" fmla="*/ 0 h 111"/>
                    <a:gd name="T4" fmla="*/ 187 w 226"/>
                    <a:gd name="T5" fmla="*/ 2 h 111"/>
                    <a:gd name="T6" fmla="*/ 203 w 226"/>
                    <a:gd name="T7" fmla="*/ 10 h 111"/>
                    <a:gd name="T8" fmla="*/ 216 w 226"/>
                    <a:gd name="T9" fmla="*/ 23 h 111"/>
                    <a:gd name="T10" fmla="*/ 223 w 226"/>
                    <a:gd name="T11" fmla="*/ 37 h 111"/>
                    <a:gd name="T12" fmla="*/ 226 w 226"/>
                    <a:gd name="T13" fmla="*/ 55 h 111"/>
                    <a:gd name="T14" fmla="*/ 223 w 226"/>
                    <a:gd name="T15" fmla="*/ 73 h 111"/>
                    <a:gd name="T16" fmla="*/ 216 w 226"/>
                    <a:gd name="T17" fmla="*/ 88 h 111"/>
                    <a:gd name="T18" fmla="*/ 203 w 226"/>
                    <a:gd name="T19" fmla="*/ 101 h 111"/>
                    <a:gd name="T20" fmla="*/ 187 w 226"/>
                    <a:gd name="T21" fmla="*/ 109 h 111"/>
                    <a:gd name="T22" fmla="*/ 171 w 226"/>
                    <a:gd name="T23" fmla="*/ 111 h 111"/>
                    <a:gd name="T24" fmla="*/ 57 w 226"/>
                    <a:gd name="T25" fmla="*/ 111 h 111"/>
                    <a:gd name="T26" fmla="*/ 39 w 226"/>
                    <a:gd name="T27" fmla="*/ 109 h 111"/>
                    <a:gd name="T28" fmla="*/ 23 w 226"/>
                    <a:gd name="T29" fmla="*/ 101 h 111"/>
                    <a:gd name="T30" fmla="*/ 11 w 226"/>
                    <a:gd name="T31" fmla="*/ 88 h 111"/>
                    <a:gd name="T32" fmla="*/ 2 w 226"/>
                    <a:gd name="T33" fmla="*/ 73 h 111"/>
                    <a:gd name="T34" fmla="*/ 0 w 226"/>
                    <a:gd name="T35" fmla="*/ 55 h 111"/>
                    <a:gd name="T36" fmla="*/ 2 w 226"/>
                    <a:gd name="T37" fmla="*/ 37 h 111"/>
                    <a:gd name="T38" fmla="*/ 11 w 226"/>
                    <a:gd name="T39" fmla="*/ 23 h 111"/>
                    <a:gd name="T40" fmla="*/ 23 w 226"/>
                    <a:gd name="T41" fmla="*/ 10 h 111"/>
                    <a:gd name="T42" fmla="*/ 39 w 226"/>
                    <a:gd name="T43" fmla="*/ 2 h 111"/>
                    <a:gd name="T44" fmla="*/ 57 w 226"/>
                    <a:gd name="T45" fmla="*/ 0 h 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26" h="111">
                      <a:moveTo>
                        <a:pt x="57" y="0"/>
                      </a:moveTo>
                      <a:lnTo>
                        <a:pt x="171" y="0"/>
                      </a:lnTo>
                      <a:lnTo>
                        <a:pt x="187" y="2"/>
                      </a:lnTo>
                      <a:lnTo>
                        <a:pt x="203" y="10"/>
                      </a:lnTo>
                      <a:lnTo>
                        <a:pt x="216" y="23"/>
                      </a:lnTo>
                      <a:lnTo>
                        <a:pt x="223" y="37"/>
                      </a:lnTo>
                      <a:lnTo>
                        <a:pt x="226" y="55"/>
                      </a:lnTo>
                      <a:lnTo>
                        <a:pt x="223" y="73"/>
                      </a:lnTo>
                      <a:lnTo>
                        <a:pt x="216" y="88"/>
                      </a:lnTo>
                      <a:lnTo>
                        <a:pt x="203" y="101"/>
                      </a:lnTo>
                      <a:lnTo>
                        <a:pt x="187" y="109"/>
                      </a:lnTo>
                      <a:lnTo>
                        <a:pt x="171" y="111"/>
                      </a:lnTo>
                      <a:lnTo>
                        <a:pt x="57" y="111"/>
                      </a:lnTo>
                      <a:lnTo>
                        <a:pt x="39" y="109"/>
                      </a:lnTo>
                      <a:lnTo>
                        <a:pt x="23" y="101"/>
                      </a:lnTo>
                      <a:lnTo>
                        <a:pt x="11" y="88"/>
                      </a:lnTo>
                      <a:lnTo>
                        <a:pt x="2" y="73"/>
                      </a:lnTo>
                      <a:lnTo>
                        <a:pt x="0" y="55"/>
                      </a:lnTo>
                      <a:lnTo>
                        <a:pt x="2" y="37"/>
                      </a:lnTo>
                      <a:lnTo>
                        <a:pt x="11" y="23"/>
                      </a:lnTo>
                      <a:lnTo>
                        <a:pt x="23" y="10"/>
                      </a:lnTo>
                      <a:lnTo>
                        <a:pt x="39" y="2"/>
                      </a:lnTo>
                      <a:lnTo>
                        <a:pt x="5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3" name="Freeform 508"/>
                <p:cNvSpPr>
                  <a:spLocks/>
                </p:cNvSpPr>
                <p:nvPr/>
              </p:nvSpPr>
              <p:spPr bwMode="auto">
                <a:xfrm>
                  <a:off x="5580063" y="5330825"/>
                  <a:ext cx="34925" cy="17462"/>
                </a:xfrm>
                <a:custGeom>
                  <a:avLst/>
                  <a:gdLst>
                    <a:gd name="T0" fmla="*/ 56 w 227"/>
                    <a:gd name="T1" fmla="*/ 0 h 112"/>
                    <a:gd name="T2" fmla="*/ 170 w 227"/>
                    <a:gd name="T3" fmla="*/ 0 h 112"/>
                    <a:gd name="T4" fmla="*/ 188 w 227"/>
                    <a:gd name="T5" fmla="*/ 2 h 112"/>
                    <a:gd name="T6" fmla="*/ 203 w 227"/>
                    <a:gd name="T7" fmla="*/ 11 h 112"/>
                    <a:gd name="T8" fmla="*/ 215 w 227"/>
                    <a:gd name="T9" fmla="*/ 23 h 112"/>
                    <a:gd name="T10" fmla="*/ 224 w 227"/>
                    <a:gd name="T11" fmla="*/ 38 h 112"/>
                    <a:gd name="T12" fmla="*/ 227 w 227"/>
                    <a:gd name="T13" fmla="*/ 57 h 112"/>
                    <a:gd name="T14" fmla="*/ 224 w 227"/>
                    <a:gd name="T15" fmla="*/ 74 h 112"/>
                    <a:gd name="T16" fmla="*/ 215 w 227"/>
                    <a:gd name="T17" fmla="*/ 89 h 112"/>
                    <a:gd name="T18" fmla="*/ 203 w 227"/>
                    <a:gd name="T19" fmla="*/ 102 h 112"/>
                    <a:gd name="T20" fmla="*/ 188 w 227"/>
                    <a:gd name="T21" fmla="*/ 110 h 112"/>
                    <a:gd name="T22" fmla="*/ 170 w 227"/>
                    <a:gd name="T23" fmla="*/ 112 h 112"/>
                    <a:gd name="T24" fmla="*/ 56 w 227"/>
                    <a:gd name="T25" fmla="*/ 112 h 112"/>
                    <a:gd name="T26" fmla="*/ 39 w 227"/>
                    <a:gd name="T27" fmla="*/ 110 h 112"/>
                    <a:gd name="T28" fmla="*/ 23 w 227"/>
                    <a:gd name="T29" fmla="*/ 102 h 112"/>
                    <a:gd name="T30" fmla="*/ 10 w 227"/>
                    <a:gd name="T31" fmla="*/ 89 h 112"/>
                    <a:gd name="T32" fmla="*/ 3 w 227"/>
                    <a:gd name="T33" fmla="*/ 74 h 112"/>
                    <a:gd name="T34" fmla="*/ 0 w 227"/>
                    <a:gd name="T35" fmla="*/ 57 h 112"/>
                    <a:gd name="T36" fmla="*/ 3 w 227"/>
                    <a:gd name="T37" fmla="*/ 38 h 112"/>
                    <a:gd name="T38" fmla="*/ 10 w 227"/>
                    <a:gd name="T39" fmla="*/ 23 h 112"/>
                    <a:gd name="T40" fmla="*/ 23 w 227"/>
                    <a:gd name="T41" fmla="*/ 11 h 112"/>
                    <a:gd name="T42" fmla="*/ 39 w 227"/>
                    <a:gd name="T43" fmla="*/ 2 h 112"/>
                    <a:gd name="T44" fmla="*/ 56 w 227"/>
                    <a:gd name="T45" fmla="*/ 0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27" h="112">
                      <a:moveTo>
                        <a:pt x="56" y="0"/>
                      </a:moveTo>
                      <a:lnTo>
                        <a:pt x="170" y="0"/>
                      </a:lnTo>
                      <a:lnTo>
                        <a:pt x="188" y="2"/>
                      </a:lnTo>
                      <a:lnTo>
                        <a:pt x="203" y="11"/>
                      </a:lnTo>
                      <a:lnTo>
                        <a:pt x="215" y="23"/>
                      </a:lnTo>
                      <a:lnTo>
                        <a:pt x="224" y="38"/>
                      </a:lnTo>
                      <a:lnTo>
                        <a:pt x="227" y="57"/>
                      </a:lnTo>
                      <a:lnTo>
                        <a:pt x="224" y="74"/>
                      </a:lnTo>
                      <a:lnTo>
                        <a:pt x="215" y="89"/>
                      </a:lnTo>
                      <a:lnTo>
                        <a:pt x="203" y="102"/>
                      </a:lnTo>
                      <a:lnTo>
                        <a:pt x="188" y="110"/>
                      </a:lnTo>
                      <a:lnTo>
                        <a:pt x="170" y="112"/>
                      </a:lnTo>
                      <a:lnTo>
                        <a:pt x="56" y="112"/>
                      </a:lnTo>
                      <a:lnTo>
                        <a:pt x="39" y="110"/>
                      </a:lnTo>
                      <a:lnTo>
                        <a:pt x="23" y="102"/>
                      </a:lnTo>
                      <a:lnTo>
                        <a:pt x="10" y="89"/>
                      </a:lnTo>
                      <a:lnTo>
                        <a:pt x="3" y="74"/>
                      </a:lnTo>
                      <a:lnTo>
                        <a:pt x="0" y="57"/>
                      </a:lnTo>
                      <a:lnTo>
                        <a:pt x="3" y="38"/>
                      </a:lnTo>
                      <a:lnTo>
                        <a:pt x="10" y="23"/>
                      </a:lnTo>
                      <a:lnTo>
                        <a:pt x="23" y="11"/>
                      </a:lnTo>
                      <a:lnTo>
                        <a:pt x="39" y="2"/>
                      </a:lnTo>
                      <a:lnTo>
                        <a:pt x="5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" name="Freeform 509"/>
                <p:cNvSpPr>
                  <a:spLocks/>
                </p:cNvSpPr>
                <p:nvPr/>
              </p:nvSpPr>
              <p:spPr bwMode="auto">
                <a:xfrm>
                  <a:off x="5634038" y="5313363"/>
                  <a:ext cx="34925" cy="34925"/>
                </a:xfrm>
                <a:custGeom>
                  <a:avLst/>
                  <a:gdLst>
                    <a:gd name="T0" fmla="*/ 171 w 228"/>
                    <a:gd name="T1" fmla="*/ 0 h 225"/>
                    <a:gd name="T2" fmla="*/ 189 w 228"/>
                    <a:gd name="T3" fmla="*/ 2 h 225"/>
                    <a:gd name="T4" fmla="*/ 204 w 228"/>
                    <a:gd name="T5" fmla="*/ 11 h 225"/>
                    <a:gd name="T6" fmla="*/ 216 w 228"/>
                    <a:gd name="T7" fmla="*/ 23 h 225"/>
                    <a:gd name="T8" fmla="*/ 224 w 228"/>
                    <a:gd name="T9" fmla="*/ 39 h 225"/>
                    <a:gd name="T10" fmla="*/ 228 w 228"/>
                    <a:gd name="T11" fmla="*/ 57 h 225"/>
                    <a:gd name="T12" fmla="*/ 228 w 228"/>
                    <a:gd name="T13" fmla="*/ 170 h 225"/>
                    <a:gd name="T14" fmla="*/ 224 w 228"/>
                    <a:gd name="T15" fmla="*/ 187 h 225"/>
                    <a:gd name="T16" fmla="*/ 216 w 228"/>
                    <a:gd name="T17" fmla="*/ 202 h 225"/>
                    <a:gd name="T18" fmla="*/ 204 w 228"/>
                    <a:gd name="T19" fmla="*/ 215 h 225"/>
                    <a:gd name="T20" fmla="*/ 189 w 228"/>
                    <a:gd name="T21" fmla="*/ 223 h 225"/>
                    <a:gd name="T22" fmla="*/ 171 w 228"/>
                    <a:gd name="T23" fmla="*/ 225 h 225"/>
                    <a:gd name="T24" fmla="*/ 57 w 228"/>
                    <a:gd name="T25" fmla="*/ 225 h 225"/>
                    <a:gd name="T26" fmla="*/ 39 w 228"/>
                    <a:gd name="T27" fmla="*/ 223 h 225"/>
                    <a:gd name="T28" fmla="*/ 24 w 228"/>
                    <a:gd name="T29" fmla="*/ 215 h 225"/>
                    <a:gd name="T30" fmla="*/ 12 w 228"/>
                    <a:gd name="T31" fmla="*/ 202 h 225"/>
                    <a:gd name="T32" fmla="*/ 4 w 228"/>
                    <a:gd name="T33" fmla="*/ 187 h 225"/>
                    <a:gd name="T34" fmla="*/ 0 w 228"/>
                    <a:gd name="T35" fmla="*/ 170 h 225"/>
                    <a:gd name="T36" fmla="*/ 4 w 228"/>
                    <a:gd name="T37" fmla="*/ 151 h 225"/>
                    <a:gd name="T38" fmla="*/ 12 w 228"/>
                    <a:gd name="T39" fmla="*/ 136 h 225"/>
                    <a:gd name="T40" fmla="*/ 24 w 228"/>
                    <a:gd name="T41" fmla="*/ 124 h 225"/>
                    <a:gd name="T42" fmla="*/ 39 w 228"/>
                    <a:gd name="T43" fmla="*/ 115 h 225"/>
                    <a:gd name="T44" fmla="*/ 57 w 228"/>
                    <a:gd name="T45" fmla="*/ 113 h 225"/>
                    <a:gd name="T46" fmla="*/ 114 w 228"/>
                    <a:gd name="T47" fmla="*/ 113 h 225"/>
                    <a:gd name="T48" fmla="*/ 114 w 228"/>
                    <a:gd name="T49" fmla="*/ 57 h 225"/>
                    <a:gd name="T50" fmla="*/ 117 w 228"/>
                    <a:gd name="T51" fmla="*/ 39 h 225"/>
                    <a:gd name="T52" fmla="*/ 125 w 228"/>
                    <a:gd name="T53" fmla="*/ 23 h 225"/>
                    <a:gd name="T54" fmla="*/ 137 w 228"/>
                    <a:gd name="T55" fmla="*/ 11 h 225"/>
                    <a:gd name="T56" fmla="*/ 153 w 228"/>
                    <a:gd name="T57" fmla="*/ 2 h 225"/>
                    <a:gd name="T58" fmla="*/ 171 w 228"/>
                    <a:gd name="T59" fmla="*/ 0 h 2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228" h="225">
                      <a:moveTo>
                        <a:pt x="171" y="0"/>
                      </a:moveTo>
                      <a:lnTo>
                        <a:pt x="189" y="2"/>
                      </a:lnTo>
                      <a:lnTo>
                        <a:pt x="204" y="11"/>
                      </a:lnTo>
                      <a:lnTo>
                        <a:pt x="216" y="23"/>
                      </a:lnTo>
                      <a:lnTo>
                        <a:pt x="224" y="39"/>
                      </a:lnTo>
                      <a:lnTo>
                        <a:pt x="228" y="57"/>
                      </a:lnTo>
                      <a:lnTo>
                        <a:pt x="228" y="170"/>
                      </a:lnTo>
                      <a:lnTo>
                        <a:pt x="224" y="187"/>
                      </a:lnTo>
                      <a:lnTo>
                        <a:pt x="216" y="202"/>
                      </a:lnTo>
                      <a:lnTo>
                        <a:pt x="204" y="215"/>
                      </a:lnTo>
                      <a:lnTo>
                        <a:pt x="189" y="223"/>
                      </a:lnTo>
                      <a:lnTo>
                        <a:pt x="171" y="225"/>
                      </a:lnTo>
                      <a:lnTo>
                        <a:pt x="57" y="225"/>
                      </a:lnTo>
                      <a:lnTo>
                        <a:pt x="39" y="223"/>
                      </a:lnTo>
                      <a:lnTo>
                        <a:pt x="24" y="215"/>
                      </a:lnTo>
                      <a:lnTo>
                        <a:pt x="12" y="202"/>
                      </a:lnTo>
                      <a:lnTo>
                        <a:pt x="4" y="187"/>
                      </a:lnTo>
                      <a:lnTo>
                        <a:pt x="0" y="170"/>
                      </a:lnTo>
                      <a:lnTo>
                        <a:pt x="4" y="151"/>
                      </a:lnTo>
                      <a:lnTo>
                        <a:pt x="12" y="136"/>
                      </a:lnTo>
                      <a:lnTo>
                        <a:pt x="24" y="124"/>
                      </a:lnTo>
                      <a:lnTo>
                        <a:pt x="39" y="115"/>
                      </a:lnTo>
                      <a:lnTo>
                        <a:pt x="57" y="113"/>
                      </a:lnTo>
                      <a:lnTo>
                        <a:pt x="114" y="113"/>
                      </a:lnTo>
                      <a:lnTo>
                        <a:pt x="114" y="57"/>
                      </a:lnTo>
                      <a:lnTo>
                        <a:pt x="117" y="39"/>
                      </a:lnTo>
                      <a:lnTo>
                        <a:pt x="125" y="23"/>
                      </a:lnTo>
                      <a:lnTo>
                        <a:pt x="137" y="11"/>
                      </a:lnTo>
                      <a:lnTo>
                        <a:pt x="153" y="2"/>
                      </a:lnTo>
                      <a:lnTo>
                        <a:pt x="17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" name="Freeform 510"/>
                <p:cNvSpPr>
                  <a:spLocks/>
                </p:cNvSpPr>
                <p:nvPr/>
              </p:nvSpPr>
              <p:spPr bwMode="auto">
                <a:xfrm>
                  <a:off x="5741988" y="5259388"/>
                  <a:ext cx="34925" cy="17462"/>
                </a:xfrm>
                <a:custGeom>
                  <a:avLst/>
                  <a:gdLst>
                    <a:gd name="T0" fmla="*/ 57 w 226"/>
                    <a:gd name="T1" fmla="*/ 0 h 111"/>
                    <a:gd name="T2" fmla="*/ 169 w 226"/>
                    <a:gd name="T3" fmla="*/ 0 h 111"/>
                    <a:gd name="T4" fmla="*/ 187 w 226"/>
                    <a:gd name="T5" fmla="*/ 2 h 111"/>
                    <a:gd name="T6" fmla="*/ 203 w 226"/>
                    <a:gd name="T7" fmla="*/ 10 h 111"/>
                    <a:gd name="T8" fmla="*/ 216 w 226"/>
                    <a:gd name="T9" fmla="*/ 23 h 111"/>
                    <a:gd name="T10" fmla="*/ 223 w 226"/>
                    <a:gd name="T11" fmla="*/ 37 h 111"/>
                    <a:gd name="T12" fmla="*/ 226 w 226"/>
                    <a:gd name="T13" fmla="*/ 55 h 111"/>
                    <a:gd name="T14" fmla="*/ 223 w 226"/>
                    <a:gd name="T15" fmla="*/ 73 h 111"/>
                    <a:gd name="T16" fmla="*/ 216 w 226"/>
                    <a:gd name="T17" fmla="*/ 88 h 111"/>
                    <a:gd name="T18" fmla="*/ 203 w 226"/>
                    <a:gd name="T19" fmla="*/ 101 h 111"/>
                    <a:gd name="T20" fmla="*/ 187 w 226"/>
                    <a:gd name="T21" fmla="*/ 109 h 111"/>
                    <a:gd name="T22" fmla="*/ 169 w 226"/>
                    <a:gd name="T23" fmla="*/ 111 h 111"/>
                    <a:gd name="T24" fmla="*/ 57 w 226"/>
                    <a:gd name="T25" fmla="*/ 111 h 111"/>
                    <a:gd name="T26" fmla="*/ 39 w 226"/>
                    <a:gd name="T27" fmla="*/ 109 h 111"/>
                    <a:gd name="T28" fmla="*/ 23 w 226"/>
                    <a:gd name="T29" fmla="*/ 101 h 111"/>
                    <a:gd name="T30" fmla="*/ 11 w 226"/>
                    <a:gd name="T31" fmla="*/ 88 h 111"/>
                    <a:gd name="T32" fmla="*/ 3 w 226"/>
                    <a:gd name="T33" fmla="*/ 73 h 111"/>
                    <a:gd name="T34" fmla="*/ 0 w 226"/>
                    <a:gd name="T35" fmla="*/ 55 h 111"/>
                    <a:gd name="T36" fmla="*/ 3 w 226"/>
                    <a:gd name="T37" fmla="*/ 37 h 111"/>
                    <a:gd name="T38" fmla="*/ 11 w 226"/>
                    <a:gd name="T39" fmla="*/ 23 h 111"/>
                    <a:gd name="T40" fmla="*/ 23 w 226"/>
                    <a:gd name="T41" fmla="*/ 10 h 111"/>
                    <a:gd name="T42" fmla="*/ 39 w 226"/>
                    <a:gd name="T43" fmla="*/ 2 h 111"/>
                    <a:gd name="T44" fmla="*/ 57 w 226"/>
                    <a:gd name="T45" fmla="*/ 0 h 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26" h="111">
                      <a:moveTo>
                        <a:pt x="57" y="0"/>
                      </a:moveTo>
                      <a:lnTo>
                        <a:pt x="169" y="0"/>
                      </a:lnTo>
                      <a:lnTo>
                        <a:pt x="187" y="2"/>
                      </a:lnTo>
                      <a:lnTo>
                        <a:pt x="203" y="10"/>
                      </a:lnTo>
                      <a:lnTo>
                        <a:pt x="216" y="23"/>
                      </a:lnTo>
                      <a:lnTo>
                        <a:pt x="223" y="37"/>
                      </a:lnTo>
                      <a:lnTo>
                        <a:pt x="226" y="55"/>
                      </a:lnTo>
                      <a:lnTo>
                        <a:pt x="223" y="73"/>
                      </a:lnTo>
                      <a:lnTo>
                        <a:pt x="216" y="88"/>
                      </a:lnTo>
                      <a:lnTo>
                        <a:pt x="203" y="101"/>
                      </a:lnTo>
                      <a:lnTo>
                        <a:pt x="187" y="109"/>
                      </a:lnTo>
                      <a:lnTo>
                        <a:pt x="169" y="111"/>
                      </a:lnTo>
                      <a:lnTo>
                        <a:pt x="57" y="111"/>
                      </a:lnTo>
                      <a:lnTo>
                        <a:pt x="39" y="109"/>
                      </a:lnTo>
                      <a:lnTo>
                        <a:pt x="23" y="101"/>
                      </a:lnTo>
                      <a:lnTo>
                        <a:pt x="11" y="88"/>
                      </a:lnTo>
                      <a:lnTo>
                        <a:pt x="3" y="73"/>
                      </a:lnTo>
                      <a:lnTo>
                        <a:pt x="0" y="55"/>
                      </a:lnTo>
                      <a:lnTo>
                        <a:pt x="3" y="37"/>
                      </a:lnTo>
                      <a:lnTo>
                        <a:pt x="11" y="23"/>
                      </a:lnTo>
                      <a:lnTo>
                        <a:pt x="23" y="10"/>
                      </a:lnTo>
                      <a:lnTo>
                        <a:pt x="39" y="2"/>
                      </a:lnTo>
                      <a:lnTo>
                        <a:pt x="5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" name="Freeform 511"/>
                <p:cNvSpPr>
                  <a:spLocks/>
                </p:cNvSpPr>
                <p:nvPr/>
              </p:nvSpPr>
              <p:spPr bwMode="auto">
                <a:xfrm>
                  <a:off x="5795963" y="5259388"/>
                  <a:ext cx="17463" cy="34925"/>
                </a:xfrm>
                <a:custGeom>
                  <a:avLst/>
                  <a:gdLst>
                    <a:gd name="T0" fmla="*/ 57 w 113"/>
                    <a:gd name="T1" fmla="*/ 0 h 224"/>
                    <a:gd name="T2" fmla="*/ 74 w 113"/>
                    <a:gd name="T3" fmla="*/ 2 h 224"/>
                    <a:gd name="T4" fmla="*/ 90 w 113"/>
                    <a:gd name="T5" fmla="*/ 10 h 224"/>
                    <a:gd name="T6" fmla="*/ 102 w 113"/>
                    <a:gd name="T7" fmla="*/ 23 h 224"/>
                    <a:gd name="T8" fmla="*/ 110 w 113"/>
                    <a:gd name="T9" fmla="*/ 37 h 224"/>
                    <a:gd name="T10" fmla="*/ 113 w 113"/>
                    <a:gd name="T11" fmla="*/ 55 h 224"/>
                    <a:gd name="T12" fmla="*/ 113 w 113"/>
                    <a:gd name="T13" fmla="*/ 168 h 224"/>
                    <a:gd name="T14" fmla="*/ 110 w 113"/>
                    <a:gd name="T15" fmla="*/ 186 h 224"/>
                    <a:gd name="T16" fmla="*/ 102 w 113"/>
                    <a:gd name="T17" fmla="*/ 201 h 224"/>
                    <a:gd name="T18" fmla="*/ 90 w 113"/>
                    <a:gd name="T19" fmla="*/ 214 h 224"/>
                    <a:gd name="T20" fmla="*/ 74 w 113"/>
                    <a:gd name="T21" fmla="*/ 221 h 224"/>
                    <a:gd name="T22" fmla="*/ 57 w 113"/>
                    <a:gd name="T23" fmla="*/ 224 h 224"/>
                    <a:gd name="T24" fmla="*/ 39 w 113"/>
                    <a:gd name="T25" fmla="*/ 221 h 224"/>
                    <a:gd name="T26" fmla="*/ 23 w 113"/>
                    <a:gd name="T27" fmla="*/ 214 h 224"/>
                    <a:gd name="T28" fmla="*/ 10 w 113"/>
                    <a:gd name="T29" fmla="*/ 201 h 224"/>
                    <a:gd name="T30" fmla="*/ 3 w 113"/>
                    <a:gd name="T31" fmla="*/ 186 h 224"/>
                    <a:gd name="T32" fmla="*/ 0 w 113"/>
                    <a:gd name="T33" fmla="*/ 168 h 224"/>
                    <a:gd name="T34" fmla="*/ 0 w 113"/>
                    <a:gd name="T35" fmla="*/ 55 h 224"/>
                    <a:gd name="T36" fmla="*/ 3 w 113"/>
                    <a:gd name="T37" fmla="*/ 37 h 224"/>
                    <a:gd name="T38" fmla="*/ 10 w 113"/>
                    <a:gd name="T39" fmla="*/ 23 h 224"/>
                    <a:gd name="T40" fmla="*/ 23 w 113"/>
                    <a:gd name="T41" fmla="*/ 10 h 224"/>
                    <a:gd name="T42" fmla="*/ 39 w 113"/>
                    <a:gd name="T43" fmla="*/ 2 h 224"/>
                    <a:gd name="T44" fmla="*/ 57 w 113"/>
                    <a:gd name="T45" fmla="*/ 0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3" h="224">
                      <a:moveTo>
                        <a:pt x="57" y="0"/>
                      </a:moveTo>
                      <a:lnTo>
                        <a:pt x="74" y="2"/>
                      </a:lnTo>
                      <a:lnTo>
                        <a:pt x="90" y="10"/>
                      </a:lnTo>
                      <a:lnTo>
                        <a:pt x="102" y="23"/>
                      </a:lnTo>
                      <a:lnTo>
                        <a:pt x="110" y="37"/>
                      </a:lnTo>
                      <a:lnTo>
                        <a:pt x="113" y="55"/>
                      </a:lnTo>
                      <a:lnTo>
                        <a:pt x="113" y="168"/>
                      </a:lnTo>
                      <a:lnTo>
                        <a:pt x="110" y="186"/>
                      </a:lnTo>
                      <a:lnTo>
                        <a:pt x="102" y="201"/>
                      </a:lnTo>
                      <a:lnTo>
                        <a:pt x="90" y="214"/>
                      </a:lnTo>
                      <a:lnTo>
                        <a:pt x="74" y="221"/>
                      </a:lnTo>
                      <a:lnTo>
                        <a:pt x="57" y="224"/>
                      </a:lnTo>
                      <a:lnTo>
                        <a:pt x="39" y="221"/>
                      </a:lnTo>
                      <a:lnTo>
                        <a:pt x="23" y="214"/>
                      </a:lnTo>
                      <a:lnTo>
                        <a:pt x="10" y="201"/>
                      </a:lnTo>
                      <a:lnTo>
                        <a:pt x="3" y="186"/>
                      </a:lnTo>
                      <a:lnTo>
                        <a:pt x="0" y="168"/>
                      </a:lnTo>
                      <a:lnTo>
                        <a:pt x="0" y="55"/>
                      </a:lnTo>
                      <a:lnTo>
                        <a:pt x="3" y="37"/>
                      </a:lnTo>
                      <a:lnTo>
                        <a:pt x="10" y="23"/>
                      </a:lnTo>
                      <a:lnTo>
                        <a:pt x="23" y="10"/>
                      </a:lnTo>
                      <a:lnTo>
                        <a:pt x="39" y="2"/>
                      </a:lnTo>
                      <a:lnTo>
                        <a:pt x="5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" name="Freeform 512"/>
                <p:cNvSpPr>
                  <a:spLocks/>
                </p:cNvSpPr>
                <p:nvPr/>
              </p:nvSpPr>
              <p:spPr bwMode="auto">
                <a:xfrm>
                  <a:off x="5776913" y="5313363"/>
                  <a:ext cx="36513" cy="34925"/>
                </a:xfrm>
                <a:custGeom>
                  <a:avLst/>
                  <a:gdLst>
                    <a:gd name="T0" fmla="*/ 171 w 227"/>
                    <a:gd name="T1" fmla="*/ 0 h 225"/>
                    <a:gd name="T2" fmla="*/ 188 w 227"/>
                    <a:gd name="T3" fmla="*/ 2 h 225"/>
                    <a:gd name="T4" fmla="*/ 204 w 227"/>
                    <a:gd name="T5" fmla="*/ 11 h 225"/>
                    <a:gd name="T6" fmla="*/ 216 w 227"/>
                    <a:gd name="T7" fmla="*/ 23 h 225"/>
                    <a:gd name="T8" fmla="*/ 224 w 227"/>
                    <a:gd name="T9" fmla="*/ 39 h 225"/>
                    <a:gd name="T10" fmla="*/ 227 w 227"/>
                    <a:gd name="T11" fmla="*/ 57 h 225"/>
                    <a:gd name="T12" fmla="*/ 227 w 227"/>
                    <a:gd name="T13" fmla="*/ 170 h 225"/>
                    <a:gd name="T14" fmla="*/ 224 w 227"/>
                    <a:gd name="T15" fmla="*/ 187 h 225"/>
                    <a:gd name="T16" fmla="*/ 216 w 227"/>
                    <a:gd name="T17" fmla="*/ 202 h 225"/>
                    <a:gd name="T18" fmla="*/ 204 w 227"/>
                    <a:gd name="T19" fmla="*/ 215 h 225"/>
                    <a:gd name="T20" fmla="*/ 188 w 227"/>
                    <a:gd name="T21" fmla="*/ 223 h 225"/>
                    <a:gd name="T22" fmla="*/ 171 w 227"/>
                    <a:gd name="T23" fmla="*/ 225 h 225"/>
                    <a:gd name="T24" fmla="*/ 57 w 227"/>
                    <a:gd name="T25" fmla="*/ 225 h 225"/>
                    <a:gd name="T26" fmla="*/ 39 w 227"/>
                    <a:gd name="T27" fmla="*/ 223 h 225"/>
                    <a:gd name="T28" fmla="*/ 23 w 227"/>
                    <a:gd name="T29" fmla="*/ 215 h 225"/>
                    <a:gd name="T30" fmla="*/ 12 w 227"/>
                    <a:gd name="T31" fmla="*/ 202 h 225"/>
                    <a:gd name="T32" fmla="*/ 3 w 227"/>
                    <a:gd name="T33" fmla="*/ 187 h 225"/>
                    <a:gd name="T34" fmla="*/ 0 w 227"/>
                    <a:gd name="T35" fmla="*/ 170 h 225"/>
                    <a:gd name="T36" fmla="*/ 3 w 227"/>
                    <a:gd name="T37" fmla="*/ 151 h 225"/>
                    <a:gd name="T38" fmla="*/ 12 w 227"/>
                    <a:gd name="T39" fmla="*/ 136 h 225"/>
                    <a:gd name="T40" fmla="*/ 23 w 227"/>
                    <a:gd name="T41" fmla="*/ 124 h 225"/>
                    <a:gd name="T42" fmla="*/ 39 w 227"/>
                    <a:gd name="T43" fmla="*/ 115 h 225"/>
                    <a:gd name="T44" fmla="*/ 57 w 227"/>
                    <a:gd name="T45" fmla="*/ 113 h 225"/>
                    <a:gd name="T46" fmla="*/ 114 w 227"/>
                    <a:gd name="T47" fmla="*/ 113 h 225"/>
                    <a:gd name="T48" fmla="*/ 114 w 227"/>
                    <a:gd name="T49" fmla="*/ 57 h 225"/>
                    <a:gd name="T50" fmla="*/ 117 w 227"/>
                    <a:gd name="T51" fmla="*/ 39 h 225"/>
                    <a:gd name="T52" fmla="*/ 124 w 227"/>
                    <a:gd name="T53" fmla="*/ 23 h 225"/>
                    <a:gd name="T54" fmla="*/ 137 w 227"/>
                    <a:gd name="T55" fmla="*/ 11 h 225"/>
                    <a:gd name="T56" fmla="*/ 153 w 227"/>
                    <a:gd name="T57" fmla="*/ 2 h 225"/>
                    <a:gd name="T58" fmla="*/ 171 w 227"/>
                    <a:gd name="T59" fmla="*/ 0 h 2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227" h="225">
                      <a:moveTo>
                        <a:pt x="171" y="0"/>
                      </a:moveTo>
                      <a:lnTo>
                        <a:pt x="188" y="2"/>
                      </a:lnTo>
                      <a:lnTo>
                        <a:pt x="204" y="11"/>
                      </a:lnTo>
                      <a:lnTo>
                        <a:pt x="216" y="23"/>
                      </a:lnTo>
                      <a:lnTo>
                        <a:pt x="224" y="39"/>
                      </a:lnTo>
                      <a:lnTo>
                        <a:pt x="227" y="57"/>
                      </a:lnTo>
                      <a:lnTo>
                        <a:pt x="227" y="170"/>
                      </a:lnTo>
                      <a:lnTo>
                        <a:pt x="224" y="187"/>
                      </a:lnTo>
                      <a:lnTo>
                        <a:pt x="216" y="202"/>
                      </a:lnTo>
                      <a:lnTo>
                        <a:pt x="204" y="215"/>
                      </a:lnTo>
                      <a:lnTo>
                        <a:pt x="188" y="223"/>
                      </a:lnTo>
                      <a:lnTo>
                        <a:pt x="171" y="225"/>
                      </a:lnTo>
                      <a:lnTo>
                        <a:pt x="57" y="225"/>
                      </a:lnTo>
                      <a:lnTo>
                        <a:pt x="39" y="223"/>
                      </a:lnTo>
                      <a:lnTo>
                        <a:pt x="23" y="215"/>
                      </a:lnTo>
                      <a:lnTo>
                        <a:pt x="12" y="202"/>
                      </a:lnTo>
                      <a:lnTo>
                        <a:pt x="3" y="187"/>
                      </a:lnTo>
                      <a:lnTo>
                        <a:pt x="0" y="170"/>
                      </a:lnTo>
                      <a:lnTo>
                        <a:pt x="3" y="151"/>
                      </a:lnTo>
                      <a:lnTo>
                        <a:pt x="12" y="136"/>
                      </a:lnTo>
                      <a:lnTo>
                        <a:pt x="23" y="124"/>
                      </a:lnTo>
                      <a:lnTo>
                        <a:pt x="39" y="115"/>
                      </a:lnTo>
                      <a:lnTo>
                        <a:pt x="57" y="113"/>
                      </a:lnTo>
                      <a:lnTo>
                        <a:pt x="114" y="113"/>
                      </a:lnTo>
                      <a:lnTo>
                        <a:pt x="114" y="57"/>
                      </a:lnTo>
                      <a:lnTo>
                        <a:pt x="117" y="39"/>
                      </a:lnTo>
                      <a:lnTo>
                        <a:pt x="124" y="23"/>
                      </a:lnTo>
                      <a:lnTo>
                        <a:pt x="137" y="11"/>
                      </a:lnTo>
                      <a:lnTo>
                        <a:pt x="153" y="2"/>
                      </a:lnTo>
                      <a:lnTo>
                        <a:pt x="17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" name="Freeform 513"/>
                <p:cNvSpPr>
                  <a:spLocks/>
                </p:cNvSpPr>
                <p:nvPr/>
              </p:nvSpPr>
              <p:spPr bwMode="auto">
                <a:xfrm>
                  <a:off x="5722938" y="5276850"/>
                  <a:ext cx="19050" cy="36512"/>
                </a:xfrm>
                <a:custGeom>
                  <a:avLst/>
                  <a:gdLst>
                    <a:gd name="T0" fmla="*/ 57 w 114"/>
                    <a:gd name="T1" fmla="*/ 0 h 226"/>
                    <a:gd name="T2" fmla="*/ 75 w 114"/>
                    <a:gd name="T3" fmla="*/ 4 h 226"/>
                    <a:gd name="T4" fmla="*/ 91 w 114"/>
                    <a:gd name="T5" fmla="*/ 12 h 226"/>
                    <a:gd name="T6" fmla="*/ 102 w 114"/>
                    <a:gd name="T7" fmla="*/ 23 h 226"/>
                    <a:gd name="T8" fmla="*/ 111 w 114"/>
                    <a:gd name="T9" fmla="*/ 39 h 226"/>
                    <a:gd name="T10" fmla="*/ 114 w 114"/>
                    <a:gd name="T11" fmla="*/ 57 h 226"/>
                    <a:gd name="T12" fmla="*/ 114 w 114"/>
                    <a:gd name="T13" fmla="*/ 170 h 226"/>
                    <a:gd name="T14" fmla="*/ 111 w 114"/>
                    <a:gd name="T15" fmla="*/ 188 h 226"/>
                    <a:gd name="T16" fmla="*/ 102 w 114"/>
                    <a:gd name="T17" fmla="*/ 203 h 226"/>
                    <a:gd name="T18" fmla="*/ 91 w 114"/>
                    <a:gd name="T19" fmla="*/ 215 h 226"/>
                    <a:gd name="T20" fmla="*/ 75 w 114"/>
                    <a:gd name="T21" fmla="*/ 223 h 226"/>
                    <a:gd name="T22" fmla="*/ 57 w 114"/>
                    <a:gd name="T23" fmla="*/ 226 h 226"/>
                    <a:gd name="T24" fmla="*/ 39 w 114"/>
                    <a:gd name="T25" fmla="*/ 223 h 226"/>
                    <a:gd name="T26" fmla="*/ 24 w 114"/>
                    <a:gd name="T27" fmla="*/ 215 h 226"/>
                    <a:gd name="T28" fmla="*/ 11 w 114"/>
                    <a:gd name="T29" fmla="*/ 203 h 226"/>
                    <a:gd name="T30" fmla="*/ 4 w 114"/>
                    <a:gd name="T31" fmla="*/ 188 h 226"/>
                    <a:gd name="T32" fmla="*/ 0 w 114"/>
                    <a:gd name="T33" fmla="*/ 170 h 226"/>
                    <a:gd name="T34" fmla="*/ 0 w 114"/>
                    <a:gd name="T35" fmla="*/ 57 h 226"/>
                    <a:gd name="T36" fmla="*/ 4 w 114"/>
                    <a:gd name="T37" fmla="*/ 39 h 226"/>
                    <a:gd name="T38" fmla="*/ 11 w 114"/>
                    <a:gd name="T39" fmla="*/ 23 h 226"/>
                    <a:gd name="T40" fmla="*/ 24 w 114"/>
                    <a:gd name="T41" fmla="*/ 12 h 226"/>
                    <a:gd name="T42" fmla="*/ 39 w 114"/>
                    <a:gd name="T43" fmla="*/ 4 h 226"/>
                    <a:gd name="T44" fmla="*/ 57 w 114"/>
                    <a:gd name="T45" fmla="*/ 0 h 2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4" h="226">
                      <a:moveTo>
                        <a:pt x="57" y="0"/>
                      </a:moveTo>
                      <a:lnTo>
                        <a:pt x="75" y="4"/>
                      </a:lnTo>
                      <a:lnTo>
                        <a:pt x="91" y="12"/>
                      </a:lnTo>
                      <a:lnTo>
                        <a:pt x="102" y="23"/>
                      </a:lnTo>
                      <a:lnTo>
                        <a:pt x="111" y="39"/>
                      </a:lnTo>
                      <a:lnTo>
                        <a:pt x="114" y="57"/>
                      </a:lnTo>
                      <a:lnTo>
                        <a:pt x="114" y="170"/>
                      </a:lnTo>
                      <a:lnTo>
                        <a:pt x="111" y="188"/>
                      </a:lnTo>
                      <a:lnTo>
                        <a:pt x="102" y="203"/>
                      </a:lnTo>
                      <a:lnTo>
                        <a:pt x="91" y="215"/>
                      </a:lnTo>
                      <a:lnTo>
                        <a:pt x="75" y="223"/>
                      </a:lnTo>
                      <a:lnTo>
                        <a:pt x="57" y="226"/>
                      </a:lnTo>
                      <a:lnTo>
                        <a:pt x="39" y="223"/>
                      </a:lnTo>
                      <a:lnTo>
                        <a:pt x="24" y="215"/>
                      </a:lnTo>
                      <a:lnTo>
                        <a:pt x="11" y="203"/>
                      </a:lnTo>
                      <a:lnTo>
                        <a:pt x="4" y="188"/>
                      </a:lnTo>
                      <a:lnTo>
                        <a:pt x="0" y="170"/>
                      </a:lnTo>
                      <a:lnTo>
                        <a:pt x="0" y="57"/>
                      </a:lnTo>
                      <a:lnTo>
                        <a:pt x="4" y="39"/>
                      </a:lnTo>
                      <a:lnTo>
                        <a:pt x="11" y="23"/>
                      </a:lnTo>
                      <a:lnTo>
                        <a:pt x="24" y="12"/>
                      </a:lnTo>
                      <a:lnTo>
                        <a:pt x="39" y="4"/>
                      </a:lnTo>
                      <a:lnTo>
                        <a:pt x="5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9" name="Freeform 514"/>
                <p:cNvSpPr>
                  <a:spLocks/>
                </p:cNvSpPr>
                <p:nvPr/>
              </p:nvSpPr>
              <p:spPr bwMode="auto">
                <a:xfrm>
                  <a:off x="5722938" y="5330825"/>
                  <a:ext cx="36513" cy="17462"/>
                </a:xfrm>
                <a:custGeom>
                  <a:avLst/>
                  <a:gdLst>
                    <a:gd name="T0" fmla="*/ 57 w 228"/>
                    <a:gd name="T1" fmla="*/ 0 h 112"/>
                    <a:gd name="T2" fmla="*/ 171 w 228"/>
                    <a:gd name="T3" fmla="*/ 0 h 112"/>
                    <a:gd name="T4" fmla="*/ 189 w 228"/>
                    <a:gd name="T5" fmla="*/ 2 h 112"/>
                    <a:gd name="T6" fmla="*/ 204 w 228"/>
                    <a:gd name="T7" fmla="*/ 11 h 112"/>
                    <a:gd name="T8" fmla="*/ 216 w 228"/>
                    <a:gd name="T9" fmla="*/ 23 h 112"/>
                    <a:gd name="T10" fmla="*/ 224 w 228"/>
                    <a:gd name="T11" fmla="*/ 38 h 112"/>
                    <a:gd name="T12" fmla="*/ 228 w 228"/>
                    <a:gd name="T13" fmla="*/ 57 h 112"/>
                    <a:gd name="T14" fmla="*/ 224 w 228"/>
                    <a:gd name="T15" fmla="*/ 74 h 112"/>
                    <a:gd name="T16" fmla="*/ 216 w 228"/>
                    <a:gd name="T17" fmla="*/ 89 h 112"/>
                    <a:gd name="T18" fmla="*/ 204 w 228"/>
                    <a:gd name="T19" fmla="*/ 102 h 112"/>
                    <a:gd name="T20" fmla="*/ 189 w 228"/>
                    <a:gd name="T21" fmla="*/ 110 h 112"/>
                    <a:gd name="T22" fmla="*/ 171 w 228"/>
                    <a:gd name="T23" fmla="*/ 112 h 112"/>
                    <a:gd name="T24" fmla="*/ 57 w 228"/>
                    <a:gd name="T25" fmla="*/ 112 h 112"/>
                    <a:gd name="T26" fmla="*/ 39 w 228"/>
                    <a:gd name="T27" fmla="*/ 110 h 112"/>
                    <a:gd name="T28" fmla="*/ 24 w 228"/>
                    <a:gd name="T29" fmla="*/ 102 h 112"/>
                    <a:gd name="T30" fmla="*/ 11 w 228"/>
                    <a:gd name="T31" fmla="*/ 89 h 112"/>
                    <a:gd name="T32" fmla="*/ 4 w 228"/>
                    <a:gd name="T33" fmla="*/ 74 h 112"/>
                    <a:gd name="T34" fmla="*/ 0 w 228"/>
                    <a:gd name="T35" fmla="*/ 57 h 112"/>
                    <a:gd name="T36" fmla="*/ 4 w 228"/>
                    <a:gd name="T37" fmla="*/ 38 h 112"/>
                    <a:gd name="T38" fmla="*/ 11 w 228"/>
                    <a:gd name="T39" fmla="*/ 23 h 112"/>
                    <a:gd name="T40" fmla="*/ 24 w 228"/>
                    <a:gd name="T41" fmla="*/ 11 h 112"/>
                    <a:gd name="T42" fmla="*/ 39 w 228"/>
                    <a:gd name="T43" fmla="*/ 2 h 112"/>
                    <a:gd name="T44" fmla="*/ 57 w 228"/>
                    <a:gd name="T45" fmla="*/ 0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28" h="112">
                      <a:moveTo>
                        <a:pt x="57" y="0"/>
                      </a:moveTo>
                      <a:lnTo>
                        <a:pt x="171" y="0"/>
                      </a:lnTo>
                      <a:lnTo>
                        <a:pt x="189" y="2"/>
                      </a:lnTo>
                      <a:lnTo>
                        <a:pt x="204" y="11"/>
                      </a:lnTo>
                      <a:lnTo>
                        <a:pt x="216" y="23"/>
                      </a:lnTo>
                      <a:lnTo>
                        <a:pt x="224" y="38"/>
                      </a:lnTo>
                      <a:lnTo>
                        <a:pt x="228" y="57"/>
                      </a:lnTo>
                      <a:lnTo>
                        <a:pt x="224" y="74"/>
                      </a:lnTo>
                      <a:lnTo>
                        <a:pt x="216" y="89"/>
                      </a:lnTo>
                      <a:lnTo>
                        <a:pt x="204" y="102"/>
                      </a:lnTo>
                      <a:lnTo>
                        <a:pt x="189" y="110"/>
                      </a:lnTo>
                      <a:lnTo>
                        <a:pt x="171" y="112"/>
                      </a:lnTo>
                      <a:lnTo>
                        <a:pt x="57" y="112"/>
                      </a:lnTo>
                      <a:lnTo>
                        <a:pt x="39" y="110"/>
                      </a:lnTo>
                      <a:lnTo>
                        <a:pt x="24" y="102"/>
                      </a:lnTo>
                      <a:lnTo>
                        <a:pt x="11" y="89"/>
                      </a:lnTo>
                      <a:lnTo>
                        <a:pt x="4" y="74"/>
                      </a:lnTo>
                      <a:lnTo>
                        <a:pt x="0" y="57"/>
                      </a:lnTo>
                      <a:lnTo>
                        <a:pt x="4" y="38"/>
                      </a:lnTo>
                      <a:lnTo>
                        <a:pt x="11" y="23"/>
                      </a:lnTo>
                      <a:lnTo>
                        <a:pt x="24" y="11"/>
                      </a:lnTo>
                      <a:lnTo>
                        <a:pt x="39" y="2"/>
                      </a:lnTo>
                      <a:lnTo>
                        <a:pt x="5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0" name="Freeform 515"/>
                <p:cNvSpPr>
                  <a:spLocks/>
                </p:cNvSpPr>
                <p:nvPr/>
              </p:nvSpPr>
              <p:spPr bwMode="auto">
                <a:xfrm>
                  <a:off x="5668963" y="5429250"/>
                  <a:ext cx="63500" cy="17462"/>
                </a:xfrm>
                <a:custGeom>
                  <a:avLst/>
                  <a:gdLst>
                    <a:gd name="T0" fmla="*/ 55 w 396"/>
                    <a:gd name="T1" fmla="*/ 0 h 113"/>
                    <a:gd name="T2" fmla="*/ 339 w 396"/>
                    <a:gd name="T3" fmla="*/ 0 h 113"/>
                    <a:gd name="T4" fmla="*/ 357 w 396"/>
                    <a:gd name="T5" fmla="*/ 3 h 113"/>
                    <a:gd name="T6" fmla="*/ 373 w 396"/>
                    <a:gd name="T7" fmla="*/ 12 h 113"/>
                    <a:gd name="T8" fmla="*/ 385 w 396"/>
                    <a:gd name="T9" fmla="*/ 23 h 113"/>
                    <a:gd name="T10" fmla="*/ 393 w 396"/>
                    <a:gd name="T11" fmla="*/ 39 h 113"/>
                    <a:gd name="T12" fmla="*/ 396 w 396"/>
                    <a:gd name="T13" fmla="*/ 57 h 113"/>
                    <a:gd name="T14" fmla="*/ 393 w 396"/>
                    <a:gd name="T15" fmla="*/ 74 h 113"/>
                    <a:gd name="T16" fmla="*/ 385 w 396"/>
                    <a:gd name="T17" fmla="*/ 90 h 113"/>
                    <a:gd name="T18" fmla="*/ 373 w 396"/>
                    <a:gd name="T19" fmla="*/ 103 h 113"/>
                    <a:gd name="T20" fmla="*/ 357 w 396"/>
                    <a:gd name="T21" fmla="*/ 110 h 113"/>
                    <a:gd name="T22" fmla="*/ 339 w 396"/>
                    <a:gd name="T23" fmla="*/ 113 h 113"/>
                    <a:gd name="T24" fmla="*/ 55 w 396"/>
                    <a:gd name="T25" fmla="*/ 113 h 113"/>
                    <a:gd name="T26" fmla="*/ 39 w 396"/>
                    <a:gd name="T27" fmla="*/ 110 h 113"/>
                    <a:gd name="T28" fmla="*/ 23 w 396"/>
                    <a:gd name="T29" fmla="*/ 103 h 113"/>
                    <a:gd name="T30" fmla="*/ 10 w 396"/>
                    <a:gd name="T31" fmla="*/ 90 h 113"/>
                    <a:gd name="T32" fmla="*/ 3 w 396"/>
                    <a:gd name="T33" fmla="*/ 74 h 113"/>
                    <a:gd name="T34" fmla="*/ 0 w 396"/>
                    <a:gd name="T35" fmla="*/ 57 h 113"/>
                    <a:gd name="T36" fmla="*/ 3 w 396"/>
                    <a:gd name="T37" fmla="*/ 39 h 113"/>
                    <a:gd name="T38" fmla="*/ 10 w 396"/>
                    <a:gd name="T39" fmla="*/ 23 h 113"/>
                    <a:gd name="T40" fmla="*/ 23 w 396"/>
                    <a:gd name="T41" fmla="*/ 12 h 113"/>
                    <a:gd name="T42" fmla="*/ 39 w 396"/>
                    <a:gd name="T43" fmla="*/ 3 h 113"/>
                    <a:gd name="T44" fmla="*/ 55 w 396"/>
                    <a:gd name="T45" fmla="*/ 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96" h="113">
                      <a:moveTo>
                        <a:pt x="55" y="0"/>
                      </a:moveTo>
                      <a:lnTo>
                        <a:pt x="339" y="0"/>
                      </a:lnTo>
                      <a:lnTo>
                        <a:pt x="357" y="3"/>
                      </a:lnTo>
                      <a:lnTo>
                        <a:pt x="373" y="12"/>
                      </a:lnTo>
                      <a:lnTo>
                        <a:pt x="385" y="23"/>
                      </a:lnTo>
                      <a:lnTo>
                        <a:pt x="393" y="39"/>
                      </a:lnTo>
                      <a:lnTo>
                        <a:pt x="396" y="57"/>
                      </a:lnTo>
                      <a:lnTo>
                        <a:pt x="393" y="74"/>
                      </a:lnTo>
                      <a:lnTo>
                        <a:pt x="385" y="90"/>
                      </a:lnTo>
                      <a:lnTo>
                        <a:pt x="373" y="103"/>
                      </a:lnTo>
                      <a:lnTo>
                        <a:pt x="357" y="110"/>
                      </a:lnTo>
                      <a:lnTo>
                        <a:pt x="339" y="113"/>
                      </a:lnTo>
                      <a:lnTo>
                        <a:pt x="55" y="113"/>
                      </a:lnTo>
                      <a:lnTo>
                        <a:pt x="39" y="110"/>
                      </a:lnTo>
                      <a:lnTo>
                        <a:pt x="23" y="103"/>
                      </a:lnTo>
                      <a:lnTo>
                        <a:pt x="10" y="90"/>
                      </a:lnTo>
                      <a:lnTo>
                        <a:pt x="3" y="74"/>
                      </a:lnTo>
                      <a:lnTo>
                        <a:pt x="0" y="57"/>
                      </a:lnTo>
                      <a:lnTo>
                        <a:pt x="3" y="39"/>
                      </a:lnTo>
                      <a:lnTo>
                        <a:pt x="10" y="23"/>
                      </a:lnTo>
                      <a:lnTo>
                        <a:pt x="23" y="12"/>
                      </a:lnTo>
                      <a:lnTo>
                        <a:pt x="39" y="3"/>
                      </a:lnTo>
                      <a:lnTo>
                        <a:pt x="55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1" name="Freeform 516"/>
                <p:cNvSpPr>
                  <a:spLocks/>
                </p:cNvSpPr>
                <p:nvPr/>
              </p:nvSpPr>
              <p:spPr bwMode="auto">
                <a:xfrm>
                  <a:off x="5651500" y="5456238"/>
                  <a:ext cx="80963" cy="17462"/>
                </a:xfrm>
                <a:custGeom>
                  <a:avLst/>
                  <a:gdLst>
                    <a:gd name="T0" fmla="*/ 57 w 510"/>
                    <a:gd name="T1" fmla="*/ 0 h 113"/>
                    <a:gd name="T2" fmla="*/ 453 w 510"/>
                    <a:gd name="T3" fmla="*/ 0 h 113"/>
                    <a:gd name="T4" fmla="*/ 471 w 510"/>
                    <a:gd name="T5" fmla="*/ 4 h 113"/>
                    <a:gd name="T6" fmla="*/ 487 w 510"/>
                    <a:gd name="T7" fmla="*/ 11 h 113"/>
                    <a:gd name="T8" fmla="*/ 499 w 510"/>
                    <a:gd name="T9" fmla="*/ 23 h 113"/>
                    <a:gd name="T10" fmla="*/ 507 w 510"/>
                    <a:gd name="T11" fmla="*/ 39 h 113"/>
                    <a:gd name="T12" fmla="*/ 510 w 510"/>
                    <a:gd name="T13" fmla="*/ 57 h 113"/>
                    <a:gd name="T14" fmla="*/ 507 w 510"/>
                    <a:gd name="T15" fmla="*/ 75 h 113"/>
                    <a:gd name="T16" fmla="*/ 499 w 510"/>
                    <a:gd name="T17" fmla="*/ 90 h 113"/>
                    <a:gd name="T18" fmla="*/ 487 w 510"/>
                    <a:gd name="T19" fmla="*/ 102 h 113"/>
                    <a:gd name="T20" fmla="*/ 471 w 510"/>
                    <a:gd name="T21" fmla="*/ 110 h 113"/>
                    <a:gd name="T22" fmla="*/ 453 w 510"/>
                    <a:gd name="T23" fmla="*/ 113 h 113"/>
                    <a:gd name="T24" fmla="*/ 57 w 510"/>
                    <a:gd name="T25" fmla="*/ 113 h 113"/>
                    <a:gd name="T26" fmla="*/ 39 w 510"/>
                    <a:gd name="T27" fmla="*/ 110 h 113"/>
                    <a:gd name="T28" fmla="*/ 23 w 510"/>
                    <a:gd name="T29" fmla="*/ 102 h 113"/>
                    <a:gd name="T30" fmla="*/ 11 w 510"/>
                    <a:gd name="T31" fmla="*/ 90 h 113"/>
                    <a:gd name="T32" fmla="*/ 3 w 510"/>
                    <a:gd name="T33" fmla="*/ 75 h 113"/>
                    <a:gd name="T34" fmla="*/ 0 w 510"/>
                    <a:gd name="T35" fmla="*/ 57 h 113"/>
                    <a:gd name="T36" fmla="*/ 3 w 510"/>
                    <a:gd name="T37" fmla="*/ 39 h 113"/>
                    <a:gd name="T38" fmla="*/ 11 w 510"/>
                    <a:gd name="T39" fmla="*/ 23 h 113"/>
                    <a:gd name="T40" fmla="*/ 23 w 510"/>
                    <a:gd name="T41" fmla="*/ 11 h 113"/>
                    <a:gd name="T42" fmla="*/ 39 w 510"/>
                    <a:gd name="T43" fmla="*/ 4 h 113"/>
                    <a:gd name="T44" fmla="*/ 57 w 510"/>
                    <a:gd name="T45" fmla="*/ 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10" h="113">
                      <a:moveTo>
                        <a:pt x="57" y="0"/>
                      </a:moveTo>
                      <a:lnTo>
                        <a:pt x="453" y="0"/>
                      </a:lnTo>
                      <a:lnTo>
                        <a:pt x="471" y="4"/>
                      </a:lnTo>
                      <a:lnTo>
                        <a:pt x="487" y="11"/>
                      </a:lnTo>
                      <a:lnTo>
                        <a:pt x="499" y="23"/>
                      </a:lnTo>
                      <a:lnTo>
                        <a:pt x="507" y="39"/>
                      </a:lnTo>
                      <a:lnTo>
                        <a:pt x="510" y="57"/>
                      </a:lnTo>
                      <a:lnTo>
                        <a:pt x="507" y="75"/>
                      </a:lnTo>
                      <a:lnTo>
                        <a:pt x="499" y="90"/>
                      </a:lnTo>
                      <a:lnTo>
                        <a:pt x="487" y="102"/>
                      </a:lnTo>
                      <a:lnTo>
                        <a:pt x="471" y="110"/>
                      </a:lnTo>
                      <a:lnTo>
                        <a:pt x="453" y="113"/>
                      </a:lnTo>
                      <a:lnTo>
                        <a:pt x="57" y="113"/>
                      </a:lnTo>
                      <a:lnTo>
                        <a:pt x="39" y="110"/>
                      </a:lnTo>
                      <a:lnTo>
                        <a:pt x="23" y="102"/>
                      </a:lnTo>
                      <a:lnTo>
                        <a:pt x="11" y="90"/>
                      </a:lnTo>
                      <a:lnTo>
                        <a:pt x="3" y="75"/>
                      </a:lnTo>
                      <a:lnTo>
                        <a:pt x="0" y="57"/>
                      </a:lnTo>
                      <a:lnTo>
                        <a:pt x="3" y="39"/>
                      </a:lnTo>
                      <a:lnTo>
                        <a:pt x="11" y="23"/>
                      </a:lnTo>
                      <a:lnTo>
                        <a:pt x="23" y="11"/>
                      </a:lnTo>
                      <a:lnTo>
                        <a:pt x="39" y="4"/>
                      </a:lnTo>
                      <a:lnTo>
                        <a:pt x="5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2" name="Freeform 517"/>
                <p:cNvSpPr>
                  <a:spLocks/>
                </p:cNvSpPr>
                <p:nvPr/>
              </p:nvSpPr>
              <p:spPr bwMode="auto">
                <a:xfrm>
                  <a:off x="5624513" y="5483225"/>
                  <a:ext cx="107950" cy="17462"/>
                </a:xfrm>
                <a:custGeom>
                  <a:avLst/>
                  <a:gdLst>
                    <a:gd name="T0" fmla="*/ 55 w 679"/>
                    <a:gd name="T1" fmla="*/ 0 h 112"/>
                    <a:gd name="T2" fmla="*/ 622 w 679"/>
                    <a:gd name="T3" fmla="*/ 0 h 112"/>
                    <a:gd name="T4" fmla="*/ 640 w 679"/>
                    <a:gd name="T5" fmla="*/ 2 h 112"/>
                    <a:gd name="T6" fmla="*/ 656 w 679"/>
                    <a:gd name="T7" fmla="*/ 10 h 112"/>
                    <a:gd name="T8" fmla="*/ 668 w 679"/>
                    <a:gd name="T9" fmla="*/ 23 h 112"/>
                    <a:gd name="T10" fmla="*/ 676 w 679"/>
                    <a:gd name="T11" fmla="*/ 37 h 112"/>
                    <a:gd name="T12" fmla="*/ 679 w 679"/>
                    <a:gd name="T13" fmla="*/ 55 h 112"/>
                    <a:gd name="T14" fmla="*/ 676 w 679"/>
                    <a:gd name="T15" fmla="*/ 73 h 112"/>
                    <a:gd name="T16" fmla="*/ 668 w 679"/>
                    <a:gd name="T17" fmla="*/ 89 h 112"/>
                    <a:gd name="T18" fmla="*/ 656 w 679"/>
                    <a:gd name="T19" fmla="*/ 101 h 112"/>
                    <a:gd name="T20" fmla="*/ 640 w 679"/>
                    <a:gd name="T21" fmla="*/ 109 h 112"/>
                    <a:gd name="T22" fmla="*/ 622 w 679"/>
                    <a:gd name="T23" fmla="*/ 112 h 112"/>
                    <a:gd name="T24" fmla="*/ 55 w 679"/>
                    <a:gd name="T25" fmla="*/ 112 h 112"/>
                    <a:gd name="T26" fmla="*/ 38 w 679"/>
                    <a:gd name="T27" fmla="*/ 109 h 112"/>
                    <a:gd name="T28" fmla="*/ 22 w 679"/>
                    <a:gd name="T29" fmla="*/ 101 h 112"/>
                    <a:gd name="T30" fmla="*/ 10 w 679"/>
                    <a:gd name="T31" fmla="*/ 89 h 112"/>
                    <a:gd name="T32" fmla="*/ 2 w 679"/>
                    <a:gd name="T33" fmla="*/ 73 h 112"/>
                    <a:gd name="T34" fmla="*/ 0 w 679"/>
                    <a:gd name="T35" fmla="*/ 55 h 112"/>
                    <a:gd name="T36" fmla="*/ 2 w 679"/>
                    <a:gd name="T37" fmla="*/ 37 h 112"/>
                    <a:gd name="T38" fmla="*/ 10 w 679"/>
                    <a:gd name="T39" fmla="*/ 23 h 112"/>
                    <a:gd name="T40" fmla="*/ 22 w 679"/>
                    <a:gd name="T41" fmla="*/ 10 h 112"/>
                    <a:gd name="T42" fmla="*/ 38 w 679"/>
                    <a:gd name="T43" fmla="*/ 2 h 112"/>
                    <a:gd name="T44" fmla="*/ 55 w 679"/>
                    <a:gd name="T45" fmla="*/ 0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79" h="112">
                      <a:moveTo>
                        <a:pt x="55" y="0"/>
                      </a:moveTo>
                      <a:lnTo>
                        <a:pt x="622" y="0"/>
                      </a:lnTo>
                      <a:lnTo>
                        <a:pt x="640" y="2"/>
                      </a:lnTo>
                      <a:lnTo>
                        <a:pt x="656" y="10"/>
                      </a:lnTo>
                      <a:lnTo>
                        <a:pt x="668" y="23"/>
                      </a:lnTo>
                      <a:lnTo>
                        <a:pt x="676" y="37"/>
                      </a:lnTo>
                      <a:lnTo>
                        <a:pt x="679" y="55"/>
                      </a:lnTo>
                      <a:lnTo>
                        <a:pt x="676" y="73"/>
                      </a:lnTo>
                      <a:lnTo>
                        <a:pt x="668" y="89"/>
                      </a:lnTo>
                      <a:lnTo>
                        <a:pt x="656" y="101"/>
                      </a:lnTo>
                      <a:lnTo>
                        <a:pt x="640" y="109"/>
                      </a:lnTo>
                      <a:lnTo>
                        <a:pt x="622" y="112"/>
                      </a:lnTo>
                      <a:lnTo>
                        <a:pt x="55" y="112"/>
                      </a:lnTo>
                      <a:lnTo>
                        <a:pt x="38" y="109"/>
                      </a:lnTo>
                      <a:lnTo>
                        <a:pt x="22" y="101"/>
                      </a:lnTo>
                      <a:lnTo>
                        <a:pt x="10" y="89"/>
                      </a:lnTo>
                      <a:lnTo>
                        <a:pt x="2" y="73"/>
                      </a:lnTo>
                      <a:lnTo>
                        <a:pt x="0" y="55"/>
                      </a:lnTo>
                      <a:lnTo>
                        <a:pt x="2" y="37"/>
                      </a:lnTo>
                      <a:lnTo>
                        <a:pt x="10" y="23"/>
                      </a:lnTo>
                      <a:lnTo>
                        <a:pt x="22" y="10"/>
                      </a:lnTo>
                      <a:lnTo>
                        <a:pt x="38" y="2"/>
                      </a:lnTo>
                      <a:lnTo>
                        <a:pt x="55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3" name="Freeform 518"/>
                <p:cNvSpPr>
                  <a:spLocks/>
                </p:cNvSpPr>
                <p:nvPr/>
              </p:nvSpPr>
              <p:spPr bwMode="auto">
                <a:xfrm>
                  <a:off x="5408613" y="5053013"/>
                  <a:ext cx="17463" cy="17462"/>
                </a:xfrm>
                <a:custGeom>
                  <a:avLst/>
                  <a:gdLst>
                    <a:gd name="T0" fmla="*/ 57 w 114"/>
                    <a:gd name="T1" fmla="*/ 0 h 113"/>
                    <a:gd name="T2" fmla="*/ 75 w 114"/>
                    <a:gd name="T3" fmla="*/ 3 h 113"/>
                    <a:gd name="T4" fmla="*/ 91 w 114"/>
                    <a:gd name="T5" fmla="*/ 12 h 113"/>
                    <a:gd name="T6" fmla="*/ 103 w 114"/>
                    <a:gd name="T7" fmla="*/ 23 h 113"/>
                    <a:gd name="T8" fmla="*/ 111 w 114"/>
                    <a:gd name="T9" fmla="*/ 39 h 113"/>
                    <a:gd name="T10" fmla="*/ 114 w 114"/>
                    <a:gd name="T11" fmla="*/ 57 h 113"/>
                    <a:gd name="T12" fmla="*/ 111 w 114"/>
                    <a:gd name="T13" fmla="*/ 74 h 113"/>
                    <a:gd name="T14" fmla="*/ 103 w 114"/>
                    <a:gd name="T15" fmla="*/ 90 h 113"/>
                    <a:gd name="T16" fmla="*/ 91 w 114"/>
                    <a:gd name="T17" fmla="*/ 103 h 113"/>
                    <a:gd name="T18" fmla="*/ 75 w 114"/>
                    <a:gd name="T19" fmla="*/ 110 h 113"/>
                    <a:gd name="T20" fmla="*/ 57 w 114"/>
                    <a:gd name="T21" fmla="*/ 113 h 113"/>
                    <a:gd name="T22" fmla="*/ 39 w 114"/>
                    <a:gd name="T23" fmla="*/ 110 h 113"/>
                    <a:gd name="T24" fmla="*/ 24 w 114"/>
                    <a:gd name="T25" fmla="*/ 103 h 113"/>
                    <a:gd name="T26" fmla="*/ 12 w 114"/>
                    <a:gd name="T27" fmla="*/ 90 h 113"/>
                    <a:gd name="T28" fmla="*/ 4 w 114"/>
                    <a:gd name="T29" fmla="*/ 74 h 113"/>
                    <a:gd name="T30" fmla="*/ 0 w 114"/>
                    <a:gd name="T31" fmla="*/ 57 h 113"/>
                    <a:gd name="T32" fmla="*/ 4 w 114"/>
                    <a:gd name="T33" fmla="*/ 39 h 113"/>
                    <a:gd name="T34" fmla="*/ 12 w 114"/>
                    <a:gd name="T35" fmla="*/ 23 h 113"/>
                    <a:gd name="T36" fmla="*/ 24 w 114"/>
                    <a:gd name="T37" fmla="*/ 12 h 113"/>
                    <a:gd name="T38" fmla="*/ 39 w 114"/>
                    <a:gd name="T39" fmla="*/ 3 h 113"/>
                    <a:gd name="T40" fmla="*/ 57 w 114"/>
                    <a:gd name="T41" fmla="*/ 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4" h="113">
                      <a:moveTo>
                        <a:pt x="57" y="0"/>
                      </a:moveTo>
                      <a:lnTo>
                        <a:pt x="75" y="3"/>
                      </a:lnTo>
                      <a:lnTo>
                        <a:pt x="91" y="12"/>
                      </a:lnTo>
                      <a:lnTo>
                        <a:pt x="103" y="23"/>
                      </a:lnTo>
                      <a:lnTo>
                        <a:pt x="111" y="39"/>
                      </a:lnTo>
                      <a:lnTo>
                        <a:pt x="114" y="57"/>
                      </a:lnTo>
                      <a:lnTo>
                        <a:pt x="111" y="74"/>
                      </a:lnTo>
                      <a:lnTo>
                        <a:pt x="103" y="90"/>
                      </a:lnTo>
                      <a:lnTo>
                        <a:pt x="91" y="103"/>
                      </a:lnTo>
                      <a:lnTo>
                        <a:pt x="75" y="110"/>
                      </a:lnTo>
                      <a:lnTo>
                        <a:pt x="57" y="113"/>
                      </a:lnTo>
                      <a:lnTo>
                        <a:pt x="39" y="110"/>
                      </a:lnTo>
                      <a:lnTo>
                        <a:pt x="24" y="103"/>
                      </a:lnTo>
                      <a:lnTo>
                        <a:pt x="12" y="90"/>
                      </a:lnTo>
                      <a:lnTo>
                        <a:pt x="4" y="74"/>
                      </a:lnTo>
                      <a:lnTo>
                        <a:pt x="0" y="57"/>
                      </a:lnTo>
                      <a:lnTo>
                        <a:pt x="4" y="39"/>
                      </a:lnTo>
                      <a:lnTo>
                        <a:pt x="12" y="23"/>
                      </a:lnTo>
                      <a:lnTo>
                        <a:pt x="24" y="12"/>
                      </a:lnTo>
                      <a:lnTo>
                        <a:pt x="39" y="3"/>
                      </a:lnTo>
                      <a:lnTo>
                        <a:pt x="5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4" name="Freeform 519"/>
                <p:cNvSpPr>
                  <a:spLocks/>
                </p:cNvSpPr>
                <p:nvPr/>
              </p:nvSpPr>
              <p:spPr bwMode="auto">
                <a:xfrm>
                  <a:off x="5462588" y="5053013"/>
                  <a:ext cx="17463" cy="17462"/>
                </a:xfrm>
                <a:custGeom>
                  <a:avLst/>
                  <a:gdLst>
                    <a:gd name="T0" fmla="*/ 56 w 113"/>
                    <a:gd name="T1" fmla="*/ 0 h 113"/>
                    <a:gd name="T2" fmla="*/ 74 w 113"/>
                    <a:gd name="T3" fmla="*/ 3 h 113"/>
                    <a:gd name="T4" fmla="*/ 90 w 113"/>
                    <a:gd name="T5" fmla="*/ 12 h 113"/>
                    <a:gd name="T6" fmla="*/ 102 w 113"/>
                    <a:gd name="T7" fmla="*/ 23 h 113"/>
                    <a:gd name="T8" fmla="*/ 111 w 113"/>
                    <a:gd name="T9" fmla="*/ 39 h 113"/>
                    <a:gd name="T10" fmla="*/ 113 w 113"/>
                    <a:gd name="T11" fmla="*/ 57 h 113"/>
                    <a:gd name="T12" fmla="*/ 111 w 113"/>
                    <a:gd name="T13" fmla="*/ 74 h 113"/>
                    <a:gd name="T14" fmla="*/ 102 w 113"/>
                    <a:gd name="T15" fmla="*/ 90 h 113"/>
                    <a:gd name="T16" fmla="*/ 90 w 113"/>
                    <a:gd name="T17" fmla="*/ 103 h 113"/>
                    <a:gd name="T18" fmla="*/ 74 w 113"/>
                    <a:gd name="T19" fmla="*/ 110 h 113"/>
                    <a:gd name="T20" fmla="*/ 56 w 113"/>
                    <a:gd name="T21" fmla="*/ 113 h 113"/>
                    <a:gd name="T22" fmla="*/ 38 w 113"/>
                    <a:gd name="T23" fmla="*/ 110 h 113"/>
                    <a:gd name="T24" fmla="*/ 23 w 113"/>
                    <a:gd name="T25" fmla="*/ 103 h 113"/>
                    <a:gd name="T26" fmla="*/ 11 w 113"/>
                    <a:gd name="T27" fmla="*/ 90 h 113"/>
                    <a:gd name="T28" fmla="*/ 2 w 113"/>
                    <a:gd name="T29" fmla="*/ 74 h 113"/>
                    <a:gd name="T30" fmla="*/ 0 w 113"/>
                    <a:gd name="T31" fmla="*/ 57 h 113"/>
                    <a:gd name="T32" fmla="*/ 2 w 113"/>
                    <a:gd name="T33" fmla="*/ 39 h 113"/>
                    <a:gd name="T34" fmla="*/ 11 w 113"/>
                    <a:gd name="T35" fmla="*/ 23 h 113"/>
                    <a:gd name="T36" fmla="*/ 23 w 113"/>
                    <a:gd name="T37" fmla="*/ 12 h 113"/>
                    <a:gd name="T38" fmla="*/ 38 w 113"/>
                    <a:gd name="T39" fmla="*/ 3 h 113"/>
                    <a:gd name="T40" fmla="*/ 56 w 113"/>
                    <a:gd name="T41" fmla="*/ 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3" h="113">
                      <a:moveTo>
                        <a:pt x="56" y="0"/>
                      </a:moveTo>
                      <a:lnTo>
                        <a:pt x="74" y="3"/>
                      </a:lnTo>
                      <a:lnTo>
                        <a:pt x="90" y="12"/>
                      </a:lnTo>
                      <a:lnTo>
                        <a:pt x="102" y="23"/>
                      </a:lnTo>
                      <a:lnTo>
                        <a:pt x="111" y="39"/>
                      </a:lnTo>
                      <a:lnTo>
                        <a:pt x="113" y="57"/>
                      </a:lnTo>
                      <a:lnTo>
                        <a:pt x="111" y="74"/>
                      </a:lnTo>
                      <a:lnTo>
                        <a:pt x="102" y="90"/>
                      </a:lnTo>
                      <a:lnTo>
                        <a:pt x="90" y="103"/>
                      </a:lnTo>
                      <a:lnTo>
                        <a:pt x="74" y="110"/>
                      </a:lnTo>
                      <a:lnTo>
                        <a:pt x="56" y="113"/>
                      </a:lnTo>
                      <a:lnTo>
                        <a:pt x="38" y="110"/>
                      </a:lnTo>
                      <a:lnTo>
                        <a:pt x="23" y="103"/>
                      </a:lnTo>
                      <a:lnTo>
                        <a:pt x="11" y="90"/>
                      </a:lnTo>
                      <a:lnTo>
                        <a:pt x="2" y="74"/>
                      </a:lnTo>
                      <a:lnTo>
                        <a:pt x="0" y="57"/>
                      </a:lnTo>
                      <a:lnTo>
                        <a:pt x="2" y="39"/>
                      </a:lnTo>
                      <a:lnTo>
                        <a:pt x="11" y="23"/>
                      </a:lnTo>
                      <a:lnTo>
                        <a:pt x="23" y="12"/>
                      </a:lnTo>
                      <a:lnTo>
                        <a:pt x="38" y="3"/>
                      </a:lnTo>
                      <a:lnTo>
                        <a:pt x="5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5" name="Freeform 520"/>
                <p:cNvSpPr>
                  <a:spLocks/>
                </p:cNvSpPr>
                <p:nvPr/>
              </p:nvSpPr>
              <p:spPr bwMode="auto">
                <a:xfrm>
                  <a:off x="5435600" y="5080000"/>
                  <a:ext cx="17463" cy="17462"/>
                </a:xfrm>
                <a:custGeom>
                  <a:avLst/>
                  <a:gdLst>
                    <a:gd name="T0" fmla="*/ 57 w 113"/>
                    <a:gd name="T1" fmla="*/ 0 h 113"/>
                    <a:gd name="T2" fmla="*/ 74 w 113"/>
                    <a:gd name="T3" fmla="*/ 3 h 113"/>
                    <a:gd name="T4" fmla="*/ 90 w 113"/>
                    <a:gd name="T5" fmla="*/ 10 h 113"/>
                    <a:gd name="T6" fmla="*/ 102 w 113"/>
                    <a:gd name="T7" fmla="*/ 23 h 113"/>
                    <a:gd name="T8" fmla="*/ 110 w 113"/>
                    <a:gd name="T9" fmla="*/ 38 h 113"/>
                    <a:gd name="T10" fmla="*/ 113 w 113"/>
                    <a:gd name="T11" fmla="*/ 56 h 113"/>
                    <a:gd name="T12" fmla="*/ 110 w 113"/>
                    <a:gd name="T13" fmla="*/ 74 h 113"/>
                    <a:gd name="T14" fmla="*/ 102 w 113"/>
                    <a:gd name="T15" fmla="*/ 90 h 113"/>
                    <a:gd name="T16" fmla="*/ 90 w 113"/>
                    <a:gd name="T17" fmla="*/ 101 h 113"/>
                    <a:gd name="T18" fmla="*/ 74 w 113"/>
                    <a:gd name="T19" fmla="*/ 109 h 113"/>
                    <a:gd name="T20" fmla="*/ 57 w 113"/>
                    <a:gd name="T21" fmla="*/ 113 h 113"/>
                    <a:gd name="T22" fmla="*/ 39 w 113"/>
                    <a:gd name="T23" fmla="*/ 109 h 113"/>
                    <a:gd name="T24" fmla="*/ 23 w 113"/>
                    <a:gd name="T25" fmla="*/ 101 h 113"/>
                    <a:gd name="T26" fmla="*/ 10 w 113"/>
                    <a:gd name="T27" fmla="*/ 90 h 113"/>
                    <a:gd name="T28" fmla="*/ 3 w 113"/>
                    <a:gd name="T29" fmla="*/ 74 h 113"/>
                    <a:gd name="T30" fmla="*/ 0 w 113"/>
                    <a:gd name="T31" fmla="*/ 56 h 113"/>
                    <a:gd name="T32" fmla="*/ 3 w 113"/>
                    <a:gd name="T33" fmla="*/ 38 h 113"/>
                    <a:gd name="T34" fmla="*/ 10 w 113"/>
                    <a:gd name="T35" fmla="*/ 23 h 113"/>
                    <a:gd name="T36" fmla="*/ 23 w 113"/>
                    <a:gd name="T37" fmla="*/ 10 h 113"/>
                    <a:gd name="T38" fmla="*/ 39 w 113"/>
                    <a:gd name="T39" fmla="*/ 3 h 113"/>
                    <a:gd name="T40" fmla="*/ 57 w 113"/>
                    <a:gd name="T41" fmla="*/ 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3" h="113">
                      <a:moveTo>
                        <a:pt x="57" y="0"/>
                      </a:moveTo>
                      <a:lnTo>
                        <a:pt x="74" y="3"/>
                      </a:lnTo>
                      <a:lnTo>
                        <a:pt x="90" y="10"/>
                      </a:lnTo>
                      <a:lnTo>
                        <a:pt x="102" y="23"/>
                      </a:lnTo>
                      <a:lnTo>
                        <a:pt x="110" y="38"/>
                      </a:lnTo>
                      <a:lnTo>
                        <a:pt x="113" y="56"/>
                      </a:lnTo>
                      <a:lnTo>
                        <a:pt x="110" y="74"/>
                      </a:lnTo>
                      <a:lnTo>
                        <a:pt x="102" y="90"/>
                      </a:lnTo>
                      <a:lnTo>
                        <a:pt x="90" y="101"/>
                      </a:lnTo>
                      <a:lnTo>
                        <a:pt x="74" y="109"/>
                      </a:lnTo>
                      <a:lnTo>
                        <a:pt x="57" y="113"/>
                      </a:lnTo>
                      <a:lnTo>
                        <a:pt x="39" y="109"/>
                      </a:lnTo>
                      <a:lnTo>
                        <a:pt x="23" y="101"/>
                      </a:lnTo>
                      <a:lnTo>
                        <a:pt x="10" y="90"/>
                      </a:lnTo>
                      <a:lnTo>
                        <a:pt x="3" y="74"/>
                      </a:lnTo>
                      <a:lnTo>
                        <a:pt x="0" y="56"/>
                      </a:lnTo>
                      <a:lnTo>
                        <a:pt x="3" y="38"/>
                      </a:lnTo>
                      <a:lnTo>
                        <a:pt x="10" y="23"/>
                      </a:lnTo>
                      <a:lnTo>
                        <a:pt x="23" y="10"/>
                      </a:lnTo>
                      <a:lnTo>
                        <a:pt x="39" y="3"/>
                      </a:lnTo>
                      <a:lnTo>
                        <a:pt x="5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6" name="Freeform 521"/>
                <p:cNvSpPr>
                  <a:spLocks/>
                </p:cNvSpPr>
                <p:nvPr/>
              </p:nvSpPr>
              <p:spPr bwMode="auto">
                <a:xfrm>
                  <a:off x="5408613" y="5106988"/>
                  <a:ext cx="17463" cy="17462"/>
                </a:xfrm>
                <a:custGeom>
                  <a:avLst/>
                  <a:gdLst>
                    <a:gd name="T0" fmla="*/ 57 w 114"/>
                    <a:gd name="T1" fmla="*/ 0 h 113"/>
                    <a:gd name="T2" fmla="*/ 75 w 114"/>
                    <a:gd name="T3" fmla="*/ 2 h 113"/>
                    <a:gd name="T4" fmla="*/ 91 w 114"/>
                    <a:gd name="T5" fmla="*/ 10 h 113"/>
                    <a:gd name="T6" fmla="*/ 103 w 114"/>
                    <a:gd name="T7" fmla="*/ 23 h 113"/>
                    <a:gd name="T8" fmla="*/ 111 w 114"/>
                    <a:gd name="T9" fmla="*/ 39 h 113"/>
                    <a:gd name="T10" fmla="*/ 114 w 114"/>
                    <a:gd name="T11" fmla="*/ 56 h 113"/>
                    <a:gd name="T12" fmla="*/ 111 w 114"/>
                    <a:gd name="T13" fmla="*/ 74 h 113"/>
                    <a:gd name="T14" fmla="*/ 103 w 114"/>
                    <a:gd name="T15" fmla="*/ 89 h 113"/>
                    <a:gd name="T16" fmla="*/ 91 w 114"/>
                    <a:gd name="T17" fmla="*/ 101 h 113"/>
                    <a:gd name="T18" fmla="*/ 75 w 114"/>
                    <a:gd name="T19" fmla="*/ 110 h 113"/>
                    <a:gd name="T20" fmla="*/ 57 w 114"/>
                    <a:gd name="T21" fmla="*/ 113 h 113"/>
                    <a:gd name="T22" fmla="*/ 39 w 114"/>
                    <a:gd name="T23" fmla="*/ 110 h 113"/>
                    <a:gd name="T24" fmla="*/ 24 w 114"/>
                    <a:gd name="T25" fmla="*/ 101 h 113"/>
                    <a:gd name="T26" fmla="*/ 12 w 114"/>
                    <a:gd name="T27" fmla="*/ 89 h 113"/>
                    <a:gd name="T28" fmla="*/ 4 w 114"/>
                    <a:gd name="T29" fmla="*/ 74 h 113"/>
                    <a:gd name="T30" fmla="*/ 0 w 114"/>
                    <a:gd name="T31" fmla="*/ 56 h 113"/>
                    <a:gd name="T32" fmla="*/ 4 w 114"/>
                    <a:gd name="T33" fmla="*/ 39 h 113"/>
                    <a:gd name="T34" fmla="*/ 12 w 114"/>
                    <a:gd name="T35" fmla="*/ 23 h 113"/>
                    <a:gd name="T36" fmla="*/ 24 w 114"/>
                    <a:gd name="T37" fmla="*/ 10 h 113"/>
                    <a:gd name="T38" fmla="*/ 39 w 114"/>
                    <a:gd name="T39" fmla="*/ 2 h 113"/>
                    <a:gd name="T40" fmla="*/ 57 w 114"/>
                    <a:gd name="T41" fmla="*/ 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4" h="113">
                      <a:moveTo>
                        <a:pt x="57" y="0"/>
                      </a:moveTo>
                      <a:lnTo>
                        <a:pt x="75" y="2"/>
                      </a:lnTo>
                      <a:lnTo>
                        <a:pt x="91" y="10"/>
                      </a:lnTo>
                      <a:lnTo>
                        <a:pt x="103" y="23"/>
                      </a:lnTo>
                      <a:lnTo>
                        <a:pt x="111" y="39"/>
                      </a:lnTo>
                      <a:lnTo>
                        <a:pt x="114" y="56"/>
                      </a:lnTo>
                      <a:lnTo>
                        <a:pt x="111" y="74"/>
                      </a:lnTo>
                      <a:lnTo>
                        <a:pt x="103" y="89"/>
                      </a:lnTo>
                      <a:lnTo>
                        <a:pt x="91" y="101"/>
                      </a:lnTo>
                      <a:lnTo>
                        <a:pt x="75" y="110"/>
                      </a:lnTo>
                      <a:lnTo>
                        <a:pt x="57" y="113"/>
                      </a:lnTo>
                      <a:lnTo>
                        <a:pt x="39" y="110"/>
                      </a:lnTo>
                      <a:lnTo>
                        <a:pt x="24" y="101"/>
                      </a:lnTo>
                      <a:lnTo>
                        <a:pt x="12" y="89"/>
                      </a:lnTo>
                      <a:lnTo>
                        <a:pt x="4" y="74"/>
                      </a:lnTo>
                      <a:lnTo>
                        <a:pt x="0" y="56"/>
                      </a:lnTo>
                      <a:lnTo>
                        <a:pt x="4" y="39"/>
                      </a:lnTo>
                      <a:lnTo>
                        <a:pt x="12" y="23"/>
                      </a:lnTo>
                      <a:lnTo>
                        <a:pt x="24" y="10"/>
                      </a:lnTo>
                      <a:lnTo>
                        <a:pt x="39" y="2"/>
                      </a:lnTo>
                      <a:lnTo>
                        <a:pt x="5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7" name="Freeform 522"/>
                <p:cNvSpPr>
                  <a:spLocks/>
                </p:cNvSpPr>
                <p:nvPr/>
              </p:nvSpPr>
              <p:spPr bwMode="auto">
                <a:xfrm>
                  <a:off x="5462588" y="5106988"/>
                  <a:ext cx="17463" cy="17462"/>
                </a:xfrm>
                <a:custGeom>
                  <a:avLst/>
                  <a:gdLst>
                    <a:gd name="T0" fmla="*/ 56 w 113"/>
                    <a:gd name="T1" fmla="*/ 0 h 113"/>
                    <a:gd name="T2" fmla="*/ 74 w 113"/>
                    <a:gd name="T3" fmla="*/ 2 h 113"/>
                    <a:gd name="T4" fmla="*/ 90 w 113"/>
                    <a:gd name="T5" fmla="*/ 10 h 113"/>
                    <a:gd name="T6" fmla="*/ 102 w 113"/>
                    <a:gd name="T7" fmla="*/ 23 h 113"/>
                    <a:gd name="T8" fmla="*/ 111 w 113"/>
                    <a:gd name="T9" fmla="*/ 39 h 113"/>
                    <a:gd name="T10" fmla="*/ 113 w 113"/>
                    <a:gd name="T11" fmla="*/ 56 h 113"/>
                    <a:gd name="T12" fmla="*/ 111 w 113"/>
                    <a:gd name="T13" fmla="*/ 74 h 113"/>
                    <a:gd name="T14" fmla="*/ 102 w 113"/>
                    <a:gd name="T15" fmla="*/ 89 h 113"/>
                    <a:gd name="T16" fmla="*/ 90 w 113"/>
                    <a:gd name="T17" fmla="*/ 101 h 113"/>
                    <a:gd name="T18" fmla="*/ 74 w 113"/>
                    <a:gd name="T19" fmla="*/ 110 h 113"/>
                    <a:gd name="T20" fmla="*/ 56 w 113"/>
                    <a:gd name="T21" fmla="*/ 113 h 113"/>
                    <a:gd name="T22" fmla="*/ 38 w 113"/>
                    <a:gd name="T23" fmla="*/ 110 h 113"/>
                    <a:gd name="T24" fmla="*/ 23 w 113"/>
                    <a:gd name="T25" fmla="*/ 101 h 113"/>
                    <a:gd name="T26" fmla="*/ 11 w 113"/>
                    <a:gd name="T27" fmla="*/ 89 h 113"/>
                    <a:gd name="T28" fmla="*/ 2 w 113"/>
                    <a:gd name="T29" fmla="*/ 74 h 113"/>
                    <a:gd name="T30" fmla="*/ 0 w 113"/>
                    <a:gd name="T31" fmla="*/ 56 h 113"/>
                    <a:gd name="T32" fmla="*/ 2 w 113"/>
                    <a:gd name="T33" fmla="*/ 39 h 113"/>
                    <a:gd name="T34" fmla="*/ 11 w 113"/>
                    <a:gd name="T35" fmla="*/ 23 h 113"/>
                    <a:gd name="T36" fmla="*/ 23 w 113"/>
                    <a:gd name="T37" fmla="*/ 10 h 113"/>
                    <a:gd name="T38" fmla="*/ 38 w 113"/>
                    <a:gd name="T39" fmla="*/ 2 h 113"/>
                    <a:gd name="T40" fmla="*/ 56 w 113"/>
                    <a:gd name="T41" fmla="*/ 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3" h="113">
                      <a:moveTo>
                        <a:pt x="56" y="0"/>
                      </a:moveTo>
                      <a:lnTo>
                        <a:pt x="74" y="2"/>
                      </a:lnTo>
                      <a:lnTo>
                        <a:pt x="90" y="10"/>
                      </a:lnTo>
                      <a:lnTo>
                        <a:pt x="102" y="23"/>
                      </a:lnTo>
                      <a:lnTo>
                        <a:pt x="111" y="39"/>
                      </a:lnTo>
                      <a:lnTo>
                        <a:pt x="113" y="56"/>
                      </a:lnTo>
                      <a:lnTo>
                        <a:pt x="111" y="74"/>
                      </a:lnTo>
                      <a:lnTo>
                        <a:pt x="102" y="89"/>
                      </a:lnTo>
                      <a:lnTo>
                        <a:pt x="90" y="101"/>
                      </a:lnTo>
                      <a:lnTo>
                        <a:pt x="74" y="110"/>
                      </a:lnTo>
                      <a:lnTo>
                        <a:pt x="56" y="113"/>
                      </a:lnTo>
                      <a:lnTo>
                        <a:pt x="38" y="110"/>
                      </a:lnTo>
                      <a:lnTo>
                        <a:pt x="23" y="101"/>
                      </a:lnTo>
                      <a:lnTo>
                        <a:pt x="11" y="89"/>
                      </a:lnTo>
                      <a:lnTo>
                        <a:pt x="2" y="74"/>
                      </a:lnTo>
                      <a:lnTo>
                        <a:pt x="0" y="56"/>
                      </a:lnTo>
                      <a:lnTo>
                        <a:pt x="2" y="39"/>
                      </a:lnTo>
                      <a:lnTo>
                        <a:pt x="11" y="23"/>
                      </a:lnTo>
                      <a:lnTo>
                        <a:pt x="23" y="10"/>
                      </a:lnTo>
                      <a:lnTo>
                        <a:pt x="38" y="2"/>
                      </a:lnTo>
                      <a:lnTo>
                        <a:pt x="5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8" name="Freeform 523"/>
                <p:cNvSpPr>
                  <a:spLocks/>
                </p:cNvSpPr>
                <p:nvPr/>
              </p:nvSpPr>
              <p:spPr bwMode="auto">
                <a:xfrm>
                  <a:off x="5408613" y="5160963"/>
                  <a:ext cx="17463" cy="17462"/>
                </a:xfrm>
                <a:custGeom>
                  <a:avLst/>
                  <a:gdLst>
                    <a:gd name="T0" fmla="*/ 57 w 114"/>
                    <a:gd name="T1" fmla="*/ 0 h 113"/>
                    <a:gd name="T2" fmla="*/ 75 w 114"/>
                    <a:gd name="T3" fmla="*/ 3 h 113"/>
                    <a:gd name="T4" fmla="*/ 91 w 114"/>
                    <a:gd name="T5" fmla="*/ 10 h 113"/>
                    <a:gd name="T6" fmla="*/ 103 w 114"/>
                    <a:gd name="T7" fmla="*/ 23 h 113"/>
                    <a:gd name="T8" fmla="*/ 111 w 114"/>
                    <a:gd name="T9" fmla="*/ 38 h 113"/>
                    <a:gd name="T10" fmla="*/ 114 w 114"/>
                    <a:gd name="T11" fmla="*/ 56 h 113"/>
                    <a:gd name="T12" fmla="*/ 111 w 114"/>
                    <a:gd name="T13" fmla="*/ 74 h 113"/>
                    <a:gd name="T14" fmla="*/ 103 w 114"/>
                    <a:gd name="T15" fmla="*/ 90 h 113"/>
                    <a:gd name="T16" fmla="*/ 91 w 114"/>
                    <a:gd name="T17" fmla="*/ 101 h 113"/>
                    <a:gd name="T18" fmla="*/ 75 w 114"/>
                    <a:gd name="T19" fmla="*/ 109 h 113"/>
                    <a:gd name="T20" fmla="*/ 57 w 114"/>
                    <a:gd name="T21" fmla="*/ 113 h 113"/>
                    <a:gd name="T22" fmla="*/ 39 w 114"/>
                    <a:gd name="T23" fmla="*/ 109 h 113"/>
                    <a:gd name="T24" fmla="*/ 24 w 114"/>
                    <a:gd name="T25" fmla="*/ 101 h 113"/>
                    <a:gd name="T26" fmla="*/ 12 w 114"/>
                    <a:gd name="T27" fmla="*/ 90 h 113"/>
                    <a:gd name="T28" fmla="*/ 4 w 114"/>
                    <a:gd name="T29" fmla="*/ 74 h 113"/>
                    <a:gd name="T30" fmla="*/ 0 w 114"/>
                    <a:gd name="T31" fmla="*/ 56 h 113"/>
                    <a:gd name="T32" fmla="*/ 4 w 114"/>
                    <a:gd name="T33" fmla="*/ 38 h 113"/>
                    <a:gd name="T34" fmla="*/ 12 w 114"/>
                    <a:gd name="T35" fmla="*/ 23 h 113"/>
                    <a:gd name="T36" fmla="*/ 24 w 114"/>
                    <a:gd name="T37" fmla="*/ 10 h 113"/>
                    <a:gd name="T38" fmla="*/ 39 w 114"/>
                    <a:gd name="T39" fmla="*/ 3 h 113"/>
                    <a:gd name="T40" fmla="*/ 57 w 114"/>
                    <a:gd name="T41" fmla="*/ 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4" h="113">
                      <a:moveTo>
                        <a:pt x="57" y="0"/>
                      </a:moveTo>
                      <a:lnTo>
                        <a:pt x="75" y="3"/>
                      </a:lnTo>
                      <a:lnTo>
                        <a:pt x="91" y="10"/>
                      </a:lnTo>
                      <a:lnTo>
                        <a:pt x="103" y="23"/>
                      </a:lnTo>
                      <a:lnTo>
                        <a:pt x="111" y="38"/>
                      </a:lnTo>
                      <a:lnTo>
                        <a:pt x="114" y="56"/>
                      </a:lnTo>
                      <a:lnTo>
                        <a:pt x="111" y="74"/>
                      </a:lnTo>
                      <a:lnTo>
                        <a:pt x="103" y="90"/>
                      </a:lnTo>
                      <a:lnTo>
                        <a:pt x="91" y="101"/>
                      </a:lnTo>
                      <a:lnTo>
                        <a:pt x="75" y="109"/>
                      </a:lnTo>
                      <a:lnTo>
                        <a:pt x="57" y="113"/>
                      </a:lnTo>
                      <a:lnTo>
                        <a:pt x="39" y="109"/>
                      </a:lnTo>
                      <a:lnTo>
                        <a:pt x="24" y="101"/>
                      </a:lnTo>
                      <a:lnTo>
                        <a:pt x="12" y="90"/>
                      </a:lnTo>
                      <a:lnTo>
                        <a:pt x="4" y="74"/>
                      </a:lnTo>
                      <a:lnTo>
                        <a:pt x="0" y="56"/>
                      </a:lnTo>
                      <a:lnTo>
                        <a:pt x="4" y="38"/>
                      </a:lnTo>
                      <a:lnTo>
                        <a:pt x="12" y="23"/>
                      </a:lnTo>
                      <a:lnTo>
                        <a:pt x="24" y="10"/>
                      </a:lnTo>
                      <a:lnTo>
                        <a:pt x="39" y="3"/>
                      </a:lnTo>
                      <a:lnTo>
                        <a:pt x="5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9" name="Freeform 524"/>
                <p:cNvSpPr>
                  <a:spLocks/>
                </p:cNvSpPr>
                <p:nvPr/>
              </p:nvSpPr>
              <p:spPr bwMode="auto">
                <a:xfrm>
                  <a:off x="5462588" y="5160963"/>
                  <a:ext cx="17463" cy="17462"/>
                </a:xfrm>
                <a:custGeom>
                  <a:avLst/>
                  <a:gdLst>
                    <a:gd name="T0" fmla="*/ 56 w 113"/>
                    <a:gd name="T1" fmla="*/ 0 h 113"/>
                    <a:gd name="T2" fmla="*/ 74 w 113"/>
                    <a:gd name="T3" fmla="*/ 3 h 113"/>
                    <a:gd name="T4" fmla="*/ 90 w 113"/>
                    <a:gd name="T5" fmla="*/ 10 h 113"/>
                    <a:gd name="T6" fmla="*/ 102 w 113"/>
                    <a:gd name="T7" fmla="*/ 23 h 113"/>
                    <a:gd name="T8" fmla="*/ 111 w 113"/>
                    <a:gd name="T9" fmla="*/ 38 h 113"/>
                    <a:gd name="T10" fmla="*/ 113 w 113"/>
                    <a:gd name="T11" fmla="*/ 56 h 113"/>
                    <a:gd name="T12" fmla="*/ 111 w 113"/>
                    <a:gd name="T13" fmla="*/ 74 h 113"/>
                    <a:gd name="T14" fmla="*/ 102 w 113"/>
                    <a:gd name="T15" fmla="*/ 90 h 113"/>
                    <a:gd name="T16" fmla="*/ 90 w 113"/>
                    <a:gd name="T17" fmla="*/ 101 h 113"/>
                    <a:gd name="T18" fmla="*/ 74 w 113"/>
                    <a:gd name="T19" fmla="*/ 109 h 113"/>
                    <a:gd name="T20" fmla="*/ 56 w 113"/>
                    <a:gd name="T21" fmla="*/ 113 h 113"/>
                    <a:gd name="T22" fmla="*/ 38 w 113"/>
                    <a:gd name="T23" fmla="*/ 109 h 113"/>
                    <a:gd name="T24" fmla="*/ 23 w 113"/>
                    <a:gd name="T25" fmla="*/ 101 h 113"/>
                    <a:gd name="T26" fmla="*/ 11 w 113"/>
                    <a:gd name="T27" fmla="*/ 90 h 113"/>
                    <a:gd name="T28" fmla="*/ 2 w 113"/>
                    <a:gd name="T29" fmla="*/ 74 h 113"/>
                    <a:gd name="T30" fmla="*/ 0 w 113"/>
                    <a:gd name="T31" fmla="*/ 56 h 113"/>
                    <a:gd name="T32" fmla="*/ 2 w 113"/>
                    <a:gd name="T33" fmla="*/ 38 h 113"/>
                    <a:gd name="T34" fmla="*/ 11 w 113"/>
                    <a:gd name="T35" fmla="*/ 23 h 113"/>
                    <a:gd name="T36" fmla="*/ 23 w 113"/>
                    <a:gd name="T37" fmla="*/ 10 h 113"/>
                    <a:gd name="T38" fmla="*/ 38 w 113"/>
                    <a:gd name="T39" fmla="*/ 3 h 113"/>
                    <a:gd name="T40" fmla="*/ 56 w 113"/>
                    <a:gd name="T41" fmla="*/ 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3" h="113">
                      <a:moveTo>
                        <a:pt x="56" y="0"/>
                      </a:moveTo>
                      <a:lnTo>
                        <a:pt x="74" y="3"/>
                      </a:lnTo>
                      <a:lnTo>
                        <a:pt x="90" y="10"/>
                      </a:lnTo>
                      <a:lnTo>
                        <a:pt x="102" y="23"/>
                      </a:lnTo>
                      <a:lnTo>
                        <a:pt x="111" y="38"/>
                      </a:lnTo>
                      <a:lnTo>
                        <a:pt x="113" y="56"/>
                      </a:lnTo>
                      <a:lnTo>
                        <a:pt x="111" y="74"/>
                      </a:lnTo>
                      <a:lnTo>
                        <a:pt x="102" y="90"/>
                      </a:lnTo>
                      <a:lnTo>
                        <a:pt x="90" y="101"/>
                      </a:lnTo>
                      <a:lnTo>
                        <a:pt x="74" y="109"/>
                      </a:lnTo>
                      <a:lnTo>
                        <a:pt x="56" y="113"/>
                      </a:lnTo>
                      <a:lnTo>
                        <a:pt x="38" y="109"/>
                      </a:lnTo>
                      <a:lnTo>
                        <a:pt x="23" y="101"/>
                      </a:lnTo>
                      <a:lnTo>
                        <a:pt x="11" y="90"/>
                      </a:lnTo>
                      <a:lnTo>
                        <a:pt x="2" y="74"/>
                      </a:lnTo>
                      <a:lnTo>
                        <a:pt x="0" y="56"/>
                      </a:lnTo>
                      <a:lnTo>
                        <a:pt x="2" y="38"/>
                      </a:lnTo>
                      <a:lnTo>
                        <a:pt x="11" y="23"/>
                      </a:lnTo>
                      <a:lnTo>
                        <a:pt x="23" y="10"/>
                      </a:lnTo>
                      <a:lnTo>
                        <a:pt x="38" y="3"/>
                      </a:lnTo>
                      <a:lnTo>
                        <a:pt x="5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0" name="Freeform 525"/>
                <p:cNvSpPr>
                  <a:spLocks/>
                </p:cNvSpPr>
                <p:nvPr/>
              </p:nvSpPr>
              <p:spPr bwMode="auto">
                <a:xfrm>
                  <a:off x="5435600" y="5133975"/>
                  <a:ext cx="17463" cy="17462"/>
                </a:xfrm>
                <a:custGeom>
                  <a:avLst/>
                  <a:gdLst>
                    <a:gd name="T0" fmla="*/ 57 w 113"/>
                    <a:gd name="T1" fmla="*/ 0 h 113"/>
                    <a:gd name="T2" fmla="*/ 74 w 113"/>
                    <a:gd name="T3" fmla="*/ 3 h 113"/>
                    <a:gd name="T4" fmla="*/ 90 w 113"/>
                    <a:gd name="T5" fmla="*/ 12 h 113"/>
                    <a:gd name="T6" fmla="*/ 102 w 113"/>
                    <a:gd name="T7" fmla="*/ 23 h 113"/>
                    <a:gd name="T8" fmla="*/ 110 w 113"/>
                    <a:gd name="T9" fmla="*/ 39 h 113"/>
                    <a:gd name="T10" fmla="*/ 113 w 113"/>
                    <a:gd name="T11" fmla="*/ 57 h 113"/>
                    <a:gd name="T12" fmla="*/ 110 w 113"/>
                    <a:gd name="T13" fmla="*/ 75 h 113"/>
                    <a:gd name="T14" fmla="*/ 102 w 113"/>
                    <a:gd name="T15" fmla="*/ 90 h 113"/>
                    <a:gd name="T16" fmla="*/ 90 w 113"/>
                    <a:gd name="T17" fmla="*/ 103 h 113"/>
                    <a:gd name="T18" fmla="*/ 74 w 113"/>
                    <a:gd name="T19" fmla="*/ 110 h 113"/>
                    <a:gd name="T20" fmla="*/ 57 w 113"/>
                    <a:gd name="T21" fmla="*/ 113 h 113"/>
                    <a:gd name="T22" fmla="*/ 39 w 113"/>
                    <a:gd name="T23" fmla="*/ 110 h 113"/>
                    <a:gd name="T24" fmla="*/ 23 w 113"/>
                    <a:gd name="T25" fmla="*/ 103 h 113"/>
                    <a:gd name="T26" fmla="*/ 10 w 113"/>
                    <a:gd name="T27" fmla="*/ 90 h 113"/>
                    <a:gd name="T28" fmla="*/ 3 w 113"/>
                    <a:gd name="T29" fmla="*/ 75 h 113"/>
                    <a:gd name="T30" fmla="*/ 0 w 113"/>
                    <a:gd name="T31" fmla="*/ 57 h 113"/>
                    <a:gd name="T32" fmla="*/ 3 w 113"/>
                    <a:gd name="T33" fmla="*/ 39 h 113"/>
                    <a:gd name="T34" fmla="*/ 10 w 113"/>
                    <a:gd name="T35" fmla="*/ 23 h 113"/>
                    <a:gd name="T36" fmla="*/ 23 w 113"/>
                    <a:gd name="T37" fmla="*/ 12 h 113"/>
                    <a:gd name="T38" fmla="*/ 39 w 113"/>
                    <a:gd name="T39" fmla="*/ 3 h 113"/>
                    <a:gd name="T40" fmla="*/ 57 w 113"/>
                    <a:gd name="T41" fmla="*/ 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3" h="113">
                      <a:moveTo>
                        <a:pt x="57" y="0"/>
                      </a:moveTo>
                      <a:lnTo>
                        <a:pt x="74" y="3"/>
                      </a:lnTo>
                      <a:lnTo>
                        <a:pt x="90" y="12"/>
                      </a:lnTo>
                      <a:lnTo>
                        <a:pt x="102" y="23"/>
                      </a:lnTo>
                      <a:lnTo>
                        <a:pt x="110" y="39"/>
                      </a:lnTo>
                      <a:lnTo>
                        <a:pt x="113" y="57"/>
                      </a:lnTo>
                      <a:lnTo>
                        <a:pt x="110" y="75"/>
                      </a:lnTo>
                      <a:lnTo>
                        <a:pt x="102" y="90"/>
                      </a:lnTo>
                      <a:lnTo>
                        <a:pt x="90" y="103"/>
                      </a:lnTo>
                      <a:lnTo>
                        <a:pt x="74" y="110"/>
                      </a:lnTo>
                      <a:lnTo>
                        <a:pt x="57" y="113"/>
                      </a:lnTo>
                      <a:lnTo>
                        <a:pt x="39" y="110"/>
                      </a:lnTo>
                      <a:lnTo>
                        <a:pt x="23" y="103"/>
                      </a:lnTo>
                      <a:lnTo>
                        <a:pt x="10" y="90"/>
                      </a:lnTo>
                      <a:lnTo>
                        <a:pt x="3" y="75"/>
                      </a:lnTo>
                      <a:lnTo>
                        <a:pt x="0" y="57"/>
                      </a:lnTo>
                      <a:lnTo>
                        <a:pt x="3" y="39"/>
                      </a:lnTo>
                      <a:lnTo>
                        <a:pt x="10" y="23"/>
                      </a:lnTo>
                      <a:lnTo>
                        <a:pt x="23" y="12"/>
                      </a:lnTo>
                      <a:lnTo>
                        <a:pt x="39" y="3"/>
                      </a:lnTo>
                      <a:lnTo>
                        <a:pt x="5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1" name="Freeform 526"/>
                <p:cNvSpPr>
                  <a:spLocks/>
                </p:cNvSpPr>
                <p:nvPr/>
              </p:nvSpPr>
              <p:spPr bwMode="auto">
                <a:xfrm>
                  <a:off x="5435600" y="5187950"/>
                  <a:ext cx="17463" cy="17462"/>
                </a:xfrm>
                <a:custGeom>
                  <a:avLst/>
                  <a:gdLst>
                    <a:gd name="T0" fmla="*/ 57 w 113"/>
                    <a:gd name="T1" fmla="*/ 0 h 113"/>
                    <a:gd name="T2" fmla="*/ 74 w 113"/>
                    <a:gd name="T3" fmla="*/ 3 h 113"/>
                    <a:gd name="T4" fmla="*/ 90 w 113"/>
                    <a:gd name="T5" fmla="*/ 11 h 113"/>
                    <a:gd name="T6" fmla="*/ 102 w 113"/>
                    <a:gd name="T7" fmla="*/ 24 h 113"/>
                    <a:gd name="T8" fmla="*/ 110 w 113"/>
                    <a:gd name="T9" fmla="*/ 39 h 113"/>
                    <a:gd name="T10" fmla="*/ 113 w 113"/>
                    <a:gd name="T11" fmla="*/ 56 h 113"/>
                    <a:gd name="T12" fmla="*/ 110 w 113"/>
                    <a:gd name="T13" fmla="*/ 74 h 113"/>
                    <a:gd name="T14" fmla="*/ 102 w 113"/>
                    <a:gd name="T15" fmla="*/ 90 h 113"/>
                    <a:gd name="T16" fmla="*/ 90 w 113"/>
                    <a:gd name="T17" fmla="*/ 102 h 113"/>
                    <a:gd name="T18" fmla="*/ 74 w 113"/>
                    <a:gd name="T19" fmla="*/ 111 h 113"/>
                    <a:gd name="T20" fmla="*/ 57 w 113"/>
                    <a:gd name="T21" fmla="*/ 113 h 113"/>
                    <a:gd name="T22" fmla="*/ 39 w 113"/>
                    <a:gd name="T23" fmla="*/ 111 h 113"/>
                    <a:gd name="T24" fmla="*/ 23 w 113"/>
                    <a:gd name="T25" fmla="*/ 102 h 113"/>
                    <a:gd name="T26" fmla="*/ 10 w 113"/>
                    <a:gd name="T27" fmla="*/ 90 h 113"/>
                    <a:gd name="T28" fmla="*/ 3 w 113"/>
                    <a:gd name="T29" fmla="*/ 74 h 113"/>
                    <a:gd name="T30" fmla="*/ 0 w 113"/>
                    <a:gd name="T31" fmla="*/ 56 h 113"/>
                    <a:gd name="T32" fmla="*/ 3 w 113"/>
                    <a:gd name="T33" fmla="*/ 39 h 113"/>
                    <a:gd name="T34" fmla="*/ 10 w 113"/>
                    <a:gd name="T35" fmla="*/ 24 h 113"/>
                    <a:gd name="T36" fmla="*/ 23 w 113"/>
                    <a:gd name="T37" fmla="*/ 11 h 113"/>
                    <a:gd name="T38" fmla="*/ 39 w 113"/>
                    <a:gd name="T39" fmla="*/ 3 h 113"/>
                    <a:gd name="T40" fmla="*/ 57 w 113"/>
                    <a:gd name="T41" fmla="*/ 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3" h="113">
                      <a:moveTo>
                        <a:pt x="57" y="0"/>
                      </a:moveTo>
                      <a:lnTo>
                        <a:pt x="74" y="3"/>
                      </a:lnTo>
                      <a:lnTo>
                        <a:pt x="90" y="11"/>
                      </a:lnTo>
                      <a:lnTo>
                        <a:pt x="102" y="24"/>
                      </a:lnTo>
                      <a:lnTo>
                        <a:pt x="110" y="39"/>
                      </a:lnTo>
                      <a:lnTo>
                        <a:pt x="113" y="56"/>
                      </a:lnTo>
                      <a:lnTo>
                        <a:pt x="110" y="74"/>
                      </a:lnTo>
                      <a:lnTo>
                        <a:pt x="102" y="90"/>
                      </a:lnTo>
                      <a:lnTo>
                        <a:pt x="90" y="102"/>
                      </a:lnTo>
                      <a:lnTo>
                        <a:pt x="74" y="111"/>
                      </a:lnTo>
                      <a:lnTo>
                        <a:pt x="57" y="113"/>
                      </a:lnTo>
                      <a:lnTo>
                        <a:pt x="39" y="111"/>
                      </a:lnTo>
                      <a:lnTo>
                        <a:pt x="23" y="102"/>
                      </a:lnTo>
                      <a:lnTo>
                        <a:pt x="10" y="90"/>
                      </a:lnTo>
                      <a:lnTo>
                        <a:pt x="3" y="74"/>
                      </a:lnTo>
                      <a:lnTo>
                        <a:pt x="0" y="56"/>
                      </a:lnTo>
                      <a:lnTo>
                        <a:pt x="3" y="39"/>
                      </a:lnTo>
                      <a:lnTo>
                        <a:pt x="10" y="24"/>
                      </a:lnTo>
                      <a:lnTo>
                        <a:pt x="23" y="11"/>
                      </a:lnTo>
                      <a:lnTo>
                        <a:pt x="39" y="3"/>
                      </a:lnTo>
                      <a:lnTo>
                        <a:pt x="5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2" name="Freeform 527"/>
                <p:cNvSpPr>
                  <a:spLocks/>
                </p:cNvSpPr>
                <p:nvPr/>
              </p:nvSpPr>
              <p:spPr bwMode="auto">
                <a:xfrm>
                  <a:off x="5408613" y="5214938"/>
                  <a:ext cx="17463" cy="17462"/>
                </a:xfrm>
                <a:custGeom>
                  <a:avLst/>
                  <a:gdLst>
                    <a:gd name="T0" fmla="*/ 57 w 114"/>
                    <a:gd name="T1" fmla="*/ 0 h 113"/>
                    <a:gd name="T2" fmla="*/ 75 w 114"/>
                    <a:gd name="T3" fmla="*/ 3 h 113"/>
                    <a:gd name="T4" fmla="*/ 91 w 114"/>
                    <a:gd name="T5" fmla="*/ 12 h 113"/>
                    <a:gd name="T6" fmla="*/ 103 w 114"/>
                    <a:gd name="T7" fmla="*/ 23 h 113"/>
                    <a:gd name="T8" fmla="*/ 111 w 114"/>
                    <a:gd name="T9" fmla="*/ 39 h 113"/>
                    <a:gd name="T10" fmla="*/ 114 w 114"/>
                    <a:gd name="T11" fmla="*/ 57 h 113"/>
                    <a:gd name="T12" fmla="*/ 111 w 114"/>
                    <a:gd name="T13" fmla="*/ 75 h 113"/>
                    <a:gd name="T14" fmla="*/ 103 w 114"/>
                    <a:gd name="T15" fmla="*/ 90 h 113"/>
                    <a:gd name="T16" fmla="*/ 91 w 114"/>
                    <a:gd name="T17" fmla="*/ 103 h 113"/>
                    <a:gd name="T18" fmla="*/ 75 w 114"/>
                    <a:gd name="T19" fmla="*/ 110 h 113"/>
                    <a:gd name="T20" fmla="*/ 57 w 114"/>
                    <a:gd name="T21" fmla="*/ 113 h 113"/>
                    <a:gd name="T22" fmla="*/ 39 w 114"/>
                    <a:gd name="T23" fmla="*/ 110 h 113"/>
                    <a:gd name="T24" fmla="*/ 24 w 114"/>
                    <a:gd name="T25" fmla="*/ 103 h 113"/>
                    <a:gd name="T26" fmla="*/ 12 w 114"/>
                    <a:gd name="T27" fmla="*/ 90 h 113"/>
                    <a:gd name="T28" fmla="*/ 4 w 114"/>
                    <a:gd name="T29" fmla="*/ 75 h 113"/>
                    <a:gd name="T30" fmla="*/ 0 w 114"/>
                    <a:gd name="T31" fmla="*/ 57 h 113"/>
                    <a:gd name="T32" fmla="*/ 4 w 114"/>
                    <a:gd name="T33" fmla="*/ 39 h 113"/>
                    <a:gd name="T34" fmla="*/ 12 w 114"/>
                    <a:gd name="T35" fmla="*/ 23 h 113"/>
                    <a:gd name="T36" fmla="*/ 24 w 114"/>
                    <a:gd name="T37" fmla="*/ 12 h 113"/>
                    <a:gd name="T38" fmla="*/ 39 w 114"/>
                    <a:gd name="T39" fmla="*/ 3 h 113"/>
                    <a:gd name="T40" fmla="*/ 57 w 114"/>
                    <a:gd name="T41" fmla="*/ 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4" h="113">
                      <a:moveTo>
                        <a:pt x="57" y="0"/>
                      </a:moveTo>
                      <a:lnTo>
                        <a:pt x="75" y="3"/>
                      </a:lnTo>
                      <a:lnTo>
                        <a:pt x="91" y="12"/>
                      </a:lnTo>
                      <a:lnTo>
                        <a:pt x="103" y="23"/>
                      </a:lnTo>
                      <a:lnTo>
                        <a:pt x="111" y="39"/>
                      </a:lnTo>
                      <a:lnTo>
                        <a:pt x="114" y="57"/>
                      </a:lnTo>
                      <a:lnTo>
                        <a:pt x="111" y="75"/>
                      </a:lnTo>
                      <a:lnTo>
                        <a:pt x="103" y="90"/>
                      </a:lnTo>
                      <a:lnTo>
                        <a:pt x="91" y="103"/>
                      </a:lnTo>
                      <a:lnTo>
                        <a:pt x="75" y="110"/>
                      </a:lnTo>
                      <a:lnTo>
                        <a:pt x="57" y="113"/>
                      </a:lnTo>
                      <a:lnTo>
                        <a:pt x="39" y="110"/>
                      </a:lnTo>
                      <a:lnTo>
                        <a:pt x="24" y="103"/>
                      </a:lnTo>
                      <a:lnTo>
                        <a:pt x="12" y="90"/>
                      </a:lnTo>
                      <a:lnTo>
                        <a:pt x="4" y="75"/>
                      </a:lnTo>
                      <a:lnTo>
                        <a:pt x="0" y="57"/>
                      </a:lnTo>
                      <a:lnTo>
                        <a:pt x="4" y="39"/>
                      </a:lnTo>
                      <a:lnTo>
                        <a:pt x="12" y="23"/>
                      </a:lnTo>
                      <a:lnTo>
                        <a:pt x="24" y="12"/>
                      </a:lnTo>
                      <a:lnTo>
                        <a:pt x="39" y="3"/>
                      </a:lnTo>
                      <a:lnTo>
                        <a:pt x="5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3" name="Freeform 528"/>
                <p:cNvSpPr>
                  <a:spLocks/>
                </p:cNvSpPr>
                <p:nvPr/>
              </p:nvSpPr>
              <p:spPr bwMode="auto">
                <a:xfrm>
                  <a:off x="5462588" y="5214938"/>
                  <a:ext cx="17463" cy="17462"/>
                </a:xfrm>
                <a:custGeom>
                  <a:avLst/>
                  <a:gdLst>
                    <a:gd name="T0" fmla="*/ 56 w 113"/>
                    <a:gd name="T1" fmla="*/ 0 h 113"/>
                    <a:gd name="T2" fmla="*/ 74 w 113"/>
                    <a:gd name="T3" fmla="*/ 3 h 113"/>
                    <a:gd name="T4" fmla="*/ 90 w 113"/>
                    <a:gd name="T5" fmla="*/ 12 h 113"/>
                    <a:gd name="T6" fmla="*/ 102 w 113"/>
                    <a:gd name="T7" fmla="*/ 23 h 113"/>
                    <a:gd name="T8" fmla="*/ 111 w 113"/>
                    <a:gd name="T9" fmla="*/ 39 h 113"/>
                    <a:gd name="T10" fmla="*/ 113 w 113"/>
                    <a:gd name="T11" fmla="*/ 57 h 113"/>
                    <a:gd name="T12" fmla="*/ 111 w 113"/>
                    <a:gd name="T13" fmla="*/ 75 h 113"/>
                    <a:gd name="T14" fmla="*/ 102 w 113"/>
                    <a:gd name="T15" fmla="*/ 90 h 113"/>
                    <a:gd name="T16" fmla="*/ 90 w 113"/>
                    <a:gd name="T17" fmla="*/ 103 h 113"/>
                    <a:gd name="T18" fmla="*/ 74 w 113"/>
                    <a:gd name="T19" fmla="*/ 110 h 113"/>
                    <a:gd name="T20" fmla="*/ 56 w 113"/>
                    <a:gd name="T21" fmla="*/ 113 h 113"/>
                    <a:gd name="T22" fmla="*/ 38 w 113"/>
                    <a:gd name="T23" fmla="*/ 110 h 113"/>
                    <a:gd name="T24" fmla="*/ 23 w 113"/>
                    <a:gd name="T25" fmla="*/ 103 h 113"/>
                    <a:gd name="T26" fmla="*/ 11 w 113"/>
                    <a:gd name="T27" fmla="*/ 90 h 113"/>
                    <a:gd name="T28" fmla="*/ 2 w 113"/>
                    <a:gd name="T29" fmla="*/ 75 h 113"/>
                    <a:gd name="T30" fmla="*/ 0 w 113"/>
                    <a:gd name="T31" fmla="*/ 57 h 113"/>
                    <a:gd name="T32" fmla="*/ 2 w 113"/>
                    <a:gd name="T33" fmla="*/ 39 h 113"/>
                    <a:gd name="T34" fmla="*/ 11 w 113"/>
                    <a:gd name="T35" fmla="*/ 23 h 113"/>
                    <a:gd name="T36" fmla="*/ 23 w 113"/>
                    <a:gd name="T37" fmla="*/ 12 h 113"/>
                    <a:gd name="T38" fmla="*/ 38 w 113"/>
                    <a:gd name="T39" fmla="*/ 3 h 113"/>
                    <a:gd name="T40" fmla="*/ 56 w 113"/>
                    <a:gd name="T41" fmla="*/ 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3" h="113">
                      <a:moveTo>
                        <a:pt x="56" y="0"/>
                      </a:moveTo>
                      <a:lnTo>
                        <a:pt x="74" y="3"/>
                      </a:lnTo>
                      <a:lnTo>
                        <a:pt x="90" y="12"/>
                      </a:lnTo>
                      <a:lnTo>
                        <a:pt x="102" y="23"/>
                      </a:lnTo>
                      <a:lnTo>
                        <a:pt x="111" y="39"/>
                      </a:lnTo>
                      <a:lnTo>
                        <a:pt x="113" y="57"/>
                      </a:lnTo>
                      <a:lnTo>
                        <a:pt x="111" y="75"/>
                      </a:lnTo>
                      <a:lnTo>
                        <a:pt x="102" y="90"/>
                      </a:lnTo>
                      <a:lnTo>
                        <a:pt x="90" y="103"/>
                      </a:lnTo>
                      <a:lnTo>
                        <a:pt x="74" y="110"/>
                      </a:lnTo>
                      <a:lnTo>
                        <a:pt x="56" y="113"/>
                      </a:lnTo>
                      <a:lnTo>
                        <a:pt x="38" y="110"/>
                      </a:lnTo>
                      <a:lnTo>
                        <a:pt x="23" y="103"/>
                      </a:lnTo>
                      <a:lnTo>
                        <a:pt x="11" y="90"/>
                      </a:lnTo>
                      <a:lnTo>
                        <a:pt x="2" y="75"/>
                      </a:lnTo>
                      <a:lnTo>
                        <a:pt x="0" y="57"/>
                      </a:lnTo>
                      <a:lnTo>
                        <a:pt x="2" y="39"/>
                      </a:lnTo>
                      <a:lnTo>
                        <a:pt x="11" y="23"/>
                      </a:lnTo>
                      <a:lnTo>
                        <a:pt x="23" y="12"/>
                      </a:lnTo>
                      <a:lnTo>
                        <a:pt x="38" y="3"/>
                      </a:lnTo>
                      <a:lnTo>
                        <a:pt x="5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4" name="Freeform 529"/>
                <p:cNvSpPr>
                  <a:spLocks/>
                </p:cNvSpPr>
                <p:nvPr/>
              </p:nvSpPr>
              <p:spPr bwMode="auto">
                <a:xfrm>
                  <a:off x="5408613" y="5267325"/>
                  <a:ext cx="17463" cy="19050"/>
                </a:xfrm>
                <a:custGeom>
                  <a:avLst/>
                  <a:gdLst>
                    <a:gd name="T0" fmla="*/ 57 w 114"/>
                    <a:gd name="T1" fmla="*/ 0 h 113"/>
                    <a:gd name="T2" fmla="*/ 75 w 114"/>
                    <a:gd name="T3" fmla="*/ 3 h 113"/>
                    <a:gd name="T4" fmla="*/ 91 w 114"/>
                    <a:gd name="T5" fmla="*/ 12 h 113"/>
                    <a:gd name="T6" fmla="*/ 103 w 114"/>
                    <a:gd name="T7" fmla="*/ 23 h 113"/>
                    <a:gd name="T8" fmla="*/ 111 w 114"/>
                    <a:gd name="T9" fmla="*/ 39 h 113"/>
                    <a:gd name="T10" fmla="*/ 114 w 114"/>
                    <a:gd name="T11" fmla="*/ 56 h 113"/>
                    <a:gd name="T12" fmla="*/ 111 w 114"/>
                    <a:gd name="T13" fmla="*/ 74 h 113"/>
                    <a:gd name="T14" fmla="*/ 103 w 114"/>
                    <a:gd name="T15" fmla="*/ 90 h 113"/>
                    <a:gd name="T16" fmla="*/ 91 w 114"/>
                    <a:gd name="T17" fmla="*/ 102 h 113"/>
                    <a:gd name="T18" fmla="*/ 75 w 114"/>
                    <a:gd name="T19" fmla="*/ 110 h 113"/>
                    <a:gd name="T20" fmla="*/ 57 w 114"/>
                    <a:gd name="T21" fmla="*/ 113 h 113"/>
                    <a:gd name="T22" fmla="*/ 39 w 114"/>
                    <a:gd name="T23" fmla="*/ 110 h 113"/>
                    <a:gd name="T24" fmla="*/ 24 w 114"/>
                    <a:gd name="T25" fmla="*/ 102 h 113"/>
                    <a:gd name="T26" fmla="*/ 12 w 114"/>
                    <a:gd name="T27" fmla="*/ 90 h 113"/>
                    <a:gd name="T28" fmla="*/ 4 w 114"/>
                    <a:gd name="T29" fmla="*/ 74 h 113"/>
                    <a:gd name="T30" fmla="*/ 0 w 114"/>
                    <a:gd name="T31" fmla="*/ 56 h 113"/>
                    <a:gd name="T32" fmla="*/ 4 w 114"/>
                    <a:gd name="T33" fmla="*/ 39 h 113"/>
                    <a:gd name="T34" fmla="*/ 12 w 114"/>
                    <a:gd name="T35" fmla="*/ 23 h 113"/>
                    <a:gd name="T36" fmla="*/ 24 w 114"/>
                    <a:gd name="T37" fmla="*/ 12 h 113"/>
                    <a:gd name="T38" fmla="*/ 39 w 114"/>
                    <a:gd name="T39" fmla="*/ 3 h 113"/>
                    <a:gd name="T40" fmla="*/ 57 w 114"/>
                    <a:gd name="T41" fmla="*/ 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4" h="113">
                      <a:moveTo>
                        <a:pt x="57" y="0"/>
                      </a:moveTo>
                      <a:lnTo>
                        <a:pt x="75" y="3"/>
                      </a:lnTo>
                      <a:lnTo>
                        <a:pt x="91" y="12"/>
                      </a:lnTo>
                      <a:lnTo>
                        <a:pt x="103" y="23"/>
                      </a:lnTo>
                      <a:lnTo>
                        <a:pt x="111" y="39"/>
                      </a:lnTo>
                      <a:lnTo>
                        <a:pt x="114" y="56"/>
                      </a:lnTo>
                      <a:lnTo>
                        <a:pt x="111" y="74"/>
                      </a:lnTo>
                      <a:lnTo>
                        <a:pt x="103" y="90"/>
                      </a:lnTo>
                      <a:lnTo>
                        <a:pt x="91" y="102"/>
                      </a:lnTo>
                      <a:lnTo>
                        <a:pt x="75" y="110"/>
                      </a:lnTo>
                      <a:lnTo>
                        <a:pt x="57" y="113"/>
                      </a:lnTo>
                      <a:lnTo>
                        <a:pt x="39" y="110"/>
                      </a:lnTo>
                      <a:lnTo>
                        <a:pt x="24" y="102"/>
                      </a:lnTo>
                      <a:lnTo>
                        <a:pt x="12" y="90"/>
                      </a:lnTo>
                      <a:lnTo>
                        <a:pt x="4" y="74"/>
                      </a:lnTo>
                      <a:lnTo>
                        <a:pt x="0" y="56"/>
                      </a:lnTo>
                      <a:lnTo>
                        <a:pt x="4" y="39"/>
                      </a:lnTo>
                      <a:lnTo>
                        <a:pt x="12" y="23"/>
                      </a:lnTo>
                      <a:lnTo>
                        <a:pt x="24" y="12"/>
                      </a:lnTo>
                      <a:lnTo>
                        <a:pt x="39" y="3"/>
                      </a:lnTo>
                      <a:lnTo>
                        <a:pt x="5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5" name="Freeform 530"/>
                <p:cNvSpPr>
                  <a:spLocks/>
                </p:cNvSpPr>
                <p:nvPr/>
              </p:nvSpPr>
              <p:spPr bwMode="auto">
                <a:xfrm>
                  <a:off x="5462588" y="5267325"/>
                  <a:ext cx="17463" cy="19050"/>
                </a:xfrm>
                <a:custGeom>
                  <a:avLst/>
                  <a:gdLst>
                    <a:gd name="T0" fmla="*/ 56 w 113"/>
                    <a:gd name="T1" fmla="*/ 0 h 113"/>
                    <a:gd name="T2" fmla="*/ 74 w 113"/>
                    <a:gd name="T3" fmla="*/ 3 h 113"/>
                    <a:gd name="T4" fmla="*/ 90 w 113"/>
                    <a:gd name="T5" fmla="*/ 12 h 113"/>
                    <a:gd name="T6" fmla="*/ 102 w 113"/>
                    <a:gd name="T7" fmla="*/ 23 h 113"/>
                    <a:gd name="T8" fmla="*/ 111 w 113"/>
                    <a:gd name="T9" fmla="*/ 39 h 113"/>
                    <a:gd name="T10" fmla="*/ 113 w 113"/>
                    <a:gd name="T11" fmla="*/ 56 h 113"/>
                    <a:gd name="T12" fmla="*/ 111 w 113"/>
                    <a:gd name="T13" fmla="*/ 74 h 113"/>
                    <a:gd name="T14" fmla="*/ 102 w 113"/>
                    <a:gd name="T15" fmla="*/ 90 h 113"/>
                    <a:gd name="T16" fmla="*/ 90 w 113"/>
                    <a:gd name="T17" fmla="*/ 102 h 113"/>
                    <a:gd name="T18" fmla="*/ 74 w 113"/>
                    <a:gd name="T19" fmla="*/ 110 h 113"/>
                    <a:gd name="T20" fmla="*/ 56 w 113"/>
                    <a:gd name="T21" fmla="*/ 113 h 113"/>
                    <a:gd name="T22" fmla="*/ 38 w 113"/>
                    <a:gd name="T23" fmla="*/ 110 h 113"/>
                    <a:gd name="T24" fmla="*/ 23 w 113"/>
                    <a:gd name="T25" fmla="*/ 102 h 113"/>
                    <a:gd name="T26" fmla="*/ 11 w 113"/>
                    <a:gd name="T27" fmla="*/ 90 h 113"/>
                    <a:gd name="T28" fmla="*/ 2 w 113"/>
                    <a:gd name="T29" fmla="*/ 74 h 113"/>
                    <a:gd name="T30" fmla="*/ 0 w 113"/>
                    <a:gd name="T31" fmla="*/ 56 h 113"/>
                    <a:gd name="T32" fmla="*/ 2 w 113"/>
                    <a:gd name="T33" fmla="*/ 39 h 113"/>
                    <a:gd name="T34" fmla="*/ 11 w 113"/>
                    <a:gd name="T35" fmla="*/ 23 h 113"/>
                    <a:gd name="T36" fmla="*/ 23 w 113"/>
                    <a:gd name="T37" fmla="*/ 12 h 113"/>
                    <a:gd name="T38" fmla="*/ 38 w 113"/>
                    <a:gd name="T39" fmla="*/ 3 h 113"/>
                    <a:gd name="T40" fmla="*/ 56 w 113"/>
                    <a:gd name="T41" fmla="*/ 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3" h="113">
                      <a:moveTo>
                        <a:pt x="56" y="0"/>
                      </a:moveTo>
                      <a:lnTo>
                        <a:pt x="74" y="3"/>
                      </a:lnTo>
                      <a:lnTo>
                        <a:pt x="90" y="12"/>
                      </a:lnTo>
                      <a:lnTo>
                        <a:pt x="102" y="23"/>
                      </a:lnTo>
                      <a:lnTo>
                        <a:pt x="111" y="39"/>
                      </a:lnTo>
                      <a:lnTo>
                        <a:pt x="113" y="56"/>
                      </a:lnTo>
                      <a:lnTo>
                        <a:pt x="111" y="74"/>
                      </a:lnTo>
                      <a:lnTo>
                        <a:pt x="102" y="90"/>
                      </a:lnTo>
                      <a:lnTo>
                        <a:pt x="90" y="102"/>
                      </a:lnTo>
                      <a:lnTo>
                        <a:pt x="74" y="110"/>
                      </a:lnTo>
                      <a:lnTo>
                        <a:pt x="56" y="113"/>
                      </a:lnTo>
                      <a:lnTo>
                        <a:pt x="38" y="110"/>
                      </a:lnTo>
                      <a:lnTo>
                        <a:pt x="23" y="102"/>
                      </a:lnTo>
                      <a:lnTo>
                        <a:pt x="11" y="90"/>
                      </a:lnTo>
                      <a:lnTo>
                        <a:pt x="2" y="74"/>
                      </a:lnTo>
                      <a:lnTo>
                        <a:pt x="0" y="56"/>
                      </a:lnTo>
                      <a:lnTo>
                        <a:pt x="2" y="39"/>
                      </a:lnTo>
                      <a:lnTo>
                        <a:pt x="11" y="23"/>
                      </a:lnTo>
                      <a:lnTo>
                        <a:pt x="23" y="12"/>
                      </a:lnTo>
                      <a:lnTo>
                        <a:pt x="38" y="3"/>
                      </a:lnTo>
                      <a:lnTo>
                        <a:pt x="5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6" name="Freeform 531"/>
                <p:cNvSpPr>
                  <a:spLocks/>
                </p:cNvSpPr>
                <p:nvPr/>
              </p:nvSpPr>
              <p:spPr bwMode="auto">
                <a:xfrm>
                  <a:off x="5435600" y="5240338"/>
                  <a:ext cx="17463" cy="19050"/>
                </a:xfrm>
                <a:custGeom>
                  <a:avLst/>
                  <a:gdLst>
                    <a:gd name="T0" fmla="*/ 57 w 113"/>
                    <a:gd name="T1" fmla="*/ 0 h 113"/>
                    <a:gd name="T2" fmla="*/ 74 w 113"/>
                    <a:gd name="T3" fmla="*/ 3 h 113"/>
                    <a:gd name="T4" fmla="*/ 90 w 113"/>
                    <a:gd name="T5" fmla="*/ 10 h 113"/>
                    <a:gd name="T6" fmla="*/ 102 w 113"/>
                    <a:gd name="T7" fmla="*/ 23 h 113"/>
                    <a:gd name="T8" fmla="*/ 110 w 113"/>
                    <a:gd name="T9" fmla="*/ 38 h 113"/>
                    <a:gd name="T10" fmla="*/ 113 w 113"/>
                    <a:gd name="T11" fmla="*/ 56 h 113"/>
                    <a:gd name="T12" fmla="*/ 110 w 113"/>
                    <a:gd name="T13" fmla="*/ 74 h 113"/>
                    <a:gd name="T14" fmla="*/ 102 w 113"/>
                    <a:gd name="T15" fmla="*/ 90 h 113"/>
                    <a:gd name="T16" fmla="*/ 90 w 113"/>
                    <a:gd name="T17" fmla="*/ 101 h 113"/>
                    <a:gd name="T18" fmla="*/ 74 w 113"/>
                    <a:gd name="T19" fmla="*/ 109 h 113"/>
                    <a:gd name="T20" fmla="*/ 57 w 113"/>
                    <a:gd name="T21" fmla="*/ 113 h 113"/>
                    <a:gd name="T22" fmla="*/ 39 w 113"/>
                    <a:gd name="T23" fmla="*/ 109 h 113"/>
                    <a:gd name="T24" fmla="*/ 23 w 113"/>
                    <a:gd name="T25" fmla="*/ 101 h 113"/>
                    <a:gd name="T26" fmla="*/ 10 w 113"/>
                    <a:gd name="T27" fmla="*/ 90 h 113"/>
                    <a:gd name="T28" fmla="*/ 3 w 113"/>
                    <a:gd name="T29" fmla="*/ 74 h 113"/>
                    <a:gd name="T30" fmla="*/ 0 w 113"/>
                    <a:gd name="T31" fmla="*/ 56 h 113"/>
                    <a:gd name="T32" fmla="*/ 3 w 113"/>
                    <a:gd name="T33" fmla="*/ 38 h 113"/>
                    <a:gd name="T34" fmla="*/ 10 w 113"/>
                    <a:gd name="T35" fmla="*/ 23 h 113"/>
                    <a:gd name="T36" fmla="*/ 23 w 113"/>
                    <a:gd name="T37" fmla="*/ 10 h 113"/>
                    <a:gd name="T38" fmla="*/ 39 w 113"/>
                    <a:gd name="T39" fmla="*/ 3 h 113"/>
                    <a:gd name="T40" fmla="*/ 57 w 113"/>
                    <a:gd name="T41" fmla="*/ 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3" h="113">
                      <a:moveTo>
                        <a:pt x="57" y="0"/>
                      </a:moveTo>
                      <a:lnTo>
                        <a:pt x="74" y="3"/>
                      </a:lnTo>
                      <a:lnTo>
                        <a:pt x="90" y="10"/>
                      </a:lnTo>
                      <a:lnTo>
                        <a:pt x="102" y="23"/>
                      </a:lnTo>
                      <a:lnTo>
                        <a:pt x="110" y="38"/>
                      </a:lnTo>
                      <a:lnTo>
                        <a:pt x="113" y="56"/>
                      </a:lnTo>
                      <a:lnTo>
                        <a:pt x="110" y="74"/>
                      </a:lnTo>
                      <a:lnTo>
                        <a:pt x="102" y="90"/>
                      </a:lnTo>
                      <a:lnTo>
                        <a:pt x="90" y="101"/>
                      </a:lnTo>
                      <a:lnTo>
                        <a:pt x="74" y="109"/>
                      </a:lnTo>
                      <a:lnTo>
                        <a:pt x="57" y="113"/>
                      </a:lnTo>
                      <a:lnTo>
                        <a:pt x="39" y="109"/>
                      </a:lnTo>
                      <a:lnTo>
                        <a:pt x="23" y="101"/>
                      </a:lnTo>
                      <a:lnTo>
                        <a:pt x="10" y="90"/>
                      </a:lnTo>
                      <a:lnTo>
                        <a:pt x="3" y="74"/>
                      </a:lnTo>
                      <a:lnTo>
                        <a:pt x="0" y="56"/>
                      </a:lnTo>
                      <a:lnTo>
                        <a:pt x="3" y="38"/>
                      </a:lnTo>
                      <a:lnTo>
                        <a:pt x="10" y="23"/>
                      </a:lnTo>
                      <a:lnTo>
                        <a:pt x="23" y="10"/>
                      </a:lnTo>
                      <a:lnTo>
                        <a:pt x="39" y="3"/>
                      </a:lnTo>
                      <a:lnTo>
                        <a:pt x="5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7" name="Freeform 532"/>
                <p:cNvSpPr>
                  <a:spLocks/>
                </p:cNvSpPr>
                <p:nvPr/>
              </p:nvSpPr>
              <p:spPr bwMode="auto">
                <a:xfrm>
                  <a:off x="5435600" y="5294313"/>
                  <a:ext cx="17463" cy="19050"/>
                </a:xfrm>
                <a:custGeom>
                  <a:avLst/>
                  <a:gdLst>
                    <a:gd name="T0" fmla="*/ 57 w 113"/>
                    <a:gd name="T1" fmla="*/ 0 h 113"/>
                    <a:gd name="T2" fmla="*/ 74 w 113"/>
                    <a:gd name="T3" fmla="*/ 4 h 113"/>
                    <a:gd name="T4" fmla="*/ 90 w 113"/>
                    <a:gd name="T5" fmla="*/ 11 h 113"/>
                    <a:gd name="T6" fmla="*/ 102 w 113"/>
                    <a:gd name="T7" fmla="*/ 23 h 113"/>
                    <a:gd name="T8" fmla="*/ 110 w 113"/>
                    <a:gd name="T9" fmla="*/ 39 h 113"/>
                    <a:gd name="T10" fmla="*/ 113 w 113"/>
                    <a:gd name="T11" fmla="*/ 57 h 113"/>
                    <a:gd name="T12" fmla="*/ 110 w 113"/>
                    <a:gd name="T13" fmla="*/ 75 h 113"/>
                    <a:gd name="T14" fmla="*/ 102 w 113"/>
                    <a:gd name="T15" fmla="*/ 90 h 113"/>
                    <a:gd name="T16" fmla="*/ 90 w 113"/>
                    <a:gd name="T17" fmla="*/ 102 h 113"/>
                    <a:gd name="T18" fmla="*/ 74 w 113"/>
                    <a:gd name="T19" fmla="*/ 110 h 113"/>
                    <a:gd name="T20" fmla="*/ 57 w 113"/>
                    <a:gd name="T21" fmla="*/ 113 h 113"/>
                    <a:gd name="T22" fmla="*/ 39 w 113"/>
                    <a:gd name="T23" fmla="*/ 110 h 113"/>
                    <a:gd name="T24" fmla="*/ 23 w 113"/>
                    <a:gd name="T25" fmla="*/ 102 h 113"/>
                    <a:gd name="T26" fmla="*/ 10 w 113"/>
                    <a:gd name="T27" fmla="*/ 90 h 113"/>
                    <a:gd name="T28" fmla="*/ 3 w 113"/>
                    <a:gd name="T29" fmla="*/ 75 h 113"/>
                    <a:gd name="T30" fmla="*/ 0 w 113"/>
                    <a:gd name="T31" fmla="*/ 57 h 113"/>
                    <a:gd name="T32" fmla="*/ 3 w 113"/>
                    <a:gd name="T33" fmla="*/ 39 h 113"/>
                    <a:gd name="T34" fmla="*/ 10 w 113"/>
                    <a:gd name="T35" fmla="*/ 23 h 113"/>
                    <a:gd name="T36" fmla="*/ 23 w 113"/>
                    <a:gd name="T37" fmla="*/ 11 h 113"/>
                    <a:gd name="T38" fmla="*/ 39 w 113"/>
                    <a:gd name="T39" fmla="*/ 4 h 113"/>
                    <a:gd name="T40" fmla="*/ 57 w 113"/>
                    <a:gd name="T41" fmla="*/ 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3" h="113">
                      <a:moveTo>
                        <a:pt x="57" y="0"/>
                      </a:moveTo>
                      <a:lnTo>
                        <a:pt x="74" y="4"/>
                      </a:lnTo>
                      <a:lnTo>
                        <a:pt x="90" y="11"/>
                      </a:lnTo>
                      <a:lnTo>
                        <a:pt x="102" y="23"/>
                      </a:lnTo>
                      <a:lnTo>
                        <a:pt x="110" y="39"/>
                      </a:lnTo>
                      <a:lnTo>
                        <a:pt x="113" y="57"/>
                      </a:lnTo>
                      <a:lnTo>
                        <a:pt x="110" y="75"/>
                      </a:lnTo>
                      <a:lnTo>
                        <a:pt x="102" y="90"/>
                      </a:lnTo>
                      <a:lnTo>
                        <a:pt x="90" y="102"/>
                      </a:lnTo>
                      <a:lnTo>
                        <a:pt x="74" y="110"/>
                      </a:lnTo>
                      <a:lnTo>
                        <a:pt x="57" y="113"/>
                      </a:lnTo>
                      <a:lnTo>
                        <a:pt x="39" y="110"/>
                      </a:lnTo>
                      <a:lnTo>
                        <a:pt x="23" y="102"/>
                      </a:lnTo>
                      <a:lnTo>
                        <a:pt x="10" y="90"/>
                      </a:lnTo>
                      <a:lnTo>
                        <a:pt x="3" y="75"/>
                      </a:lnTo>
                      <a:lnTo>
                        <a:pt x="0" y="57"/>
                      </a:lnTo>
                      <a:lnTo>
                        <a:pt x="3" y="39"/>
                      </a:lnTo>
                      <a:lnTo>
                        <a:pt x="10" y="23"/>
                      </a:lnTo>
                      <a:lnTo>
                        <a:pt x="23" y="11"/>
                      </a:lnTo>
                      <a:lnTo>
                        <a:pt x="39" y="4"/>
                      </a:lnTo>
                      <a:lnTo>
                        <a:pt x="5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8" name="Freeform 533"/>
                <p:cNvSpPr>
                  <a:spLocks/>
                </p:cNvSpPr>
                <p:nvPr/>
              </p:nvSpPr>
              <p:spPr bwMode="auto">
                <a:xfrm>
                  <a:off x="5408613" y="5321300"/>
                  <a:ext cx="17463" cy="17462"/>
                </a:xfrm>
                <a:custGeom>
                  <a:avLst/>
                  <a:gdLst>
                    <a:gd name="T0" fmla="*/ 57 w 114"/>
                    <a:gd name="T1" fmla="*/ 0 h 113"/>
                    <a:gd name="T2" fmla="*/ 75 w 114"/>
                    <a:gd name="T3" fmla="*/ 2 h 113"/>
                    <a:gd name="T4" fmla="*/ 91 w 114"/>
                    <a:gd name="T5" fmla="*/ 10 h 113"/>
                    <a:gd name="T6" fmla="*/ 103 w 114"/>
                    <a:gd name="T7" fmla="*/ 23 h 113"/>
                    <a:gd name="T8" fmla="*/ 111 w 114"/>
                    <a:gd name="T9" fmla="*/ 38 h 113"/>
                    <a:gd name="T10" fmla="*/ 114 w 114"/>
                    <a:gd name="T11" fmla="*/ 56 h 113"/>
                    <a:gd name="T12" fmla="*/ 111 w 114"/>
                    <a:gd name="T13" fmla="*/ 74 h 113"/>
                    <a:gd name="T14" fmla="*/ 103 w 114"/>
                    <a:gd name="T15" fmla="*/ 89 h 113"/>
                    <a:gd name="T16" fmla="*/ 91 w 114"/>
                    <a:gd name="T17" fmla="*/ 101 h 113"/>
                    <a:gd name="T18" fmla="*/ 75 w 114"/>
                    <a:gd name="T19" fmla="*/ 110 h 113"/>
                    <a:gd name="T20" fmla="*/ 57 w 114"/>
                    <a:gd name="T21" fmla="*/ 113 h 113"/>
                    <a:gd name="T22" fmla="*/ 39 w 114"/>
                    <a:gd name="T23" fmla="*/ 110 h 113"/>
                    <a:gd name="T24" fmla="*/ 24 w 114"/>
                    <a:gd name="T25" fmla="*/ 101 h 113"/>
                    <a:gd name="T26" fmla="*/ 12 w 114"/>
                    <a:gd name="T27" fmla="*/ 89 h 113"/>
                    <a:gd name="T28" fmla="*/ 4 w 114"/>
                    <a:gd name="T29" fmla="*/ 74 h 113"/>
                    <a:gd name="T30" fmla="*/ 0 w 114"/>
                    <a:gd name="T31" fmla="*/ 56 h 113"/>
                    <a:gd name="T32" fmla="*/ 4 w 114"/>
                    <a:gd name="T33" fmla="*/ 38 h 113"/>
                    <a:gd name="T34" fmla="*/ 12 w 114"/>
                    <a:gd name="T35" fmla="*/ 23 h 113"/>
                    <a:gd name="T36" fmla="*/ 24 w 114"/>
                    <a:gd name="T37" fmla="*/ 10 h 113"/>
                    <a:gd name="T38" fmla="*/ 39 w 114"/>
                    <a:gd name="T39" fmla="*/ 2 h 113"/>
                    <a:gd name="T40" fmla="*/ 57 w 114"/>
                    <a:gd name="T41" fmla="*/ 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4" h="113">
                      <a:moveTo>
                        <a:pt x="57" y="0"/>
                      </a:moveTo>
                      <a:lnTo>
                        <a:pt x="75" y="2"/>
                      </a:lnTo>
                      <a:lnTo>
                        <a:pt x="91" y="10"/>
                      </a:lnTo>
                      <a:lnTo>
                        <a:pt x="103" y="23"/>
                      </a:lnTo>
                      <a:lnTo>
                        <a:pt x="111" y="38"/>
                      </a:lnTo>
                      <a:lnTo>
                        <a:pt x="114" y="56"/>
                      </a:lnTo>
                      <a:lnTo>
                        <a:pt x="111" y="74"/>
                      </a:lnTo>
                      <a:lnTo>
                        <a:pt x="103" y="89"/>
                      </a:lnTo>
                      <a:lnTo>
                        <a:pt x="91" y="101"/>
                      </a:lnTo>
                      <a:lnTo>
                        <a:pt x="75" y="110"/>
                      </a:lnTo>
                      <a:lnTo>
                        <a:pt x="57" y="113"/>
                      </a:lnTo>
                      <a:lnTo>
                        <a:pt x="39" y="110"/>
                      </a:lnTo>
                      <a:lnTo>
                        <a:pt x="24" y="101"/>
                      </a:lnTo>
                      <a:lnTo>
                        <a:pt x="12" y="89"/>
                      </a:lnTo>
                      <a:lnTo>
                        <a:pt x="4" y="74"/>
                      </a:lnTo>
                      <a:lnTo>
                        <a:pt x="0" y="56"/>
                      </a:lnTo>
                      <a:lnTo>
                        <a:pt x="4" y="38"/>
                      </a:lnTo>
                      <a:lnTo>
                        <a:pt x="12" y="23"/>
                      </a:lnTo>
                      <a:lnTo>
                        <a:pt x="24" y="10"/>
                      </a:lnTo>
                      <a:lnTo>
                        <a:pt x="39" y="2"/>
                      </a:lnTo>
                      <a:lnTo>
                        <a:pt x="5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9" name="Freeform 534"/>
                <p:cNvSpPr>
                  <a:spLocks/>
                </p:cNvSpPr>
                <p:nvPr/>
              </p:nvSpPr>
              <p:spPr bwMode="auto">
                <a:xfrm>
                  <a:off x="5462588" y="5321300"/>
                  <a:ext cx="17463" cy="17462"/>
                </a:xfrm>
                <a:custGeom>
                  <a:avLst/>
                  <a:gdLst>
                    <a:gd name="T0" fmla="*/ 56 w 113"/>
                    <a:gd name="T1" fmla="*/ 0 h 113"/>
                    <a:gd name="T2" fmla="*/ 74 w 113"/>
                    <a:gd name="T3" fmla="*/ 2 h 113"/>
                    <a:gd name="T4" fmla="*/ 90 w 113"/>
                    <a:gd name="T5" fmla="*/ 10 h 113"/>
                    <a:gd name="T6" fmla="*/ 102 w 113"/>
                    <a:gd name="T7" fmla="*/ 23 h 113"/>
                    <a:gd name="T8" fmla="*/ 111 w 113"/>
                    <a:gd name="T9" fmla="*/ 38 h 113"/>
                    <a:gd name="T10" fmla="*/ 113 w 113"/>
                    <a:gd name="T11" fmla="*/ 56 h 113"/>
                    <a:gd name="T12" fmla="*/ 111 w 113"/>
                    <a:gd name="T13" fmla="*/ 74 h 113"/>
                    <a:gd name="T14" fmla="*/ 102 w 113"/>
                    <a:gd name="T15" fmla="*/ 89 h 113"/>
                    <a:gd name="T16" fmla="*/ 90 w 113"/>
                    <a:gd name="T17" fmla="*/ 101 h 113"/>
                    <a:gd name="T18" fmla="*/ 74 w 113"/>
                    <a:gd name="T19" fmla="*/ 110 h 113"/>
                    <a:gd name="T20" fmla="*/ 56 w 113"/>
                    <a:gd name="T21" fmla="*/ 113 h 113"/>
                    <a:gd name="T22" fmla="*/ 38 w 113"/>
                    <a:gd name="T23" fmla="*/ 110 h 113"/>
                    <a:gd name="T24" fmla="*/ 23 w 113"/>
                    <a:gd name="T25" fmla="*/ 101 h 113"/>
                    <a:gd name="T26" fmla="*/ 11 w 113"/>
                    <a:gd name="T27" fmla="*/ 89 h 113"/>
                    <a:gd name="T28" fmla="*/ 2 w 113"/>
                    <a:gd name="T29" fmla="*/ 74 h 113"/>
                    <a:gd name="T30" fmla="*/ 0 w 113"/>
                    <a:gd name="T31" fmla="*/ 56 h 113"/>
                    <a:gd name="T32" fmla="*/ 2 w 113"/>
                    <a:gd name="T33" fmla="*/ 38 h 113"/>
                    <a:gd name="T34" fmla="*/ 11 w 113"/>
                    <a:gd name="T35" fmla="*/ 23 h 113"/>
                    <a:gd name="T36" fmla="*/ 23 w 113"/>
                    <a:gd name="T37" fmla="*/ 10 h 113"/>
                    <a:gd name="T38" fmla="*/ 38 w 113"/>
                    <a:gd name="T39" fmla="*/ 2 h 113"/>
                    <a:gd name="T40" fmla="*/ 56 w 113"/>
                    <a:gd name="T41" fmla="*/ 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3" h="113">
                      <a:moveTo>
                        <a:pt x="56" y="0"/>
                      </a:moveTo>
                      <a:lnTo>
                        <a:pt x="74" y="2"/>
                      </a:lnTo>
                      <a:lnTo>
                        <a:pt x="90" y="10"/>
                      </a:lnTo>
                      <a:lnTo>
                        <a:pt x="102" y="23"/>
                      </a:lnTo>
                      <a:lnTo>
                        <a:pt x="111" y="38"/>
                      </a:lnTo>
                      <a:lnTo>
                        <a:pt x="113" y="56"/>
                      </a:lnTo>
                      <a:lnTo>
                        <a:pt x="111" y="74"/>
                      </a:lnTo>
                      <a:lnTo>
                        <a:pt x="102" y="89"/>
                      </a:lnTo>
                      <a:lnTo>
                        <a:pt x="90" y="101"/>
                      </a:lnTo>
                      <a:lnTo>
                        <a:pt x="74" y="110"/>
                      </a:lnTo>
                      <a:lnTo>
                        <a:pt x="56" y="113"/>
                      </a:lnTo>
                      <a:lnTo>
                        <a:pt x="38" y="110"/>
                      </a:lnTo>
                      <a:lnTo>
                        <a:pt x="23" y="101"/>
                      </a:lnTo>
                      <a:lnTo>
                        <a:pt x="11" y="89"/>
                      </a:lnTo>
                      <a:lnTo>
                        <a:pt x="2" y="74"/>
                      </a:lnTo>
                      <a:lnTo>
                        <a:pt x="0" y="56"/>
                      </a:lnTo>
                      <a:lnTo>
                        <a:pt x="2" y="38"/>
                      </a:lnTo>
                      <a:lnTo>
                        <a:pt x="11" y="23"/>
                      </a:lnTo>
                      <a:lnTo>
                        <a:pt x="23" y="10"/>
                      </a:lnTo>
                      <a:lnTo>
                        <a:pt x="38" y="2"/>
                      </a:lnTo>
                      <a:lnTo>
                        <a:pt x="5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0" name="Freeform 535"/>
                <p:cNvSpPr>
                  <a:spLocks/>
                </p:cNvSpPr>
                <p:nvPr/>
              </p:nvSpPr>
              <p:spPr bwMode="auto">
                <a:xfrm>
                  <a:off x="5408613" y="5375275"/>
                  <a:ext cx="17463" cy="17462"/>
                </a:xfrm>
                <a:custGeom>
                  <a:avLst/>
                  <a:gdLst>
                    <a:gd name="T0" fmla="*/ 57 w 114"/>
                    <a:gd name="T1" fmla="*/ 0 h 113"/>
                    <a:gd name="T2" fmla="*/ 75 w 114"/>
                    <a:gd name="T3" fmla="*/ 4 h 113"/>
                    <a:gd name="T4" fmla="*/ 91 w 114"/>
                    <a:gd name="T5" fmla="*/ 11 h 113"/>
                    <a:gd name="T6" fmla="*/ 103 w 114"/>
                    <a:gd name="T7" fmla="*/ 23 h 113"/>
                    <a:gd name="T8" fmla="*/ 111 w 114"/>
                    <a:gd name="T9" fmla="*/ 39 h 113"/>
                    <a:gd name="T10" fmla="*/ 114 w 114"/>
                    <a:gd name="T11" fmla="*/ 57 h 113"/>
                    <a:gd name="T12" fmla="*/ 111 w 114"/>
                    <a:gd name="T13" fmla="*/ 75 h 113"/>
                    <a:gd name="T14" fmla="*/ 103 w 114"/>
                    <a:gd name="T15" fmla="*/ 90 h 113"/>
                    <a:gd name="T16" fmla="*/ 91 w 114"/>
                    <a:gd name="T17" fmla="*/ 102 h 113"/>
                    <a:gd name="T18" fmla="*/ 75 w 114"/>
                    <a:gd name="T19" fmla="*/ 110 h 113"/>
                    <a:gd name="T20" fmla="*/ 57 w 114"/>
                    <a:gd name="T21" fmla="*/ 113 h 113"/>
                    <a:gd name="T22" fmla="*/ 39 w 114"/>
                    <a:gd name="T23" fmla="*/ 110 h 113"/>
                    <a:gd name="T24" fmla="*/ 24 w 114"/>
                    <a:gd name="T25" fmla="*/ 102 h 113"/>
                    <a:gd name="T26" fmla="*/ 12 w 114"/>
                    <a:gd name="T27" fmla="*/ 90 h 113"/>
                    <a:gd name="T28" fmla="*/ 4 w 114"/>
                    <a:gd name="T29" fmla="*/ 75 h 113"/>
                    <a:gd name="T30" fmla="*/ 0 w 114"/>
                    <a:gd name="T31" fmla="*/ 57 h 113"/>
                    <a:gd name="T32" fmla="*/ 4 w 114"/>
                    <a:gd name="T33" fmla="*/ 39 h 113"/>
                    <a:gd name="T34" fmla="*/ 12 w 114"/>
                    <a:gd name="T35" fmla="*/ 23 h 113"/>
                    <a:gd name="T36" fmla="*/ 24 w 114"/>
                    <a:gd name="T37" fmla="*/ 11 h 113"/>
                    <a:gd name="T38" fmla="*/ 39 w 114"/>
                    <a:gd name="T39" fmla="*/ 4 h 113"/>
                    <a:gd name="T40" fmla="*/ 57 w 114"/>
                    <a:gd name="T41" fmla="*/ 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4" h="113">
                      <a:moveTo>
                        <a:pt x="57" y="0"/>
                      </a:moveTo>
                      <a:lnTo>
                        <a:pt x="75" y="4"/>
                      </a:lnTo>
                      <a:lnTo>
                        <a:pt x="91" y="11"/>
                      </a:lnTo>
                      <a:lnTo>
                        <a:pt x="103" y="23"/>
                      </a:lnTo>
                      <a:lnTo>
                        <a:pt x="111" y="39"/>
                      </a:lnTo>
                      <a:lnTo>
                        <a:pt x="114" y="57"/>
                      </a:lnTo>
                      <a:lnTo>
                        <a:pt x="111" y="75"/>
                      </a:lnTo>
                      <a:lnTo>
                        <a:pt x="103" y="90"/>
                      </a:lnTo>
                      <a:lnTo>
                        <a:pt x="91" y="102"/>
                      </a:lnTo>
                      <a:lnTo>
                        <a:pt x="75" y="110"/>
                      </a:lnTo>
                      <a:lnTo>
                        <a:pt x="57" y="113"/>
                      </a:lnTo>
                      <a:lnTo>
                        <a:pt x="39" y="110"/>
                      </a:lnTo>
                      <a:lnTo>
                        <a:pt x="24" y="102"/>
                      </a:lnTo>
                      <a:lnTo>
                        <a:pt x="12" y="90"/>
                      </a:lnTo>
                      <a:lnTo>
                        <a:pt x="4" y="75"/>
                      </a:lnTo>
                      <a:lnTo>
                        <a:pt x="0" y="57"/>
                      </a:lnTo>
                      <a:lnTo>
                        <a:pt x="4" y="39"/>
                      </a:lnTo>
                      <a:lnTo>
                        <a:pt x="12" y="23"/>
                      </a:lnTo>
                      <a:lnTo>
                        <a:pt x="24" y="11"/>
                      </a:lnTo>
                      <a:lnTo>
                        <a:pt x="39" y="4"/>
                      </a:lnTo>
                      <a:lnTo>
                        <a:pt x="5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1" name="Freeform 536"/>
                <p:cNvSpPr>
                  <a:spLocks/>
                </p:cNvSpPr>
                <p:nvPr/>
              </p:nvSpPr>
              <p:spPr bwMode="auto">
                <a:xfrm>
                  <a:off x="5462588" y="5375275"/>
                  <a:ext cx="17463" cy="17462"/>
                </a:xfrm>
                <a:custGeom>
                  <a:avLst/>
                  <a:gdLst>
                    <a:gd name="T0" fmla="*/ 56 w 113"/>
                    <a:gd name="T1" fmla="*/ 0 h 113"/>
                    <a:gd name="T2" fmla="*/ 74 w 113"/>
                    <a:gd name="T3" fmla="*/ 4 h 113"/>
                    <a:gd name="T4" fmla="*/ 90 w 113"/>
                    <a:gd name="T5" fmla="*/ 11 h 113"/>
                    <a:gd name="T6" fmla="*/ 102 w 113"/>
                    <a:gd name="T7" fmla="*/ 23 h 113"/>
                    <a:gd name="T8" fmla="*/ 111 w 113"/>
                    <a:gd name="T9" fmla="*/ 39 h 113"/>
                    <a:gd name="T10" fmla="*/ 113 w 113"/>
                    <a:gd name="T11" fmla="*/ 57 h 113"/>
                    <a:gd name="T12" fmla="*/ 111 w 113"/>
                    <a:gd name="T13" fmla="*/ 75 h 113"/>
                    <a:gd name="T14" fmla="*/ 102 w 113"/>
                    <a:gd name="T15" fmla="*/ 90 h 113"/>
                    <a:gd name="T16" fmla="*/ 90 w 113"/>
                    <a:gd name="T17" fmla="*/ 102 h 113"/>
                    <a:gd name="T18" fmla="*/ 74 w 113"/>
                    <a:gd name="T19" fmla="*/ 110 h 113"/>
                    <a:gd name="T20" fmla="*/ 56 w 113"/>
                    <a:gd name="T21" fmla="*/ 113 h 113"/>
                    <a:gd name="T22" fmla="*/ 38 w 113"/>
                    <a:gd name="T23" fmla="*/ 110 h 113"/>
                    <a:gd name="T24" fmla="*/ 23 w 113"/>
                    <a:gd name="T25" fmla="*/ 102 h 113"/>
                    <a:gd name="T26" fmla="*/ 11 w 113"/>
                    <a:gd name="T27" fmla="*/ 90 h 113"/>
                    <a:gd name="T28" fmla="*/ 2 w 113"/>
                    <a:gd name="T29" fmla="*/ 75 h 113"/>
                    <a:gd name="T30" fmla="*/ 0 w 113"/>
                    <a:gd name="T31" fmla="*/ 57 h 113"/>
                    <a:gd name="T32" fmla="*/ 2 w 113"/>
                    <a:gd name="T33" fmla="*/ 39 h 113"/>
                    <a:gd name="T34" fmla="*/ 11 w 113"/>
                    <a:gd name="T35" fmla="*/ 23 h 113"/>
                    <a:gd name="T36" fmla="*/ 23 w 113"/>
                    <a:gd name="T37" fmla="*/ 11 h 113"/>
                    <a:gd name="T38" fmla="*/ 38 w 113"/>
                    <a:gd name="T39" fmla="*/ 4 h 113"/>
                    <a:gd name="T40" fmla="*/ 56 w 113"/>
                    <a:gd name="T41" fmla="*/ 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3" h="113">
                      <a:moveTo>
                        <a:pt x="56" y="0"/>
                      </a:moveTo>
                      <a:lnTo>
                        <a:pt x="74" y="4"/>
                      </a:lnTo>
                      <a:lnTo>
                        <a:pt x="90" y="11"/>
                      </a:lnTo>
                      <a:lnTo>
                        <a:pt x="102" y="23"/>
                      </a:lnTo>
                      <a:lnTo>
                        <a:pt x="111" y="39"/>
                      </a:lnTo>
                      <a:lnTo>
                        <a:pt x="113" y="57"/>
                      </a:lnTo>
                      <a:lnTo>
                        <a:pt x="111" y="75"/>
                      </a:lnTo>
                      <a:lnTo>
                        <a:pt x="102" y="90"/>
                      </a:lnTo>
                      <a:lnTo>
                        <a:pt x="90" y="102"/>
                      </a:lnTo>
                      <a:lnTo>
                        <a:pt x="74" y="110"/>
                      </a:lnTo>
                      <a:lnTo>
                        <a:pt x="56" y="113"/>
                      </a:lnTo>
                      <a:lnTo>
                        <a:pt x="38" y="110"/>
                      </a:lnTo>
                      <a:lnTo>
                        <a:pt x="23" y="102"/>
                      </a:lnTo>
                      <a:lnTo>
                        <a:pt x="11" y="90"/>
                      </a:lnTo>
                      <a:lnTo>
                        <a:pt x="2" y="75"/>
                      </a:lnTo>
                      <a:lnTo>
                        <a:pt x="0" y="57"/>
                      </a:lnTo>
                      <a:lnTo>
                        <a:pt x="2" y="39"/>
                      </a:lnTo>
                      <a:lnTo>
                        <a:pt x="11" y="23"/>
                      </a:lnTo>
                      <a:lnTo>
                        <a:pt x="23" y="11"/>
                      </a:lnTo>
                      <a:lnTo>
                        <a:pt x="38" y="4"/>
                      </a:lnTo>
                      <a:lnTo>
                        <a:pt x="5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2" name="Freeform 537"/>
                <p:cNvSpPr>
                  <a:spLocks/>
                </p:cNvSpPr>
                <p:nvPr/>
              </p:nvSpPr>
              <p:spPr bwMode="auto">
                <a:xfrm>
                  <a:off x="5435600" y="5348288"/>
                  <a:ext cx="17463" cy="17462"/>
                </a:xfrm>
                <a:custGeom>
                  <a:avLst/>
                  <a:gdLst>
                    <a:gd name="T0" fmla="*/ 57 w 113"/>
                    <a:gd name="T1" fmla="*/ 0 h 113"/>
                    <a:gd name="T2" fmla="*/ 74 w 113"/>
                    <a:gd name="T3" fmla="*/ 3 h 113"/>
                    <a:gd name="T4" fmla="*/ 90 w 113"/>
                    <a:gd name="T5" fmla="*/ 12 h 113"/>
                    <a:gd name="T6" fmla="*/ 102 w 113"/>
                    <a:gd name="T7" fmla="*/ 23 h 113"/>
                    <a:gd name="T8" fmla="*/ 110 w 113"/>
                    <a:gd name="T9" fmla="*/ 39 h 113"/>
                    <a:gd name="T10" fmla="*/ 113 w 113"/>
                    <a:gd name="T11" fmla="*/ 57 h 113"/>
                    <a:gd name="T12" fmla="*/ 110 w 113"/>
                    <a:gd name="T13" fmla="*/ 74 h 113"/>
                    <a:gd name="T14" fmla="*/ 102 w 113"/>
                    <a:gd name="T15" fmla="*/ 90 h 113"/>
                    <a:gd name="T16" fmla="*/ 90 w 113"/>
                    <a:gd name="T17" fmla="*/ 103 h 113"/>
                    <a:gd name="T18" fmla="*/ 74 w 113"/>
                    <a:gd name="T19" fmla="*/ 110 h 113"/>
                    <a:gd name="T20" fmla="*/ 57 w 113"/>
                    <a:gd name="T21" fmla="*/ 113 h 113"/>
                    <a:gd name="T22" fmla="*/ 39 w 113"/>
                    <a:gd name="T23" fmla="*/ 110 h 113"/>
                    <a:gd name="T24" fmla="*/ 23 w 113"/>
                    <a:gd name="T25" fmla="*/ 103 h 113"/>
                    <a:gd name="T26" fmla="*/ 10 w 113"/>
                    <a:gd name="T27" fmla="*/ 90 h 113"/>
                    <a:gd name="T28" fmla="*/ 3 w 113"/>
                    <a:gd name="T29" fmla="*/ 74 h 113"/>
                    <a:gd name="T30" fmla="*/ 0 w 113"/>
                    <a:gd name="T31" fmla="*/ 57 h 113"/>
                    <a:gd name="T32" fmla="*/ 3 w 113"/>
                    <a:gd name="T33" fmla="*/ 39 h 113"/>
                    <a:gd name="T34" fmla="*/ 10 w 113"/>
                    <a:gd name="T35" fmla="*/ 23 h 113"/>
                    <a:gd name="T36" fmla="*/ 23 w 113"/>
                    <a:gd name="T37" fmla="*/ 12 h 113"/>
                    <a:gd name="T38" fmla="*/ 39 w 113"/>
                    <a:gd name="T39" fmla="*/ 3 h 113"/>
                    <a:gd name="T40" fmla="*/ 57 w 113"/>
                    <a:gd name="T41" fmla="*/ 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3" h="113">
                      <a:moveTo>
                        <a:pt x="57" y="0"/>
                      </a:moveTo>
                      <a:lnTo>
                        <a:pt x="74" y="3"/>
                      </a:lnTo>
                      <a:lnTo>
                        <a:pt x="90" y="12"/>
                      </a:lnTo>
                      <a:lnTo>
                        <a:pt x="102" y="23"/>
                      </a:lnTo>
                      <a:lnTo>
                        <a:pt x="110" y="39"/>
                      </a:lnTo>
                      <a:lnTo>
                        <a:pt x="113" y="57"/>
                      </a:lnTo>
                      <a:lnTo>
                        <a:pt x="110" y="74"/>
                      </a:lnTo>
                      <a:lnTo>
                        <a:pt x="102" y="90"/>
                      </a:lnTo>
                      <a:lnTo>
                        <a:pt x="90" y="103"/>
                      </a:lnTo>
                      <a:lnTo>
                        <a:pt x="74" y="110"/>
                      </a:lnTo>
                      <a:lnTo>
                        <a:pt x="57" y="113"/>
                      </a:lnTo>
                      <a:lnTo>
                        <a:pt x="39" y="110"/>
                      </a:lnTo>
                      <a:lnTo>
                        <a:pt x="23" y="103"/>
                      </a:lnTo>
                      <a:lnTo>
                        <a:pt x="10" y="90"/>
                      </a:lnTo>
                      <a:lnTo>
                        <a:pt x="3" y="74"/>
                      </a:lnTo>
                      <a:lnTo>
                        <a:pt x="0" y="57"/>
                      </a:lnTo>
                      <a:lnTo>
                        <a:pt x="3" y="39"/>
                      </a:lnTo>
                      <a:lnTo>
                        <a:pt x="10" y="23"/>
                      </a:lnTo>
                      <a:lnTo>
                        <a:pt x="23" y="12"/>
                      </a:lnTo>
                      <a:lnTo>
                        <a:pt x="39" y="3"/>
                      </a:lnTo>
                      <a:lnTo>
                        <a:pt x="5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3" name="Freeform 538"/>
                <p:cNvSpPr>
                  <a:spLocks/>
                </p:cNvSpPr>
                <p:nvPr/>
              </p:nvSpPr>
              <p:spPr bwMode="auto">
                <a:xfrm>
                  <a:off x="5435600" y="5402263"/>
                  <a:ext cx="17463" cy="17462"/>
                </a:xfrm>
                <a:custGeom>
                  <a:avLst/>
                  <a:gdLst>
                    <a:gd name="T0" fmla="*/ 57 w 113"/>
                    <a:gd name="T1" fmla="*/ 0 h 113"/>
                    <a:gd name="T2" fmla="*/ 74 w 113"/>
                    <a:gd name="T3" fmla="*/ 3 h 113"/>
                    <a:gd name="T4" fmla="*/ 90 w 113"/>
                    <a:gd name="T5" fmla="*/ 11 h 113"/>
                    <a:gd name="T6" fmla="*/ 102 w 113"/>
                    <a:gd name="T7" fmla="*/ 24 h 113"/>
                    <a:gd name="T8" fmla="*/ 110 w 113"/>
                    <a:gd name="T9" fmla="*/ 38 h 113"/>
                    <a:gd name="T10" fmla="*/ 113 w 113"/>
                    <a:gd name="T11" fmla="*/ 56 h 113"/>
                    <a:gd name="T12" fmla="*/ 110 w 113"/>
                    <a:gd name="T13" fmla="*/ 74 h 113"/>
                    <a:gd name="T14" fmla="*/ 102 w 113"/>
                    <a:gd name="T15" fmla="*/ 90 h 113"/>
                    <a:gd name="T16" fmla="*/ 90 w 113"/>
                    <a:gd name="T17" fmla="*/ 102 h 113"/>
                    <a:gd name="T18" fmla="*/ 74 w 113"/>
                    <a:gd name="T19" fmla="*/ 111 h 113"/>
                    <a:gd name="T20" fmla="*/ 57 w 113"/>
                    <a:gd name="T21" fmla="*/ 113 h 113"/>
                    <a:gd name="T22" fmla="*/ 39 w 113"/>
                    <a:gd name="T23" fmla="*/ 111 h 113"/>
                    <a:gd name="T24" fmla="*/ 23 w 113"/>
                    <a:gd name="T25" fmla="*/ 102 h 113"/>
                    <a:gd name="T26" fmla="*/ 10 w 113"/>
                    <a:gd name="T27" fmla="*/ 90 h 113"/>
                    <a:gd name="T28" fmla="*/ 3 w 113"/>
                    <a:gd name="T29" fmla="*/ 74 h 113"/>
                    <a:gd name="T30" fmla="*/ 0 w 113"/>
                    <a:gd name="T31" fmla="*/ 56 h 113"/>
                    <a:gd name="T32" fmla="*/ 3 w 113"/>
                    <a:gd name="T33" fmla="*/ 38 h 113"/>
                    <a:gd name="T34" fmla="*/ 10 w 113"/>
                    <a:gd name="T35" fmla="*/ 24 h 113"/>
                    <a:gd name="T36" fmla="*/ 23 w 113"/>
                    <a:gd name="T37" fmla="*/ 11 h 113"/>
                    <a:gd name="T38" fmla="*/ 39 w 113"/>
                    <a:gd name="T39" fmla="*/ 3 h 113"/>
                    <a:gd name="T40" fmla="*/ 57 w 113"/>
                    <a:gd name="T41" fmla="*/ 0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3" h="113">
                      <a:moveTo>
                        <a:pt x="57" y="0"/>
                      </a:moveTo>
                      <a:lnTo>
                        <a:pt x="74" y="3"/>
                      </a:lnTo>
                      <a:lnTo>
                        <a:pt x="90" y="11"/>
                      </a:lnTo>
                      <a:lnTo>
                        <a:pt x="102" y="24"/>
                      </a:lnTo>
                      <a:lnTo>
                        <a:pt x="110" y="38"/>
                      </a:lnTo>
                      <a:lnTo>
                        <a:pt x="113" y="56"/>
                      </a:lnTo>
                      <a:lnTo>
                        <a:pt x="110" y="74"/>
                      </a:lnTo>
                      <a:lnTo>
                        <a:pt x="102" y="90"/>
                      </a:lnTo>
                      <a:lnTo>
                        <a:pt x="90" y="102"/>
                      </a:lnTo>
                      <a:lnTo>
                        <a:pt x="74" y="111"/>
                      </a:lnTo>
                      <a:lnTo>
                        <a:pt x="57" y="113"/>
                      </a:lnTo>
                      <a:lnTo>
                        <a:pt x="39" y="111"/>
                      </a:lnTo>
                      <a:lnTo>
                        <a:pt x="23" y="102"/>
                      </a:lnTo>
                      <a:lnTo>
                        <a:pt x="10" y="90"/>
                      </a:lnTo>
                      <a:lnTo>
                        <a:pt x="3" y="74"/>
                      </a:lnTo>
                      <a:lnTo>
                        <a:pt x="0" y="56"/>
                      </a:lnTo>
                      <a:lnTo>
                        <a:pt x="3" y="38"/>
                      </a:lnTo>
                      <a:lnTo>
                        <a:pt x="10" y="24"/>
                      </a:lnTo>
                      <a:lnTo>
                        <a:pt x="23" y="11"/>
                      </a:lnTo>
                      <a:lnTo>
                        <a:pt x="39" y="3"/>
                      </a:lnTo>
                      <a:lnTo>
                        <a:pt x="57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graphicFrame>
        <p:nvGraphicFramePr>
          <p:cNvPr id="106" name="Таблица 10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3730951"/>
              </p:ext>
            </p:extLst>
          </p:nvPr>
        </p:nvGraphicFramePr>
        <p:xfrm>
          <a:off x="6339538" y="2886865"/>
          <a:ext cx="5094398" cy="181838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0996">
                  <a:extLst>
                    <a:ext uri="{9D8B030D-6E8A-4147-A177-3AD203B41FA5}">
                      <a16:colId xmlns:a16="http://schemas.microsoft.com/office/drawing/2014/main" val="1639305228"/>
                    </a:ext>
                  </a:extLst>
                </a:gridCol>
                <a:gridCol w="4713402">
                  <a:extLst>
                    <a:ext uri="{9D8B030D-6E8A-4147-A177-3AD203B41FA5}">
                      <a16:colId xmlns:a16="http://schemas.microsoft.com/office/drawing/2014/main" val="4030613263"/>
                    </a:ext>
                  </a:extLst>
                </a:gridCol>
              </a:tblGrid>
              <a:tr h="392463"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bg1"/>
                          </a:solidFill>
                        </a:rPr>
                        <a:t>Priority thematic topics of the EFSD TA</a:t>
                      </a:r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+mj-lt"/>
                        </a:rPr>
                        <a:t>: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ru-RU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05650668"/>
                  </a:ext>
                </a:extLst>
              </a:tr>
              <a:tr h="475307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☑</a:t>
                      </a:r>
                      <a:endParaRPr lang="ru-RU" sz="1600" dirty="0"/>
                    </a:p>
                  </a:txBody>
                  <a:tcPr anchor="ctr">
                    <a:gradFill flip="none" rotWithShape="1">
                      <a:gsLst>
                        <a:gs pos="0">
                          <a:srgbClr val="00B2CD">
                            <a:tint val="66000"/>
                            <a:satMod val="160000"/>
                          </a:srgbClr>
                        </a:gs>
                        <a:gs pos="50000">
                          <a:srgbClr val="00B2CD">
                            <a:tint val="44500"/>
                            <a:satMod val="160000"/>
                          </a:srgbClr>
                        </a:gs>
                        <a:gs pos="100000">
                          <a:srgbClr val="00B2CD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ublic finance management</a:t>
                      </a:r>
                      <a:endParaRPr lang="ru-RU" dirty="0"/>
                    </a:p>
                  </a:txBody>
                  <a:tcPr anchor="ctr">
                    <a:gradFill flip="none" rotWithShape="1">
                      <a:gsLst>
                        <a:gs pos="0">
                          <a:srgbClr val="00B2CD">
                            <a:tint val="66000"/>
                            <a:satMod val="160000"/>
                          </a:srgbClr>
                        </a:gs>
                        <a:gs pos="50000">
                          <a:srgbClr val="00B2CD">
                            <a:tint val="44500"/>
                            <a:satMod val="160000"/>
                          </a:srgbClr>
                        </a:gs>
                        <a:gs pos="100000">
                          <a:srgbClr val="00B2CD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751853475"/>
                  </a:ext>
                </a:extLst>
              </a:tr>
              <a:tr h="475307">
                <a:tc>
                  <a:txBody>
                    <a:bodyPr/>
                    <a:lstStyle/>
                    <a:p>
                      <a:pPr algn="ctr"/>
                      <a:r>
                        <a:rPr kumimoji="0" lang="ru-RU" sz="16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589B"/>
                          </a:solidFill>
                          <a:effectLst/>
                          <a:uLnTx/>
                          <a:uFillTx/>
                          <a:latin typeface="Source Sans Pro"/>
                          <a:ea typeface="+mn-ea"/>
                          <a:cs typeface="+mn-cs"/>
                          <a:sym typeface="Arial"/>
                        </a:rPr>
                        <a:t>☑</a:t>
                      </a:r>
                      <a:endParaRPr lang="ru-RU" sz="1600" dirty="0"/>
                    </a:p>
                  </a:txBody>
                  <a:tcPr anchor="ctr">
                    <a:gradFill flip="none" rotWithShape="1">
                      <a:gsLst>
                        <a:gs pos="0">
                          <a:srgbClr val="00B2CD">
                            <a:tint val="66000"/>
                            <a:satMod val="160000"/>
                          </a:srgbClr>
                        </a:gs>
                        <a:gs pos="50000">
                          <a:srgbClr val="00B2CD">
                            <a:tint val="44500"/>
                            <a:satMod val="160000"/>
                          </a:srgbClr>
                        </a:gs>
                        <a:gs pos="100000">
                          <a:srgbClr val="00B2CD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ax policy and tax administration</a:t>
                      </a:r>
                      <a:endParaRPr lang="ru-RU" dirty="0"/>
                    </a:p>
                  </a:txBody>
                  <a:tcPr anchor="ctr">
                    <a:gradFill flip="none" rotWithShape="1">
                      <a:gsLst>
                        <a:gs pos="0">
                          <a:srgbClr val="00B2CD">
                            <a:tint val="66000"/>
                            <a:satMod val="160000"/>
                          </a:srgbClr>
                        </a:gs>
                        <a:gs pos="50000">
                          <a:srgbClr val="00B2CD">
                            <a:tint val="44500"/>
                            <a:satMod val="160000"/>
                          </a:srgbClr>
                        </a:gs>
                        <a:gs pos="100000">
                          <a:srgbClr val="00B2CD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71042088"/>
                  </a:ext>
                </a:extLst>
              </a:tr>
              <a:tr h="475307">
                <a:tc>
                  <a:txBody>
                    <a:bodyPr/>
                    <a:lstStyle/>
                    <a:p>
                      <a:pPr algn="ctr"/>
                      <a:r>
                        <a:rPr kumimoji="0" lang="ru-RU" sz="16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589B"/>
                          </a:solidFill>
                          <a:effectLst/>
                          <a:uLnTx/>
                          <a:uFillTx/>
                          <a:latin typeface="Source Sans Pro"/>
                          <a:ea typeface="+mn-ea"/>
                          <a:cs typeface="+mn-cs"/>
                          <a:sym typeface="Arial"/>
                        </a:rPr>
                        <a:t>☑</a:t>
                      </a:r>
                      <a:endParaRPr lang="ru-RU" sz="1600" dirty="0"/>
                    </a:p>
                  </a:txBody>
                  <a:tcPr anchor="ctr">
                    <a:gradFill flip="none" rotWithShape="1">
                      <a:gsLst>
                        <a:gs pos="0">
                          <a:srgbClr val="00B2CD">
                            <a:tint val="66000"/>
                            <a:satMod val="160000"/>
                          </a:srgbClr>
                        </a:gs>
                        <a:gs pos="50000">
                          <a:srgbClr val="00B2CD">
                            <a:tint val="44500"/>
                            <a:satMod val="160000"/>
                          </a:srgbClr>
                        </a:gs>
                        <a:gs pos="100000">
                          <a:srgbClr val="00B2CD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fiscal and quasi-fiscal risk management</a:t>
                      </a:r>
                      <a:endParaRPr lang="ru-RU" dirty="0"/>
                    </a:p>
                  </a:txBody>
                  <a:tcPr anchor="ctr">
                    <a:gradFill flip="none" rotWithShape="1">
                      <a:gsLst>
                        <a:gs pos="0">
                          <a:srgbClr val="00B2CD">
                            <a:tint val="66000"/>
                            <a:satMod val="160000"/>
                          </a:srgbClr>
                        </a:gs>
                        <a:gs pos="50000">
                          <a:srgbClr val="00B2CD">
                            <a:tint val="44500"/>
                            <a:satMod val="160000"/>
                          </a:srgbClr>
                        </a:gs>
                        <a:gs pos="100000">
                          <a:srgbClr val="00B2CD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2095132172"/>
                  </a:ext>
                </a:extLst>
              </a:tr>
            </a:tbl>
          </a:graphicData>
        </a:graphic>
      </p:graphicFrame>
      <p:sp>
        <p:nvSpPr>
          <p:cNvPr id="107" name="Текст 4"/>
          <p:cNvSpPr txBox="1">
            <a:spLocks/>
          </p:cNvSpPr>
          <p:nvPr/>
        </p:nvSpPr>
        <p:spPr>
          <a:xfrm>
            <a:off x="6339538" y="1572668"/>
            <a:ext cx="5085649" cy="1120642"/>
          </a:xfrm>
          <a:prstGeom prst="rect">
            <a:avLst/>
          </a:prstGeom>
        </p:spPr>
        <p:txBody>
          <a:bodyPr anchor="ctr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/>
              <a:defRPr sz="1800" b="0" i="0" u="none" strike="noStrike" cap="none">
                <a:solidFill>
                  <a:srgbClr val="000000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  <a:sym typeface="Arial"/>
              </a:defRPr>
            </a:lvl1pPr>
            <a:lvl2pPr marL="0" marR="0" lvl="1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285750" marR="0" lvl="2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800" b="0" i="0" u="none" strike="noStrike" cap="none">
                <a:solidFill>
                  <a:srgbClr val="000000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  <a:sym typeface="Arial"/>
              </a:defRPr>
            </a:lvl3pPr>
            <a:lvl4pPr marL="285750" marR="0" lvl="3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38163" marR="0" lvl="4" indent="-25558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­"/>
              <a:defRPr sz="1800" b="0" i="0" u="none" strike="noStrike" cap="none">
                <a:solidFill>
                  <a:srgbClr val="000000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  <a:sym typeface="Arial"/>
              </a:defRPr>
            </a:lvl5pPr>
            <a:lvl6pPr marL="285750" marR="0" lvl="5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 dirty="0">
                <a:solidFill>
                  <a:schemeClr val="bg2"/>
                </a:solidFill>
              </a:rPr>
              <a:t>The choice of topics is due to their high </a:t>
            </a:r>
            <a:r>
              <a:rPr lang="ru-RU" dirty="0" smtClean="0">
                <a:solidFill>
                  <a:schemeClr val="bg2"/>
                </a:solidFill>
              </a:rPr>
              <a:t/>
            </a:r>
            <a:br>
              <a:rPr lang="ru-RU" dirty="0" smtClean="0">
                <a:solidFill>
                  <a:schemeClr val="bg2"/>
                </a:solidFill>
              </a:rPr>
            </a:br>
            <a:r>
              <a:rPr lang="en-US" dirty="0" smtClean="0">
                <a:solidFill>
                  <a:schemeClr val="bg2"/>
                </a:solidFill>
              </a:rPr>
              <a:t>relevance </a:t>
            </a:r>
            <a:r>
              <a:rPr lang="en-US" dirty="0">
                <a:solidFill>
                  <a:schemeClr val="bg2"/>
                </a:solidFill>
              </a:rPr>
              <a:t>for the recipient </a:t>
            </a:r>
            <a:r>
              <a:rPr lang="en-US" dirty="0" smtClean="0">
                <a:solidFill>
                  <a:schemeClr val="bg2"/>
                </a:solidFill>
              </a:rPr>
              <a:t>states, as </a:t>
            </a:r>
            <a:r>
              <a:rPr lang="en-US" dirty="0">
                <a:solidFill>
                  <a:schemeClr val="bg2"/>
                </a:solidFill>
              </a:rPr>
              <a:t>well as </a:t>
            </a:r>
            <a:r>
              <a:rPr lang="ru-RU" dirty="0" smtClean="0">
                <a:solidFill>
                  <a:schemeClr val="bg2"/>
                </a:solidFill>
              </a:rPr>
              <a:t/>
            </a:r>
            <a:br>
              <a:rPr lang="ru-RU" dirty="0" smtClean="0">
                <a:solidFill>
                  <a:schemeClr val="bg2"/>
                </a:solidFill>
              </a:rPr>
            </a:br>
            <a:r>
              <a:rPr lang="en-US" dirty="0" smtClean="0">
                <a:solidFill>
                  <a:schemeClr val="bg2"/>
                </a:solidFill>
              </a:rPr>
              <a:t>the </a:t>
            </a:r>
            <a:r>
              <a:rPr lang="en-US" dirty="0">
                <a:solidFill>
                  <a:schemeClr val="bg2"/>
                </a:solidFill>
              </a:rPr>
              <a:t>availability of expertise in the </a:t>
            </a:r>
            <a:r>
              <a:rPr lang="en-US" dirty="0" smtClean="0">
                <a:solidFill>
                  <a:schemeClr val="bg2"/>
                </a:solidFill>
              </a:rPr>
              <a:t>EFSD</a:t>
            </a:r>
            <a:endParaRPr lang="ru-RU" dirty="0">
              <a:solidFill>
                <a:schemeClr val="bg2"/>
              </a:solidFill>
            </a:endParaRPr>
          </a:p>
        </p:txBody>
      </p:sp>
      <p:sp>
        <p:nvSpPr>
          <p:cNvPr id="108" name="Текст 6"/>
          <p:cNvSpPr>
            <a:spLocks noGrp="1"/>
          </p:cNvSpPr>
          <p:nvPr>
            <p:ph type="body" sz="quarter" idx="4294967295"/>
          </p:nvPr>
        </p:nvSpPr>
        <p:spPr>
          <a:xfrm>
            <a:off x="510135" y="5085461"/>
            <a:ext cx="10924577" cy="1069534"/>
          </a:xfrm>
          <a:prstGeom prst="rect">
            <a:avLst/>
          </a:prstGeom>
          <a:gradFill flip="none" rotWithShape="1">
            <a:gsLst>
              <a:gs pos="0">
                <a:srgbClr val="7F9ACA">
                  <a:tint val="66000"/>
                  <a:satMod val="160000"/>
                </a:srgbClr>
              </a:gs>
              <a:gs pos="50000">
                <a:srgbClr val="7F9ACA">
                  <a:tint val="44500"/>
                  <a:satMod val="160000"/>
                </a:srgbClr>
              </a:gs>
              <a:gs pos="100000">
                <a:srgbClr val="7F9ACA">
                  <a:tint val="23500"/>
                  <a:satMod val="160000"/>
                </a:srgbClr>
              </a:gs>
            </a:gsLst>
            <a:lin ang="5400000" scaled="1"/>
            <a:tileRect/>
          </a:gradFill>
        </p:spPr>
        <p:txBody>
          <a:bodyPr lIns="180000" tIns="180000" rIns="180000" bIns="180000">
            <a:noAutofit/>
          </a:bodyPr>
          <a:lstStyle/>
          <a:p>
            <a:pPr algn="just"/>
            <a:r>
              <a:rPr lang="en-US" dirty="0" smtClean="0">
                <a:solidFill>
                  <a:schemeClr val="bg2"/>
                </a:solidFill>
              </a:rPr>
              <a:t>In 2022 consultations were </a:t>
            </a:r>
            <a:r>
              <a:rPr lang="en-US" dirty="0">
                <a:solidFill>
                  <a:schemeClr val="bg2"/>
                </a:solidFill>
              </a:rPr>
              <a:t>initiated to launch pilot TA projects using the grant facility</a:t>
            </a:r>
            <a:r>
              <a:rPr lang="en-US" dirty="0" smtClean="0">
                <a:solidFill>
                  <a:schemeClr val="bg2"/>
                </a:solidFill>
              </a:rPr>
              <a:t>. If approved </a:t>
            </a:r>
            <a:r>
              <a:rPr lang="en-US" dirty="0">
                <a:solidFill>
                  <a:schemeClr val="bg2"/>
                </a:solidFill>
              </a:rPr>
              <a:t>by the management </a:t>
            </a:r>
            <a:r>
              <a:rPr lang="en-US" dirty="0" smtClean="0">
                <a:solidFill>
                  <a:schemeClr val="bg2"/>
                </a:solidFill>
              </a:rPr>
              <a:t>bodies </a:t>
            </a:r>
            <a:r>
              <a:rPr lang="en-US" dirty="0">
                <a:solidFill>
                  <a:schemeClr val="bg2"/>
                </a:solidFill>
              </a:rPr>
              <a:t>of the Fund, their recipients will be the Republic of Armenia, the Kyrgyz Republic, and </a:t>
            </a:r>
            <a:r>
              <a:rPr lang="en-US" dirty="0" smtClean="0">
                <a:solidFill>
                  <a:schemeClr val="bg2"/>
                </a:solidFill>
              </a:rPr>
              <a:t>the </a:t>
            </a:r>
            <a:r>
              <a:rPr lang="en-US" dirty="0">
                <a:solidFill>
                  <a:schemeClr val="bg2"/>
                </a:solidFill>
              </a:rPr>
              <a:t>Republic of </a:t>
            </a:r>
            <a:r>
              <a:rPr lang="en-US" dirty="0" smtClean="0">
                <a:solidFill>
                  <a:schemeClr val="bg2"/>
                </a:solidFill>
              </a:rPr>
              <a:t>Tajikistan.</a:t>
            </a:r>
            <a:endParaRPr lang="ru-RU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4218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8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Chief Economist Group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9"/>
          </p:nvPr>
        </p:nvSpPr>
        <p:spPr>
          <a:xfrm>
            <a:off x="4327525" y="3522429"/>
            <a:ext cx="3533775" cy="1526650"/>
          </a:xfrm>
        </p:spPr>
        <p:txBody>
          <a:bodyPr>
            <a:normAutofit/>
          </a:bodyPr>
          <a:lstStyle/>
          <a:p>
            <a:r>
              <a:rPr lang="en-US" dirty="0">
                <a:hlinkClick r:id="rId2"/>
              </a:rPr>
              <a:t>evinokurov@efsd.org</a:t>
            </a:r>
            <a:endParaRPr lang="en-US" dirty="0"/>
          </a:p>
          <a:p>
            <a:r>
              <a:rPr lang="en-US" dirty="0">
                <a:hlinkClick r:id="rId3"/>
              </a:rPr>
              <a:t>alevenkov@efsd.org</a:t>
            </a:r>
            <a:endParaRPr lang="en-US" dirty="0"/>
          </a:p>
          <a:p>
            <a:r>
              <a:rPr lang="en-US" dirty="0">
                <a:hlinkClick r:id="rId4"/>
              </a:rPr>
              <a:t>mgrichik@efsd.org</a:t>
            </a:r>
            <a:r>
              <a:rPr lang="ru-RU" dirty="0"/>
              <a:t/>
            </a:r>
            <a:br>
              <a:rPr lang="ru-RU" dirty="0"/>
            </a:br>
            <a:r>
              <a:rPr lang="en-US" dirty="0"/>
              <a:t>+7 495 645 04 45 # 12 34</a:t>
            </a:r>
            <a:r>
              <a:rPr lang="ru-RU" dirty="0"/>
              <a:t/>
            </a:r>
            <a:br>
              <a:rPr lang="ru-RU" dirty="0"/>
            </a:br>
            <a:r>
              <a:rPr lang="en-US" dirty="0"/>
              <a:t>+7 123 456 48 </a:t>
            </a:r>
            <a:r>
              <a:rPr lang="en-US" dirty="0" smtClean="0"/>
              <a:t>9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93678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vereign Financing Database in </a:t>
            </a:r>
            <a:r>
              <a:rPr lang="en-US" dirty="0"/>
              <a:t>Eurasia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idx="16"/>
          </p:nvPr>
        </p:nvSpPr>
        <p:spPr/>
        <p:txBody>
          <a:bodyPr/>
          <a:lstStyle/>
          <a:p>
            <a:r>
              <a:rPr lang="en-US" smtClean="0"/>
              <a:t>Footer goes here</a:t>
            </a:r>
            <a:endParaRPr lang="en-US" dirty="0" smtClean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idx="17"/>
          </p:nvPr>
        </p:nvSpPr>
        <p:spPr/>
        <p:txBody>
          <a:bodyPr/>
          <a:lstStyle/>
          <a:p>
            <a:fld id="{00000000-1234-1234-1234-123412341234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8" name="Текст 6"/>
          <p:cNvSpPr txBox="1">
            <a:spLocks/>
          </p:cNvSpPr>
          <p:nvPr/>
        </p:nvSpPr>
        <p:spPr>
          <a:xfrm>
            <a:off x="442909" y="1521912"/>
            <a:ext cx="5676509" cy="1080000"/>
          </a:xfrm>
          <a:prstGeom prst="rect">
            <a:avLst/>
          </a:prstGeom>
          <a:solidFill>
            <a:srgbClr val="3273A7"/>
          </a:solidFill>
        </p:spPr>
        <p:txBody>
          <a:bodyPr vert="horz" lIns="180000" tIns="180000" rIns="180000" bIns="0" rtlCol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/>
              <a:defRPr sz="1800" b="0" i="0" u="none" strike="noStrike" cap="none">
                <a:solidFill>
                  <a:srgbClr val="000000"/>
                </a:solidFill>
                <a:latin typeface="+mn-lt"/>
                <a:ea typeface="Source Sans Pro" panose="020B0503030403020204" pitchFamily="34" charset="0"/>
                <a:cs typeface="Arial"/>
                <a:sym typeface="Arial"/>
              </a:defRPr>
            </a:lvl1pPr>
            <a:lvl2pPr marL="0" marR="0" lvl="1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00" b="0" i="0" u="none" strike="noStrike" cap="none">
                <a:solidFill>
                  <a:srgbClr val="000000"/>
                </a:solidFill>
                <a:latin typeface="+mn-lt"/>
                <a:ea typeface="Arial"/>
                <a:cs typeface="Arial"/>
                <a:sym typeface="Arial"/>
              </a:defRPr>
            </a:lvl2pPr>
            <a:lvl3pPr marL="285750" marR="0" lvl="2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800" b="0" i="0" u="none" strike="noStrike" cap="none">
                <a:solidFill>
                  <a:srgbClr val="000000"/>
                </a:solidFill>
                <a:latin typeface="+mn-lt"/>
                <a:ea typeface="Source Sans Pro" panose="020B0503030403020204" pitchFamily="34" charset="0"/>
                <a:cs typeface="Arial"/>
                <a:sym typeface="Arial"/>
              </a:defRPr>
            </a:lvl3pPr>
            <a:lvl4pPr marL="285750" marR="0" lvl="3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800" b="0" i="0" u="none" strike="noStrike" cap="none">
                <a:solidFill>
                  <a:srgbClr val="000000"/>
                </a:solidFill>
                <a:latin typeface="+mn-lt"/>
                <a:ea typeface="Arial"/>
                <a:cs typeface="Arial"/>
                <a:sym typeface="Arial"/>
              </a:defRPr>
            </a:lvl4pPr>
            <a:lvl5pPr marL="538163" marR="0" lvl="4" indent="-25558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­"/>
              <a:defRPr sz="1800" b="0" i="0" u="none" strike="noStrike" cap="none">
                <a:solidFill>
                  <a:srgbClr val="000000"/>
                </a:solidFill>
                <a:latin typeface="+mn-lt"/>
                <a:ea typeface="Source Sans Pro" panose="020B0503030403020204" pitchFamily="34" charset="0"/>
                <a:cs typeface="Arial"/>
                <a:sym typeface="Arial"/>
              </a:defRPr>
            </a:lvl5pPr>
            <a:lvl6pPr marL="285750" marR="0" lvl="5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just"/>
            <a:r>
              <a:rPr lang="en-US" sz="1700" dirty="0">
                <a:solidFill>
                  <a:schemeClr val="bg1"/>
                </a:solidFill>
                <a:cs typeface="Arial" panose="020B0604020202020204" pitchFamily="34" charset="0"/>
              </a:rPr>
              <a:t>Work on the </a:t>
            </a:r>
            <a:r>
              <a:rPr lang="en-US" sz="1700" dirty="0">
                <a:solidFill>
                  <a:schemeClr val="bg1"/>
                </a:solidFill>
                <a:latin typeface="Source Sans Pro SemiBold" panose="020B0603030403020204" pitchFamily="34" charset="0"/>
                <a:cs typeface="Arial" panose="020B0604020202020204" pitchFamily="34" charset="0"/>
              </a:rPr>
              <a:t>EFSD S</a:t>
            </a:r>
            <a:r>
              <a:rPr lang="en-US" sz="1700" dirty="0" smtClean="0">
                <a:solidFill>
                  <a:schemeClr val="bg1"/>
                </a:solidFill>
                <a:latin typeface="Source Sans Pro SemiBold" panose="020B0603030403020204" pitchFamily="34" charset="0"/>
                <a:cs typeface="Arial" panose="020B0604020202020204" pitchFamily="34" charset="0"/>
              </a:rPr>
              <a:t>overeign Financing Database </a:t>
            </a:r>
            <a:r>
              <a:rPr lang="en-US" sz="1700" dirty="0" smtClean="0">
                <a:solidFill>
                  <a:schemeClr val="bg1"/>
                </a:solidFill>
                <a:cs typeface="Arial" panose="020B0604020202020204" pitchFamily="34" charset="0"/>
              </a:rPr>
              <a:t>builds </a:t>
            </a:r>
            <a:r>
              <a:rPr lang="en-US" sz="1700" dirty="0">
                <a:solidFill>
                  <a:schemeClr val="bg1"/>
                </a:solidFill>
                <a:cs typeface="Arial" panose="020B0604020202020204" pitchFamily="34" charset="0"/>
              </a:rPr>
              <a:t>on the analysis of the </a:t>
            </a:r>
            <a:r>
              <a:rPr lang="en-US" sz="1700" dirty="0" smtClean="0">
                <a:solidFill>
                  <a:schemeClr val="bg1"/>
                </a:solidFill>
                <a:cs typeface="Arial" panose="020B0604020202020204" pitchFamily="34" charset="0"/>
              </a:rPr>
              <a:t>functioning of the Global Financial Safety Net</a:t>
            </a:r>
            <a:r>
              <a:rPr lang="ru-RU" sz="1700" dirty="0">
                <a:solidFill>
                  <a:schemeClr val="bg1"/>
                </a:solidFill>
                <a:cs typeface="Arial" panose="020B0604020202020204" pitchFamily="34" charset="0"/>
              </a:rPr>
              <a:t>.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1845879"/>
              </p:ext>
            </p:extLst>
          </p:nvPr>
        </p:nvGraphicFramePr>
        <p:xfrm>
          <a:off x="442909" y="4998632"/>
          <a:ext cx="5676510" cy="111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7489">
                  <a:extLst>
                    <a:ext uri="{9D8B030D-6E8A-4147-A177-3AD203B41FA5}">
                      <a16:colId xmlns:a16="http://schemas.microsoft.com/office/drawing/2014/main" val="3119130539"/>
                    </a:ext>
                  </a:extLst>
                </a:gridCol>
                <a:gridCol w="4189021">
                  <a:extLst>
                    <a:ext uri="{9D8B030D-6E8A-4147-A177-3AD203B41FA5}">
                      <a16:colId xmlns:a16="http://schemas.microsoft.com/office/drawing/2014/main" val="2165735546"/>
                    </a:ext>
                  </a:extLst>
                </a:gridCol>
              </a:tblGrid>
              <a:tr h="1116000">
                <a:tc>
                  <a:txBody>
                    <a:bodyPr/>
                    <a:lstStyle/>
                    <a:p>
                      <a:pPr algn="ctr"/>
                      <a:r>
                        <a:rPr lang="en-US" sz="4800" b="0" dirty="0" smtClean="0">
                          <a:latin typeface="Source Sans Pro SemiBold" panose="020B0603030403020204" pitchFamily="34" charset="0"/>
                        </a:rPr>
                        <a:t>2848</a:t>
                      </a:r>
                      <a:endParaRPr lang="ru-RU" b="0" dirty="0">
                        <a:latin typeface="Source Sans Pro SemiBold" panose="020B0603030403020204" pitchFamily="34" charset="0"/>
                      </a:endParaRPr>
                    </a:p>
                  </a:txBody>
                  <a:tcPr anchor="ctr">
                    <a:solidFill>
                      <a:srgbClr val="00B2CD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b="0" dirty="0" smtClean="0"/>
                        <a:t>TA projects in the</a:t>
                      </a:r>
                      <a:r>
                        <a:rPr lang="en-US" sz="1800" b="0" baseline="0" dirty="0" smtClean="0"/>
                        <a:t> </a:t>
                      </a:r>
                      <a:r>
                        <a:rPr lang="en-US" sz="1800" b="0" baseline="0" dirty="0" smtClean="0">
                          <a:latin typeface="Source Sans Pro SemiBold" panose="020B0603030403020204" pitchFamily="34" charset="0"/>
                        </a:rPr>
                        <a:t>EFSD Sovereign Financing Database</a:t>
                      </a:r>
                      <a:r>
                        <a:rPr lang="en-US" sz="1800" b="0" baseline="0" dirty="0" smtClean="0"/>
                        <a:t> </a:t>
                      </a:r>
                      <a:r>
                        <a:rPr lang="ru-RU" sz="1800" b="0" baseline="0" dirty="0" smtClean="0"/>
                        <a:t>(72,7% </a:t>
                      </a:r>
                      <a:r>
                        <a:rPr lang="en-US" sz="1800" b="0" baseline="0" dirty="0" smtClean="0"/>
                        <a:t>of all projects</a:t>
                      </a:r>
                      <a:r>
                        <a:rPr lang="ru-RU" sz="1800" b="0" baseline="0" dirty="0" smtClean="0"/>
                        <a:t>) </a:t>
                      </a:r>
                      <a:endParaRPr lang="ru-RU" sz="1800" b="0" dirty="0"/>
                    </a:p>
                  </a:txBody>
                  <a:tcPr anchor="ctr">
                    <a:solidFill>
                      <a:srgbClr val="3273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1836974"/>
                  </a:ext>
                </a:extLst>
              </a:tr>
            </a:tbl>
          </a:graphicData>
        </a:graphic>
      </p:graphicFrame>
      <p:sp>
        <p:nvSpPr>
          <p:cNvPr id="10" name="Текст 6"/>
          <p:cNvSpPr txBox="1">
            <a:spLocks/>
          </p:cNvSpPr>
          <p:nvPr/>
        </p:nvSpPr>
        <p:spPr>
          <a:xfrm>
            <a:off x="442909" y="2656819"/>
            <a:ext cx="5676509" cy="1080000"/>
          </a:xfrm>
          <a:prstGeom prst="rect">
            <a:avLst/>
          </a:prstGeom>
          <a:solidFill>
            <a:srgbClr val="919BC9"/>
          </a:solidFill>
        </p:spPr>
        <p:txBody>
          <a:bodyPr vert="horz" lIns="180000" tIns="180000" rIns="180000" bIns="0" rtlCol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/>
              <a:defRPr sz="1800" b="0" i="0" u="none" strike="noStrike" cap="none">
                <a:solidFill>
                  <a:srgbClr val="000000"/>
                </a:solidFill>
                <a:latin typeface="+mn-lt"/>
                <a:ea typeface="Source Sans Pro" panose="020B0503030403020204" pitchFamily="34" charset="0"/>
                <a:cs typeface="Arial"/>
                <a:sym typeface="Arial"/>
              </a:defRPr>
            </a:lvl1pPr>
            <a:lvl2pPr marL="0" marR="0" lvl="1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00" b="0" i="0" u="none" strike="noStrike" cap="none">
                <a:solidFill>
                  <a:srgbClr val="000000"/>
                </a:solidFill>
                <a:latin typeface="+mn-lt"/>
                <a:ea typeface="Arial"/>
                <a:cs typeface="Arial"/>
                <a:sym typeface="Arial"/>
              </a:defRPr>
            </a:lvl2pPr>
            <a:lvl3pPr marL="285750" marR="0" lvl="2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800" b="0" i="0" u="none" strike="noStrike" cap="none">
                <a:solidFill>
                  <a:srgbClr val="000000"/>
                </a:solidFill>
                <a:latin typeface="+mn-lt"/>
                <a:ea typeface="Source Sans Pro" panose="020B0503030403020204" pitchFamily="34" charset="0"/>
                <a:cs typeface="Arial"/>
                <a:sym typeface="Arial"/>
              </a:defRPr>
            </a:lvl3pPr>
            <a:lvl4pPr marL="285750" marR="0" lvl="3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800" b="0" i="0" u="none" strike="noStrike" cap="none">
                <a:solidFill>
                  <a:srgbClr val="000000"/>
                </a:solidFill>
                <a:latin typeface="+mn-lt"/>
                <a:ea typeface="Arial"/>
                <a:cs typeface="Arial"/>
                <a:sym typeface="Arial"/>
              </a:defRPr>
            </a:lvl4pPr>
            <a:lvl5pPr marL="538163" marR="0" lvl="4" indent="-25558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­"/>
              <a:defRPr sz="1800" b="0" i="0" u="none" strike="noStrike" cap="none">
                <a:solidFill>
                  <a:srgbClr val="000000"/>
                </a:solidFill>
                <a:latin typeface="+mn-lt"/>
                <a:ea typeface="Source Sans Pro" panose="020B0503030403020204" pitchFamily="34" charset="0"/>
                <a:cs typeface="Arial"/>
                <a:sym typeface="Arial"/>
              </a:defRPr>
            </a:lvl5pPr>
            <a:lvl6pPr marL="285750" marR="0" lvl="5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just"/>
            <a:r>
              <a:rPr lang="en-US" sz="1700" dirty="0" smtClean="0">
                <a:solidFill>
                  <a:schemeClr val="bg1"/>
                </a:solidFill>
                <a:latin typeface="Source Sans Pro SemiBold" panose="020B0603030403020204" pitchFamily="34" charset="0"/>
              </a:rPr>
              <a:t>EFSD Sovereign Financing Database </a:t>
            </a:r>
            <a:r>
              <a:rPr lang="en-US" sz="1700" dirty="0" smtClean="0">
                <a:solidFill>
                  <a:schemeClr val="bg1"/>
                </a:solidFill>
              </a:rPr>
              <a:t>is compiled from public </a:t>
            </a:r>
            <a:r>
              <a:rPr lang="en-US" sz="1700" dirty="0">
                <a:solidFill>
                  <a:schemeClr val="bg1"/>
                </a:solidFill>
              </a:rPr>
              <a:t>data </a:t>
            </a:r>
            <a:r>
              <a:rPr lang="en-US" sz="1700" dirty="0" smtClean="0">
                <a:solidFill>
                  <a:schemeClr val="bg1"/>
                </a:solidFill>
              </a:rPr>
              <a:t>from IFIs and </a:t>
            </a:r>
            <a:r>
              <a:rPr lang="en-US" sz="1700" dirty="0">
                <a:solidFill>
                  <a:schemeClr val="bg1"/>
                </a:solidFill>
              </a:rPr>
              <a:t>development agencies, their country strategies, annual reports, and mission reports</a:t>
            </a:r>
            <a:endParaRPr lang="ru-RU" sz="17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1" name="Текст 6"/>
          <p:cNvSpPr txBox="1">
            <a:spLocks/>
          </p:cNvSpPr>
          <p:nvPr/>
        </p:nvSpPr>
        <p:spPr>
          <a:xfrm>
            <a:off x="442909" y="3791726"/>
            <a:ext cx="5676509" cy="1080000"/>
          </a:xfrm>
          <a:prstGeom prst="rect">
            <a:avLst/>
          </a:prstGeom>
          <a:solidFill>
            <a:srgbClr val="C5CF70"/>
          </a:solidFill>
        </p:spPr>
        <p:txBody>
          <a:bodyPr vert="horz" lIns="180000" tIns="180000" rIns="180000" bIns="0" rtlCol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/>
              <a:defRPr sz="1800" b="0" i="0" u="none" strike="noStrike" cap="none">
                <a:solidFill>
                  <a:srgbClr val="000000"/>
                </a:solidFill>
                <a:latin typeface="+mn-lt"/>
                <a:ea typeface="Source Sans Pro" panose="020B0503030403020204" pitchFamily="34" charset="0"/>
                <a:cs typeface="Arial"/>
                <a:sym typeface="Arial"/>
              </a:defRPr>
            </a:lvl1pPr>
            <a:lvl2pPr marL="0" marR="0" lvl="1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00" b="0" i="0" u="none" strike="noStrike" cap="none">
                <a:solidFill>
                  <a:srgbClr val="000000"/>
                </a:solidFill>
                <a:latin typeface="+mn-lt"/>
                <a:ea typeface="Arial"/>
                <a:cs typeface="Arial"/>
                <a:sym typeface="Arial"/>
              </a:defRPr>
            </a:lvl2pPr>
            <a:lvl3pPr marL="285750" marR="0" lvl="2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800" b="0" i="0" u="none" strike="noStrike" cap="none">
                <a:solidFill>
                  <a:srgbClr val="000000"/>
                </a:solidFill>
                <a:latin typeface="+mn-lt"/>
                <a:ea typeface="Source Sans Pro" panose="020B0503030403020204" pitchFamily="34" charset="0"/>
                <a:cs typeface="Arial"/>
                <a:sym typeface="Arial"/>
              </a:defRPr>
            </a:lvl3pPr>
            <a:lvl4pPr marL="285750" marR="0" lvl="3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800" b="0" i="0" u="none" strike="noStrike" cap="none">
                <a:solidFill>
                  <a:srgbClr val="000000"/>
                </a:solidFill>
                <a:latin typeface="+mn-lt"/>
                <a:ea typeface="Arial"/>
                <a:cs typeface="Arial"/>
                <a:sym typeface="Arial"/>
              </a:defRPr>
            </a:lvl4pPr>
            <a:lvl5pPr marL="538163" marR="0" lvl="4" indent="-25558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­"/>
              <a:defRPr sz="1800" b="0" i="0" u="none" strike="noStrike" cap="none">
                <a:solidFill>
                  <a:srgbClr val="000000"/>
                </a:solidFill>
                <a:latin typeface="+mn-lt"/>
                <a:ea typeface="Source Sans Pro" panose="020B0503030403020204" pitchFamily="34" charset="0"/>
                <a:cs typeface="Arial"/>
                <a:sym typeface="Arial"/>
              </a:defRPr>
            </a:lvl5pPr>
            <a:lvl6pPr marL="285750" marR="0" lvl="5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just"/>
            <a:r>
              <a:rPr lang="en-US" dirty="0">
                <a:solidFill>
                  <a:srgbClr val="FFFFFF"/>
                </a:solidFill>
              </a:rPr>
              <a:t>U</a:t>
            </a:r>
            <a:r>
              <a:rPr lang="en-US" dirty="0" smtClean="0">
                <a:solidFill>
                  <a:srgbClr val="FFFFFF"/>
                </a:solidFill>
              </a:rPr>
              <a:t>seful </a:t>
            </a:r>
            <a:r>
              <a:rPr lang="en-US" dirty="0">
                <a:solidFill>
                  <a:srgbClr val="FFFFFF"/>
                </a:solidFill>
              </a:rPr>
              <a:t>for the donor community and recipient countries </a:t>
            </a:r>
            <a:r>
              <a:rPr lang="en-US" dirty="0" smtClean="0">
                <a:solidFill>
                  <a:srgbClr val="FFFFFF"/>
                </a:solidFill>
              </a:rPr>
              <a:t>- source </a:t>
            </a:r>
            <a:r>
              <a:rPr lang="en-US" dirty="0">
                <a:solidFill>
                  <a:srgbClr val="FFFFFF"/>
                </a:solidFill>
              </a:rPr>
              <a:t>of systemic information by country/ sector/ type/ year etc.</a:t>
            </a:r>
            <a:endParaRPr lang="ru-RU" sz="17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02373" y="3512820"/>
            <a:ext cx="5419725" cy="27051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3798" y="1499286"/>
            <a:ext cx="5448300" cy="205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549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king Paper Structure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idx="16"/>
          </p:nvPr>
        </p:nvSpPr>
        <p:spPr/>
        <p:txBody>
          <a:bodyPr/>
          <a:lstStyle/>
          <a:p>
            <a:r>
              <a:rPr lang="en-US" smtClean="0"/>
              <a:t>Footer goes here</a:t>
            </a:r>
            <a:endParaRPr lang="en-US" dirty="0" smtClean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idx="17"/>
          </p:nvPr>
        </p:nvSpPr>
        <p:spPr/>
        <p:txBody>
          <a:bodyPr/>
          <a:lstStyle/>
          <a:p>
            <a:fld id="{00000000-1234-1234-1234-123412341234}" type="slidenum">
              <a:rPr lang="en-GB" smtClean="0"/>
              <a:pPr/>
              <a:t>3</a:t>
            </a:fld>
            <a:endParaRPr lang="en-GB"/>
          </a:p>
        </p:txBody>
      </p:sp>
      <p:grpSp>
        <p:nvGrpSpPr>
          <p:cNvPr id="88" name="Группа 87"/>
          <p:cNvGrpSpPr/>
          <p:nvPr/>
        </p:nvGrpSpPr>
        <p:grpSpPr>
          <a:xfrm>
            <a:off x="1103649" y="1712076"/>
            <a:ext cx="10005809" cy="4291409"/>
            <a:chOff x="1103649" y="1712076"/>
            <a:chExt cx="10005809" cy="4291409"/>
          </a:xfrm>
        </p:grpSpPr>
        <p:grpSp>
          <p:nvGrpSpPr>
            <p:cNvPr id="89" name="Group 1"/>
            <p:cNvGrpSpPr>
              <a:grpSpLocks noChangeAspect="1"/>
            </p:cNvGrpSpPr>
            <p:nvPr/>
          </p:nvGrpSpPr>
          <p:grpSpPr bwMode="auto">
            <a:xfrm>
              <a:off x="1103649" y="1712076"/>
              <a:ext cx="10005809" cy="4291409"/>
              <a:chOff x="35589" y="226031"/>
              <a:chExt cx="12297753" cy="5274168"/>
            </a:xfrm>
          </p:grpSpPr>
          <p:sp>
            <p:nvSpPr>
              <p:cNvPr id="140" name="AutoShape 2"/>
              <p:cNvSpPr>
                <a:spLocks/>
              </p:cNvSpPr>
              <p:nvPr/>
            </p:nvSpPr>
            <p:spPr bwMode="auto">
              <a:xfrm>
                <a:off x="41133" y="2067159"/>
                <a:ext cx="2860885" cy="2574807"/>
              </a:xfrm>
              <a:custGeom>
                <a:avLst/>
                <a:gdLst>
                  <a:gd name="T0" fmla="+- 0 10802 6"/>
                  <a:gd name="T1" fmla="*/ T0 w 21593"/>
                  <a:gd name="T2" fmla="+- 0 10804 12"/>
                  <a:gd name="T3" fmla="*/ 10804 h 21584"/>
                  <a:gd name="T4" fmla="+- 0 10802 6"/>
                  <a:gd name="T5" fmla="*/ T4 w 21593"/>
                  <a:gd name="T6" fmla="+- 0 10804 12"/>
                  <a:gd name="T7" fmla="*/ 10804 h 21584"/>
                  <a:gd name="T8" fmla="+- 0 10802 6"/>
                  <a:gd name="T9" fmla="*/ T8 w 21593"/>
                  <a:gd name="T10" fmla="+- 0 10804 12"/>
                  <a:gd name="T11" fmla="*/ 10804 h 21584"/>
                  <a:gd name="T12" fmla="+- 0 10802 6"/>
                  <a:gd name="T13" fmla="*/ T12 w 21593"/>
                  <a:gd name="T14" fmla="+- 0 10804 12"/>
                  <a:gd name="T15" fmla="*/ 10804 h 21584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21593" h="21584">
                    <a:moveTo>
                      <a:pt x="6655" y="1"/>
                    </a:moveTo>
                    <a:cubicBezTo>
                      <a:pt x="6251" y="-5"/>
                      <a:pt x="5853" y="101"/>
                      <a:pt x="5494" y="306"/>
                    </a:cubicBezTo>
                    <a:cubicBezTo>
                      <a:pt x="5116" y="522"/>
                      <a:pt x="4793" y="842"/>
                      <a:pt x="4559" y="1236"/>
                    </a:cubicBezTo>
                    <a:lnTo>
                      <a:pt x="257" y="9428"/>
                    </a:lnTo>
                    <a:cubicBezTo>
                      <a:pt x="94" y="9832"/>
                      <a:pt x="7" y="10271"/>
                      <a:pt x="1" y="10714"/>
                    </a:cubicBezTo>
                    <a:cubicBezTo>
                      <a:pt x="-6" y="11192"/>
                      <a:pt x="81" y="11666"/>
                      <a:pt x="257" y="12102"/>
                    </a:cubicBezTo>
                    <a:lnTo>
                      <a:pt x="4417" y="20185"/>
                    </a:lnTo>
                    <a:cubicBezTo>
                      <a:pt x="4636" y="20609"/>
                      <a:pt x="4952" y="20962"/>
                      <a:pt x="5332" y="21208"/>
                    </a:cubicBezTo>
                    <a:cubicBezTo>
                      <a:pt x="5696" y="21443"/>
                      <a:pt x="6108" y="21572"/>
                      <a:pt x="6529" y="21584"/>
                    </a:cubicBezTo>
                    <a:lnTo>
                      <a:pt x="14739" y="21584"/>
                    </a:lnTo>
                    <a:cubicBezTo>
                      <a:pt x="15238" y="21588"/>
                      <a:pt x="15728" y="21446"/>
                      <a:pt x="16162" y="21172"/>
                    </a:cubicBezTo>
                    <a:cubicBezTo>
                      <a:pt x="16544" y="20929"/>
                      <a:pt x="16872" y="20591"/>
                      <a:pt x="17115" y="20183"/>
                    </a:cubicBezTo>
                    <a:lnTo>
                      <a:pt x="21228" y="12302"/>
                    </a:lnTo>
                    <a:cubicBezTo>
                      <a:pt x="21468" y="11849"/>
                      <a:pt x="21594" y="11332"/>
                      <a:pt x="21593" y="10807"/>
                    </a:cubicBezTo>
                    <a:cubicBezTo>
                      <a:pt x="21593" y="10284"/>
                      <a:pt x="21467" y="9771"/>
                      <a:pt x="21228" y="9321"/>
                    </a:cubicBezTo>
                    <a:lnTo>
                      <a:pt x="17012" y="1260"/>
                    </a:lnTo>
                    <a:cubicBezTo>
                      <a:pt x="16793" y="867"/>
                      <a:pt x="16484" y="545"/>
                      <a:pt x="16118" y="324"/>
                    </a:cubicBezTo>
                    <a:cubicBezTo>
                      <a:pt x="15748" y="101"/>
                      <a:pt x="15331" y="-12"/>
                      <a:pt x="14910" y="1"/>
                    </a:cubicBezTo>
                    <a:lnTo>
                      <a:pt x="6655" y="1"/>
                    </a:lnTo>
                    <a:close/>
                    <a:moveTo>
                      <a:pt x="7548" y="2327"/>
                    </a:moveTo>
                    <a:lnTo>
                      <a:pt x="14024" y="2327"/>
                    </a:lnTo>
                    <a:cubicBezTo>
                      <a:pt x="14354" y="2317"/>
                      <a:pt x="14681" y="2404"/>
                      <a:pt x="14972" y="2579"/>
                    </a:cubicBezTo>
                    <a:cubicBezTo>
                      <a:pt x="15259" y="2752"/>
                      <a:pt x="15499" y="3005"/>
                      <a:pt x="15671" y="3313"/>
                    </a:cubicBezTo>
                    <a:lnTo>
                      <a:pt x="18979" y="9638"/>
                    </a:lnTo>
                    <a:cubicBezTo>
                      <a:pt x="19166" y="9991"/>
                      <a:pt x="19266" y="10395"/>
                      <a:pt x="19266" y="10805"/>
                    </a:cubicBezTo>
                    <a:cubicBezTo>
                      <a:pt x="19267" y="11217"/>
                      <a:pt x="19167" y="11622"/>
                      <a:pt x="18979" y="11977"/>
                    </a:cubicBezTo>
                    <a:lnTo>
                      <a:pt x="15753" y="18159"/>
                    </a:lnTo>
                    <a:cubicBezTo>
                      <a:pt x="15561" y="18478"/>
                      <a:pt x="15307" y="18744"/>
                      <a:pt x="15007" y="18935"/>
                    </a:cubicBezTo>
                    <a:cubicBezTo>
                      <a:pt x="14666" y="19150"/>
                      <a:pt x="14281" y="19261"/>
                      <a:pt x="13889" y="19258"/>
                    </a:cubicBezTo>
                    <a:lnTo>
                      <a:pt x="7450" y="19258"/>
                    </a:lnTo>
                    <a:cubicBezTo>
                      <a:pt x="7120" y="19249"/>
                      <a:pt x="6797" y="19147"/>
                      <a:pt x="6511" y="18963"/>
                    </a:cubicBezTo>
                    <a:cubicBezTo>
                      <a:pt x="6213" y="18770"/>
                      <a:pt x="5964" y="18495"/>
                      <a:pt x="5792" y="18163"/>
                    </a:cubicBezTo>
                    <a:lnTo>
                      <a:pt x="2530" y="11819"/>
                    </a:lnTo>
                    <a:cubicBezTo>
                      <a:pt x="2391" y="11477"/>
                      <a:pt x="2323" y="11105"/>
                      <a:pt x="2328" y="10730"/>
                    </a:cubicBezTo>
                    <a:cubicBezTo>
                      <a:pt x="2333" y="10382"/>
                      <a:pt x="2402" y="10040"/>
                      <a:pt x="2530" y="9723"/>
                    </a:cubicBezTo>
                    <a:lnTo>
                      <a:pt x="5903" y="3295"/>
                    </a:lnTo>
                    <a:cubicBezTo>
                      <a:pt x="6087" y="2986"/>
                      <a:pt x="6340" y="2735"/>
                      <a:pt x="6637" y="2565"/>
                    </a:cubicBezTo>
                    <a:cubicBezTo>
                      <a:pt x="6918" y="2405"/>
                      <a:pt x="7232" y="2323"/>
                      <a:pt x="7548" y="2327"/>
                    </a:cubicBezTo>
                    <a:close/>
                  </a:path>
                </a:pathLst>
              </a:custGeom>
              <a:solidFill>
                <a:srgbClr val="007CB8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cap="flat" cmpd="sng">
                    <a:solidFill>
                      <a:srgbClr val="000000"/>
                    </a:solidFill>
                    <a:prstDash val="solid"/>
                    <a:miter lim="400000"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27093" tIns="27093" rIns="27093" bIns="27093" anchor="ctr"/>
              <a:lstStyle/>
              <a:p>
                <a:endParaRPr lang="ru-RU" altLang="ru-RU" sz="2200" b="0">
                  <a:latin typeface="Helvetica Light" charset="0"/>
                  <a:ea typeface="Helvetica Light" charset="0"/>
                  <a:cs typeface="Helvetica Light" charset="0"/>
                  <a:sym typeface="Helvetica Light" charset="0"/>
                </a:endParaRPr>
              </a:p>
            </p:txBody>
          </p:sp>
          <p:sp>
            <p:nvSpPr>
              <p:cNvPr id="141" name="AutoShape 3"/>
              <p:cNvSpPr>
                <a:spLocks/>
              </p:cNvSpPr>
              <p:nvPr/>
            </p:nvSpPr>
            <p:spPr bwMode="auto">
              <a:xfrm>
                <a:off x="2397880" y="662417"/>
                <a:ext cx="2860884" cy="2574806"/>
              </a:xfrm>
              <a:custGeom>
                <a:avLst/>
                <a:gdLst>
                  <a:gd name="T0" fmla="+- 0 10802 6"/>
                  <a:gd name="T1" fmla="*/ T0 w 21593"/>
                  <a:gd name="T2" fmla="+- 0 10804 12"/>
                  <a:gd name="T3" fmla="*/ 10804 h 21584"/>
                  <a:gd name="T4" fmla="+- 0 10802 6"/>
                  <a:gd name="T5" fmla="*/ T4 w 21593"/>
                  <a:gd name="T6" fmla="+- 0 10804 12"/>
                  <a:gd name="T7" fmla="*/ 10804 h 21584"/>
                  <a:gd name="T8" fmla="+- 0 10802 6"/>
                  <a:gd name="T9" fmla="*/ T8 w 21593"/>
                  <a:gd name="T10" fmla="+- 0 10804 12"/>
                  <a:gd name="T11" fmla="*/ 10804 h 21584"/>
                  <a:gd name="T12" fmla="+- 0 10802 6"/>
                  <a:gd name="T13" fmla="*/ T12 w 21593"/>
                  <a:gd name="T14" fmla="+- 0 10804 12"/>
                  <a:gd name="T15" fmla="*/ 10804 h 21584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21593" h="21584">
                    <a:moveTo>
                      <a:pt x="6657" y="1"/>
                    </a:moveTo>
                    <a:cubicBezTo>
                      <a:pt x="6253" y="-5"/>
                      <a:pt x="5853" y="101"/>
                      <a:pt x="5494" y="306"/>
                    </a:cubicBezTo>
                    <a:cubicBezTo>
                      <a:pt x="5116" y="522"/>
                      <a:pt x="4795" y="842"/>
                      <a:pt x="4561" y="1236"/>
                    </a:cubicBezTo>
                    <a:lnTo>
                      <a:pt x="259" y="9428"/>
                    </a:lnTo>
                    <a:cubicBezTo>
                      <a:pt x="96" y="9832"/>
                      <a:pt x="7" y="10271"/>
                      <a:pt x="1" y="10714"/>
                    </a:cubicBezTo>
                    <a:cubicBezTo>
                      <a:pt x="-6" y="11192"/>
                      <a:pt x="83" y="11666"/>
                      <a:pt x="259" y="12102"/>
                    </a:cubicBezTo>
                    <a:lnTo>
                      <a:pt x="4419" y="20187"/>
                    </a:lnTo>
                    <a:cubicBezTo>
                      <a:pt x="4638" y="20611"/>
                      <a:pt x="4953" y="20962"/>
                      <a:pt x="5334" y="21208"/>
                    </a:cubicBezTo>
                    <a:cubicBezTo>
                      <a:pt x="5698" y="21443"/>
                      <a:pt x="6110" y="21572"/>
                      <a:pt x="6531" y="21584"/>
                    </a:cubicBezTo>
                    <a:lnTo>
                      <a:pt x="14739" y="21584"/>
                    </a:lnTo>
                    <a:cubicBezTo>
                      <a:pt x="15238" y="21588"/>
                      <a:pt x="15730" y="21446"/>
                      <a:pt x="16164" y="21172"/>
                    </a:cubicBezTo>
                    <a:cubicBezTo>
                      <a:pt x="16546" y="20929"/>
                      <a:pt x="16872" y="20591"/>
                      <a:pt x="17115" y="20183"/>
                    </a:cubicBezTo>
                    <a:lnTo>
                      <a:pt x="21228" y="12302"/>
                    </a:lnTo>
                    <a:cubicBezTo>
                      <a:pt x="21468" y="11849"/>
                      <a:pt x="21594" y="11332"/>
                      <a:pt x="21593" y="10807"/>
                    </a:cubicBezTo>
                    <a:cubicBezTo>
                      <a:pt x="21593" y="10284"/>
                      <a:pt x="21467" y="9771"/>
                      <a:pt x="21228" y="9321"/>
                    </a:cubicBezTo>
                    <a:lnTo>
                      <a:pt x="17012" y="1260"/>
                    </a:lnTo>
                    <a:cubicBezTo>
                      <a:pt x="16793" y="867"/>
                      <a:pt x="16486" y="545"/>
                      <a:pt x="16120" y="324"/>
                    </a:cubicBezTo>
                    <a:cubicBezTo>
                      <a:pt x="15750" y="101"/>
                      <a:pt x="15333" y="-12"/>
                      <a:pt x="14912" y="1"/>
                    </a:cubicBezTo>
                    <a:lnTo>
                      <a:pt x="6657" y="1"/>
                    </a:lnTo>
                    <a:close/>
                    <a:moveTo>
                      <a:pt x="7548" y="2327"/>
                    </a:moveTo>
                    <a:lnTo>
                      <a:pt x="14024" y="2327"/>
                    </a:lnTo>
                    <a:cubicBezTo>
                      <a:pt x="14354" y="2317"/>
                      <a:pt x="14681" y="2404"/>
                      <a:pt x="14972" y="2579"/>
                    </a:cubicBezTo>
                    <a:cubicBezTo>
                      <a:pt x="15259" y="2752"/>
                      <a:pt x="15501" y="3005"/>
                      <a:pt x="15673" y="3313"/>
                    </a:cubicBezTo>
                    <a:lnTo>
                      <a:pt x="18979" y="9638"/>
                    </a:lnTo>
                    <a:cubicBezTo>
                      <a:pt x="19166" y="9991"/>
                      <a:pt x="19266" y="10395"/>
                      <a:pt x="19266" y="10804"/>
                    </a:cubicBezTo>
                    <a:cubicBezTo>
                      <a:pt x="19267" y="11217"/>
                      <a:pt x="19167" y="11622"/>
                      <a:pt x="18979" y="11977"/>
                    </a:cubicBezTo>
                    <a:lnTo>
                      <a:pt x="15754" y="18159"/>
                    </a:lnTo>
                    <a:cubicBezTo>
                      <a:pt x="15563" y="18478"/>
                      <a:pt x="15307" y="18744"/>
                      <a:pt x="15007" y="18935"/>
                    </a:cubicBezTo>
                    <a:cubicBezTo>
                      <a:pt x="14666" y="19150"/>
                      <a:pt x="14281" y="19261"/>
                      <a:pt x="13889" y="19258"/>
                    </a:cubicBezTo>
                    <a:lnTo>
                      <a:pt x="7450" y="19258"/>
                    </a:lnTo>
                    <a:cubicBezTo>
                      <a:pt x="7120" y="19249"/>
                      <a:pt x="6797" y="19147"/>
                      <a:pt x="6511" y="18963"/>
                    </a:cubicBezTo>
                    <a:cubicBezTo>
                      <a:pt x="6213" y="18770"/>
                      <a:pt x="5964" y="18495"/>
                      <a:pt x="5792" y="18163"/>
                    </a:cubicBezTo>
                    <a:lnTo>
                      <a:pt x="2530" y="11819"/>
                    </a:lnTo>
                    <a:cubicBezTo>
                      <a:pt x="2391" y="11477"/>
                      <a:pt x="2323" y="11105"/>
                      <a:pt x="2328" y="10730"/>
                    </a:cubicBezTo>
                    <a:cubicBezTo>
                      <a:pt x="2333" y="10382"/>
                      <a:pt x="2402" y="10040"/>
                      <a:pt x="2530" y="9723"/>
                    </a:cubicBezTo>
                    <a:lnTo>
                      <a:pt x="5905" y="3295"/>
                    </a:lnTo>
                    <a:cubicBezTo>
                      <a:pt x="6089" y="2986"/>
                      <a:pt x="6342" y="2735"/>
                      <a:pt x="6639" y="2565"/>
                    </a:cubicBezTo>
                    <a:cubicBezTo>
                      <a:pt x="6920" y="2405"/>
                      <a:pt x="7232" y="2323"/>
                      <a:pt x="7548" y="2327"/>
                    </a:cubicBezTo>
                    <a:close/>
                  </a:path>
                </a:pathLst>
              </a:custGeom>
              <a:solidFill>
                <a:srgbClr val="919BC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cap="flat" cmpd="sng">
                    <a:solidFill>
                      <a:srgbClr val="000000"/>
                    </a:solidFill>
                    <a:prstDash val="solid"/>
                    <a:miter lim="400000"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27093" tIns="27093" rIns="27093" bIns="27093" anchor="ctr"/>
              <a:lstStyle/>
              <a:p>
                <a:endParaRPr lang="ru-RU" altLang="ru-RU" sz="2200" b="0">
                  <a:latin typeface="Helvetica Light" charset="0"/>
                  <a:ea typeface="Helvetica Light" charset="0"/>
                  <a:cs typeface="Helvetica Light" charset="0"/>
                  <a:sym typeface="Helvetica Light" charset="0"/>
                </a:endParaRPr>
              </a:p>
            </p:txBody>
          </p:sp>
          <p:sp>
            <p:nvSpPr>
              <p:cNvPr id="142" name="AutoShape 4"/>
              <p:cNvSpPr>
                <a:spLocks/>
              </p:cNvSpPr>
              <p:nvPr/>
            </p:nvSpPr>
            <p:spPr bwMode="auto">
              <a:xfrm>
                <a:off x="4760171" y="2067159"/>
                <a:ext cx="2860884" cy="2574807"/>
              </a:xfrm>
              <a:custGeom>
                <a:avLst/>
                <a:gdLst>
                  <a:gd name="T0" fmla="+- 0 10802 6"/>
                  <a:gd name="T1" fmla="*/ T0 w 21593"/>
                  <a:gd name="T2" fmla="+- 0 10804 12"/>
                  <a:gd name="T3" fmla="*/ 10804 h 21584"/>
                  <a:gd name="T4" fmla="+- 0 10802 6"/>
                  <a:gd name="T5" fmla="*/ T4 w 21593"/>
                  <a:gd name="T6" fmla="+- 0 10804 12"/>
                  <a:gd name="T7" fmla="*/ 10804 h 21584"/>
                  <a:gd name="T8" fmla="+- 0 10802 6"/>
                  <a:gd name="T9" fmla="*/ T8 w 21593"/>
                  <a:gd name="T10" fmla="+- 0 10804 12"/>
                  <a:gd name="T11" fmla="*/ 10804 h 21584"/>
                  <a:gd name="T12" fmla="+- 0 10802 6"/>
                  <a:gd name="T13" fmla="*/ T12 w 21593"/>
                  <a:gd name="T14" fmla="+- 0 10804 12"/>
                  <a:gd name="T15" fmla="*/ 10804 h 21584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21593" h="21584">
                    <a:moveTo>
                      <a:pt x="6657" y="1"/>
                    </a:moveTo>
                    <a:cubicBezTo>
                      <a:pt x="6253" y="-5"/>
                      <a:pt x="5853" y="101"/>
                      <a:pt x="5494" y="306"/>
                    </a:cubicBezTo>
                    <a:cubicBezTo>
                      <a:pt x="5116" y="522"/>
                      <a:pt x="4795" y="842"/>
                      <a:pt x="4561" y="1236"/>
                    </a:cubicBezTo>
                    <a:lnTo>
                      <a:pt x="259" y="9428"/>
                    </a:lnTo>
                    <a:cubicBezTo>
                      <a:pt x="96" y="9832"/>
                      <a:pt x="7" y="10271"/>
                      <a:pt x="1" y="10714"/>
                    </a:cubicBezTo>
                    <a:cubicBezTo>
                      <a:pt x="-6" y="11192"/>
                      <a:pt x="83" y="11666"/>
                      <a:pt x="259" y="12102"/>
                    </a:cubicBezTo>
                    <a:lnTo>
                      <a:pt x="4419" y="20185"/>
                    </a:lnTo>
                    <a:cubicBezTo>
                      <a:pt x="4638" y="20609"/>
                      <a:pt x="4953" y="20962"/>
                      <a:pt x="5334" y="21208"/>
                    </a:cubicBezTo>
                    <a:cubicBezTo>
                      <a:pt x="5698" y="21443"/>
                      <a:pt x="6110" y="21572"/>
                      <a:pt x="6531" y="21584"/>
                    </a:cubicBezTo>
                    <a:lnTo>
                      <a:pt x="14739" y="21584"/>
                    </a:lnTo>
                    <a:cubicBezTo>
                      <a:pt x="15238" y="21588"/>
                      <a:pt x="15730" y="21446"/>
                      <a:pt x="16164" y="21172"/>
                    </a:cubicBezTo>
                    <a:cubicBezTo>
                      <a:pt x="16546" y="20929"/>
                      <a:pt x="16872" y="20591"/>
                      <a:pt x="17115" y="20183"/>
                    </a:cubicBezTo>
                    <a:lnTo>
                      <a:pt x="21228" y="12302"/>
                    </a:lnTo>
                    <a:cubicBezTo>
                      <a:pt x="21468" y="11849"/>
                      <a:pt x="21594" y="11332"/>
                      <a:pt x="21593" y="10807"/>
                    </a:cubicBezTo>
                    <a:cubicBezTo>
                      <a:pt x="21593" y="10284"/>
                      <a:pt x="21467" y="9771"/>
                      <a:pt x="21228" y="9321"/>
                    </a:cubicBezTo>
                    <a:lnTo>
                      <a:pt x="17012" y="1260"/>
                    </a:lnTo>
                    <a:cubicBezTo>
                      <a:pt x="16793" y="867"/>
                      <a:pt x="16486" y="545"/>
                      <a:pt x="16120" y="324"/>
                    </a:cubicBezTo>
                    <a:cubicBezTo>
                      <a:pt x="15750" y="101"/>
                      <a:pt x="15333" y="-12"/>
                      <a:pt x="14912" y="1"/>
                    </a:cubicBezTo>
                    <a:lnTo>
                      <a:pt x="6657" y="1"/>
                    </a:lnTo>
                    <a:close/>
                    <a:moveTo>
                      <a:pt x="7548" y="2327"/>
                    </a:moveTo>
                    <a:lnTo>
                      <a:pt x="14024" y="2327"/>
                    </a:lnTo>
                    <a:cubicBezTo>
                      <a:pt x="14354" y="2317"/>
                      <a:pt x="14681" y="2404"/>
                      <a:pt x="14972" y="2579"/>
                    </a:cubicBezTo>
                    <a:cubicBezTo>
                      <a:pt x="15259" y="2752"/>
                      <a:pt x="15501" y="3005"/>
                      <a:pt x="15673" y="3313"/>
                    </a:cubicBezTo>
                    <a:lnTo>
                      <a:pt x="18979" y="9638"/>
                    </a:lnTo>
                    <a:cubicBezTo>
                      <a:pt x="19166" y="9991"/>
                      <a:pt x="19266" y="10395"/>
                      <a:pt x="19266" y="10805"/>
                    </a:cubicBezTo>
                    <a:cubicBezTo>
                      <a:pt x="19267" y="11217"/>
                      <a:pt x="19167" y="11622"/>
                      <a:pt x="18979" y="11977"/>
                    </a:cubicBezTo>
                    <a:lnTo>
                      <a:pt x="15754" y="18159"/>
                    </a:lnTo>
                    <a:cubicBezTo>
                      <a:pt x="15563" y="18478"/>
                      <a:pt x="15307" y="18744"/>
                      <a:pt x="15007" y="18935"/>
                    </a:cubicBezTo>
                    <a:cubicBezTo>
                      <a:pt x="14666" y="19150"/>
                      <a:pt x="14281" y="19261"/>
                      <a:pt x="13889" y="19258"/>
                    </a:cubicBezTo>
                    <a:lnTo>
                      <a:pt x="7450" y="19258"/>
                    </a:lnTo>
                    <a:cubicBezTo>
                      <a:pt x="7120" y="19249"/>
                      <a:pt x="6797" y="19147"/>
                      <a:pt x="6511" y="18963"/>
                    </a:cubicBezTo>
                    <a:cubicBezTo>
                      <a:pt x="6213" y="18770"/>
                      <a:pt x="5964" y="18495"/>
                      <a:pt x="5792" y="18163"/>
                    </a:cubicBezTo>
                    <a:lnTo>
                      <a:pt x="2530" y="11819"/>
                    </a:lnTo>
                    <a:cubicBezTo>
                      <a:pt x="2391" y="11477"/>
                      <a:pt x="2323" y="11105"/>
                      <a:pt x="2328" y="10730"/>
                    </a:cubicBezTo>
                    <a:cubicBezTo>
                      <a:pt x="2333" y="10382"/>
                      <a:pt x="2402" y="10040"/>
                      <a:pt x="2530" y="9723"/>
                    </a:cubicBezTo>
                    <a:lnTo>
                      <a:pt x="5905" y="3295"/>
                    </a:lnTo>
                    <a:cubicBezTo>
                      <a:pt x="6089" y="2986"/>
                      <a:pt x="6340" y="2735"/>
                      <a:pt x="6637" y="2565"/>
                    </a:cubicBezTo>
                    <a:cubicBezTo>
                      <a:pt x="6918" y="2405"/>
                      <a:pt x="7232" y="2323"/>
                      <a:pt x="7548" y="2327"/>
                    </a:cubicBezTo>
                    <a:close/>
                  </a:path>
                </a:pathLst>
              </a:custGeom>
              <a:solidFill>
                <a:srgbClr val="00B1D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cap="flat" cmpd="sng">
                    <a:solidFill>
                      <a:srgbClr val="000000"/>
                    </a:solidFill>
                    <a:prstDash val="solid"/>
                    <a:miter lim="400000"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27093" tIns="27093" rIns="27093" bIns="27093" anchor="ctr"/>
              <a:lstStyle/>
              <a:p>
                <a:endParaRPr lang="ru-RU" altLang="ru-RU" sz="2200" b="0" dirty="0">
                  <a:latin typeface="Helvetica Light" charset="0"/>
                  <a:ea typeface="Helvetica Light" charset="0"/>
                  <a:cs typeface="Helvetica Light" charset="0"/>
                  <a:sym typeface="Helvetica Light" charset="0"/>
                </a:endParaRPr>
              </a:p>
            </p:txBody>
          </p:sp>
          <p:sp>
            <p:nvSpPr>
              <p:cNvPr id="143" name="AutoShape 5"/>
              <p:cNvSpPr>
                <a:spLocks/>
              </p:cNvSpPr>
              <p:nvPr/>
            </p:nvSpPr>
            <p:spPr bwMode="auto">
              <a:xfrm>
                <a:off x="7110168" y="662417"/>
                <a:ext cx="2860883" cy="2574806"/>
              </a:xfrm>
              <a:custGeom>
                <a:avLst/>
                <a:gdLst>
                  <a:gd name="T0" fmla="+- 0 10802 6"/>
                  <a:gd name="T1" fmla="*/ T0 w 21593"/>
                  <a:gd name="T2" fmla="+- 0 10804 12"/>
                  <a:gd name="T3" fmla="*/ 10804 h 21584"/>
                  <a:gd name="T4" fmla="+- 0 10802 6"/>
                  <a:gd name="T5" fmla="*/ T4 w 21593"/>
                  <a:gd name="T6" fmla="+- 0 10804 12"/>
                  <a:gd name="T7" fmla="*/ 10804 h 21584"/>
                  <a:gd name="T8" fmla="+- 0 10802 6"/>
                  <a:gd name="T9" fmla="*/ T8 w 21593"/>
                  <a:gd name="T10" fmla="+- 0 10804 12"/>
                  <a:gd name="T11" fmla="*/ 10804 h 21584"/>
                  <a:gd name="T12" fmla="+- 0 10802 6"/>
                  <a:gd name="T13" fmla="*/ T12 w 21593"/>
                  <a:gd name="T14" fmla="+- 0 10804 12"/>
                  <a:gd name="T15" fmla="*/ 10804 h 21584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21593" h="21584">
                    <a:moveTo>
                      <a:pt x="6657" y="1"/>
                    </a:moveTo>
                    <a:cubicBezTo>
                      <a:pt x="6253" y="-5"/>
                      <a:pt x="5853" y="101"/>
                      <a:pt x="5494" y="306"/>
                    </a:cubicBezTo>
                    <a:cubicBezTo>
                      <a:pt x="5116" y="522"/>
                      <a:pt x="4795" y="842"/>
                      <a:pt x="4561" y="1236"/>
                    </a:cubicBezTo>
                    <a:lnTo>
                      <a:pt x="259" y="9428"/>
                    </a:lnTo>
                    <a:cubicBezTo>
                      <a:pt x="96" y="9832"/>
                      <a:pt x="7" y="10271"/>
                      <a:pt x="1" y="10714"/>
                    </a:cubicBezTo>
                    <a:cubicBezTo>
                      <a:pt x="-6" y="11192"/>
                      <a:pt x="83" y="11666"/>
                      <a:pt x="259" y="12102"/>
                    </a:cubicBezTo>
                    <a:lnTo>
                      <a:pt x="4419" y="20187"/>
                    </a:lnTo>
                    <a:cubicBezTo>
                      <a:pt x="4638" y="20611"/>
                      <a:pt x="4953" y="20962"/>
                      <a:pt x="5334" y="21208"/>
                    </a:cubicBezTo>
                    <a:cubicBezTo>
                      <a:pt x="5698" y="21443"/>
                      <a:pt x="6110" y="21572"/>
                      <a:pt x="6531" y="21584"/>
                    </a:cubicBezTo>
                    <a:lnTo>
                      <a:pt x="14739" y="21584"/>
                    </a:lnTo>
                    <a:cubicBezTo>
                      <a:pt x="15238" y="21588"/>
                      <a:pt x="15730" y="21446"/>
                      <a:pt x="16164" y="21172"/>
                    </a:cubicBezTo>
                    <a:cubicBezTo>
                      <a:pt x="16546" y="20929"/>
                      <a:pt x="16872" y="20591"/>
                      <a:pt x="17115" y="20183"/>
                    </a:cubicBezTo>
                    <a:lnTo>
                      <a:pt x="21228" y="12302"/>
                    </a:lnTo>
                    <a:cubicBezTo>
                      <a:pt x="21468" y="11849"/>
                      <a:pt x="21594" y="11332"/>
                      <a:pt x="21593" y="10807"/>
                    </a:cubicBezTo>
                    <a:cubicBezTo>
                      <a:pt x="21593" y="10284"/>
                      <a:pt x="21467" y="9771"/>
                      <a:pt x="21228" y="9321"/>
                    </a:cubicBezTo>
                    <a:lnTo>
                      <a:pt x="17012" y="1260"/>
                    </a:lnTo>
                    <a:cubicBezTo>
                      <a:pt x="16793" y="867"/>
                      <a:pt x="16486" y="545"/>
                      <a:pt x="16120" y="324"/>
                    </a:cubicBezTo>
                    <a:cubicBezTo>
                      <a:pt x="15750" y="101"/>
                      <a:pt x="15333" y="-12"/>
                      <a:pt x="14912" y="1"/>
                    </a:cubicBezTo>
                    <a:lnTo>
                      <a:pt x="6657" y="1"/>
                    </a:lnTo>
                    <a:close/>
                    <a:moveTo>
                      <a:pt x="7548" y="2327"/>
                    </a:moveTo>
                    <a:lnTo>
                      <a:pt x="14024" y="2327"/>
                    </a:lnTo>
                    <a:cubicBezTo>
                      <a:pt x="14354" y="2317"/>
                      <a:pt x="14681" y="2404"/>
                      <a:pt x="14972" y="2579"/>
                    </a:cubicBezTo>
                    <a:cubicBezTo>
                      <a:pt x="15259" y="2752"/>
                      <a:pt x="15501" y="3005"/>
                      <a:pt x="15673" y="3313"/>
                    </a:cubicBezTo>
                    <a:lnTo>
                      <a:pt x="18979" y="9638"/>
                    </a:lnTo>
                    <a:cubicBezTo>
                      <a:pt x="19166" y="9991"/>
                      <a:pt x="19265" y="10395"/>
                      <a:pt x="19266" y="10804"/>
                    </a:cubicBezTo>
                    <a:cubicBezTo>
                      <a:pt x="19267" y="11217"/>
                      <a:pt x="19167" y="11622"/>
                      <a:pt x="18979" y="11977"/>
                    </a:cubicBezTo>
                    <a:lnTo>
                      <a:pt x="15754" y="18159"/>
                    </a:lnTo>
                    <a:cubicBezTo>
                      <a:pt x="15563" y="18478"/>
                      <a:pt x="15307" y="18744"/>
                      <a:pt x="15007" y="18935"/>
                    </a:cubicBezTo>
                    <a:cubicBezTo>
                      <a:pt x="14666" y="19150"/>
                      <a:pt x="14281" y="19261"/>
                      <a:pt x="13889" y="19258"/>
                    </a:cubicBezTo>
                    <a:lnTo>
                      <a:pt x="7450" y="19258"/>
                    </a:lnTo>
                    <a:cubicBezTo>
                      <a:pt x="7120" y="19249"/>
                      <a:pt x="6797" y="19147"/>
                      <a:pt x="6511" y="18963"/>
                    </a:cubicBezTo>
                    <a:cubicBezTo>
                      <a:pt x="6213" y="18770"/>
                      <a:pt x="5964" y="18495"/>
                      <a:pt x="5792" y="18163"/>
                    </a:cubicBezTo>
                    <a:lnTo>
                      <a:pt x="2530" y="11819"/>
                    </a:lnTo>
                    <a:cubicBezTo>
                      <a:pt x="2391" y="11477"/>
                      <a:pt x="2323" y="11105"/>
                      <a:pt x="2328" y="10730"/>
                    </a:cubicBezTo>
                    <a:cubicBezTo>
                      <a:pt x="2333" y="10382"/>
                      <a:pt x="2402" y="10040"/>
                      <a:pt x="2530" y="9723"/>
                    </a:cubicBezTo>
                    <a:lnTo>
                      <a:pt x="5905" y="3295"/>
                    </a:lnTo>
                    <a:cubicBezTo>
                      <a:pt x="6089" y="2986"/>
                      <a:pt x="6340" y="2735"/>
                      <a:pt x="6637" y="2565"/>
                    </a:cubicBezTo>
                    <a:cubicBezTo>
                      <a:pt x="6918" y="2405"/>
                      <a:pt x="7232" y="2323"/>
                      <a:pt x="7548" y="2327"/>
                    </a:cubicBezTo>
                    <a:close/>
                  </a:path>
                </a:pathLst>
              </a:custGeom>
              <a:solidFill>
                <a:srgbClr val="C3D363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cap="flat" cmpd="sng">
                    <a:solidFill>
                      <a:srgbClr val="000000"/>
                    </a:solidFill>
                    <a:prstDash val="solid"/>
                    <a:miter lim="400000"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27093" tIns="27093" rIns="27093" bIns="27093" anchor="ctr"/>
              <a:lstStyle/>
              <a:p>
                <a:endParaRPr lang="ru-RU" altLang="ru-RU" sz="2200" b="0">
                  <a:latin typeface="Helvetica Light" charset="0"/>
                  <a:ea typeface="Helvetica Light" charset="0"/>
                  <a:cs typeface="Helvetica Light" charset="0"/>
                  <a:sym typeface="Helvetica Light" charset="0"/>
                </a:endParaRPr>
              </a:p>
            </p:txBody>
          </p:sp>
          <p:sp>
            <p:nvSpPr>
              <p:cNvPr id="144" name="AutoShape 6"/>
              <p:cNvSpPr>
                <a:spLocks/>
              </p:cNvSpPr>
              <p:nvPr/>
            </p:nvSpPr>
            <p:spPr bwMode="auto">
              <a:xfrm>
                <a:off x="9472458" y="2067159"/>
                <a:ext cx="2860884" cy="2574807"/>
              </a:xfrm>
              <a:custGeom>
                <a:avLst/>
                <a:gdLst>
                  <a:gd name="T0" fmla="+- 0 10802 6"/>
                  <a:gd name="T1" fmla="*/ T0 w 21593"/>
                  <a:gd name="T2" fmla="+- 0 10804 12"/>
                  <a:gd name="T3" fmla="*/ 10804 h 21584"/>
                  <a:gd name="T4" fmla="+- 0 10802 6"/>
                  <a:gd name="T5" fmla="*/ T4 w 21593"/>
                  <a:gd name="T6" fmla="+- 0 10804 12"/>
                  <a:gd name="T7" fmla="*/ 10804 h 21584"/>
                  <a:gd name="T8" fmla="+- 0 10802 6"/>
                  <a:gd name="T9" fmla="*/ T8 w 21593"/>
                  <a:gd name="T10" fmla="+- 0 10804 12"/>
                  <a:gd name="T11" fmla="*/ 10804 h 21584"/>
                  <a:gd name="T12" fmla="+- 0 10802 6"/>
                  <a:gd name="T13" fmla="*/ T12 w 21593"/>
                  <a:gd name="T14" fmla="+- 0 10804 12"/>
                  <a:gd name="T15" fmla="*/ 10804 h 21584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21593" h="21584">
                    <a:moveTo>
                      <a:pt x="6657" y="1"/>
                    </a:moveTo>
                    <a:cubicBezTo>
                      <a:pt x="6253" y="-5"/>
                      <a:pt x="5853" y="101"/>
                      <a:pt x="5494" y="306"/>
                    </a:cubicBezTo>
                    <a:cubicBezTo>
                      <a:pt x="5116" y="522"/>
                      <a:pt x="4795" y="842"/>
                      <a:pt x="4561" y="1236"/>
                    </a:cubicBezTo>
                    <a:lnTo>
                      <a:pt x="259" y="9428"/>
                    </a:lnTo>
                    <a:cubicBezTo>
                      <a:pt x="96" y="9832"/>
                      <a:pt x="7" y="10271"/>
                      <a:pt x="1" y="10714"/>
                    </a:cubicBezTo>
                    <a:cubicBezTo>
                      <a:pt x="-6" y="11192"/>
                      <a:pt x="83" y="11666"/>
                      <a:pt x="259" y="12102"/>
                    </a:cubicBezTo>
                    <a:lnTo>
                      <a:pt x="4419" y="20185"/>
                    </a:lnTo>
                    <a:cubicBezTo>
                      <a:pt x="4638" y="20609"/>
                      <a:pt x="4953" y="20962"/>
                      <a:pt x="5334" y="21208"/>
                    </a:cubicBezTo>
                    <a:cubicBezTo>
                      <a:pt x="5698" y="21443"/>
                      <a:pt x="6110" y="21572"/>
                      <a:pt x="6531" y="21584"/>
                    </a:cubicBezTo>
                    <a:lnTo>
                      <a:pt x="14739" y="21584"/>
                    </a:lnTo>
                    <a:cubicBezTo>
                      <a:pt x="15238" y="21588"/>
                      <a:pt x="15730" y="21446"/>
                      <a:pt x="16164" y="21172"/>
                    </a:cubicBezTo>
                    <a:cubicBezTo>
                      <a:pt x="16546" y="20929"/>
                      <a:pt x="16872" y="20591"/>
                      <a:pt x="17115" y="20183"/>
                    </a:cubicBezTo>
                    <a:lnTo>
                      <a:pt x="21228" y="12302"/>
                    </a:lnTo>
                    <a:cubicBezTo>
                      <a:pt x="21468" y="11849"/>
                      <a:pt x="21594" y="11332"/>
                      <a:pt x="21593" y="10807"/>
                    </a:cubicBezTo>
                    <a:cubicBezTo>
                      <a:pt x="21593" y="10284"/>
                      <a:pt x="21467" y="9771"/>
                      <a:pt x="21228" y="9321"/>
                    </a:cubicBezTo>
                    <a:lnTo>
                      <a:pt x="17012" y="1260"/>
                    </a:lnTo>
                    <a:cubicBezTo>
                      <a:pt x="16793" y="867"/>
                      <a:pt x="16486" y="545"/>
                      <a:pt x="16120" y="324"/>
                    </a:cubicBezTo>
                    <a:cubicBezTo>
                      <a:pt x="15750" y="101"/>
                      <a:pt x="15331" y="-12"/>
                      <a:pt x="14910" y="1"/>
                    </a:cubicBezTo>
                    <a:lnTo>
                      <a:pt x="6657" y="1"/>
                    </a:lnTo>
                    <a:close/>
                    <a:moveTo>
                      <a:pt x="7548" y="2327"/>
                    </a:moveTo>
                    <a:lnTo>
                      <a:pt x="14024" y="2327"/>
                    </a:lnTo>
                    <a:cubicBezTo>
                      <a:pt x="14354" y="2317"/>
                      <a:pt x="14681" y="2404"/>
                      <a:pt x="14972" y="2579"/>
                    </a:cubicBezTo>
                    <a:cubicBezTo>
                      <a:pt x="15259" y="2752"/>
                      <a:pt x="15501" y="3005"/>
                      <a:pt x="15673" y="3313"/>
                    </a:cubicBezTo>
                    <a:lnTo>
                      <a:pt x="18979" y="9638"/>
                    </a:lnTo>
                    <a:cubicBezTo>
                      <a:pt x="19166" y="9991"/>
                      <a:pt x="19266" y="10395"/>
                      <a:pt x="19266" y="10805"/>
                    </a:cubicBezTo>
                    <a:cubicBezTo>
                      <a:pt x="19267" y="11217"/>
                      <a:pt x="19167" y="11622"/>
                      <a:pt x="18979" y="11977"/>
                    </a:cubicBezTo>
                    <a:lnTo>
                      <a:pt x="15754" y="18159"/>
                    </a:lnTo>
                    <a:cubicBezTo>
                      <a:pt x="15563" y="18478"/>
                      <a:pt x="15307" y="18744"/>
                      <a:pt x="15007" y="18935"/>
                    </a:cubicBezTo>
                    <a:cubicBezTo>
                      <a:pt x="14666" y="19150"/>
                      <a:pt x="14281" y="19261"/>
                      <a:pt x="13889" y="19258"/>
                    </a:cubicBezTo>
                    <a:lnTo>
                      <a:pt x="7450" y="19258"/>
                    </a:lnTo>
                    <a:cubicBezTo>
                      <a:pt x="7120" y="19249"/>
                      <a:pt x="6797" y="19147"/>
                      <a:pt x="6511" y="18963"/>
                    </a:cubicBezTo>
                    <a:cubicBezTo>
                      <a:pt x="6213" y="18770"/>
                      <a:pt x="5964" y="18495"/>
                      <a:pt x="5792" y="18163"/>
                    </a:cubicBezTo>
                    <a:lnTo>
                      <a:pt x="2530" y="11819"/>
                    </a:lnTo>
                    <a:cubicBezTo>
                      <a:pt x="2392" y="11477"/>
                      <a:pt x="2323" y="11105"/>
                      <a:pt x="2328" y="10730"/>
                    </a:cubicBezTo>
                    <a:cubicBezTo>
                      <a:pt x="2333" y="10382"/>
                      <a:pt x="2402" y="10040"/>
                      <a:pt x="2530" y="9723"/>
                    </a:cubicBezTo>
                    <a:lnTo>
                      <a:pt x="5903" y="3295"/>
                    </a:lnTo>
                    <a:cubicBezTo>
                      <a:pt x="6087" y="2986"/>
                      <a:pt x="6340" y="2735"/>
                      <a:pt x="6637" y="2565"/>
                    </a:cubicBezTo>
                    <a:cubicBezTo>
                      <a:pt x="6918" y="2405"/>
                      <a:pt x="7232" y="2323"/>
                      <a:pt x="7548" y="2327"/>
                    </a:cubicBezTo>
                    <a:close/>
                  </a:path>
                </a:pathLst>
              </a:custGeom>
              <a:solidFill>
                <a:srgbClr val="00589B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cap="flat" cmpd="sng">
                    <a:solidFill>
                      <a:srgbClr val="000000"/>
                    </a:solidFill>
                    <a:prstDash val="solid"/>
                    <a:miter lim="400000"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27093" tIns="27093" rIns="27093" bIns="27093" anchor="ctr"/>
              <a:lstStyle/>
              <a:p>
                <a:endParaRPr lang="ru-RU" altLang="ru-RU" sz="2200" b="0">
                  <a:latin typeface="Helvetica Light" charset="0"/>
                  <a:ea typeface="Helvetica Light" charset="0"/>
                  <a:cs typeface="Helvetica Light" charset="0"/>
                  <a:sym typeface="Helvetica Light" charset="0"/>
                </a:endParaRPr>
              </a:p>
            </p:txBody>
          </p:sp>
          <p:sp>
            <p:nvSpPr>
              <p:cNvPr id="145" name="AutoShape 11"/>
              <p:cNvSpPr>
                <a:spLocks/>
              </p:cNvSpPr>
              <p:nvPr/>
            </p:nvSpPr>
            <p:spPr bwMode="auto">
              <a:xfrm>
                <a:off x="2930980" y="1142208"/>
                <a:ext cx="1794686" cy="1615225"/>
              </a:xfrm>
              <a:custGeom>
                <a:avLst/>
                <a:gdLst>
                  <a:gd name="T0" fmla="+- 0 10802 6"/>
                  <a:gd name="T1" fmla="*/ T0 w 21593"/>
                  <a:gd name="T2" fmla="+- 0 10804 12"/>
                  <a:gd name="T3" fmla="*/ 10804 h 21584"/>
                  <a:gd name="T4" fmla="+- 0 10802 6"/>
                  <a:gd name="T5" fmla="*/ T4 w 21593"/>
                  <a:gd name="T6" fmla="+- 0 10804 12"/>
                  <a:gd name="T7" fmla="*/ 10804 h 21584"/>
                  <a:gd name="T8" fmla="+- 0 10802 6"/>
                  <a:gd name="T9" fmla="*/ T8 w 21593"/>
                  <a:gd name="T10" fmla="+- 0 10804 12"/>
                  <a:gd name="T11" fmla="*/ 10804 h 21584"/>
                  <a:gd name="T12" fmla="+- 0 10802 6"/>
                  <a:gd name="T13" fmla="*/ T12 w 21593"/>
                  <a:gd name="T14" fmla="+- 0 10804 12"/>
                  <a:gd name="T15" fmla="*/ 10804 h 21584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21593" h="21584">
                    <a:moveTo>
                      <a:pt x="6656" y="1"/>
                    </a:moveTo>
                    <a:lnTo>
                      <a:pt x="14911" y="1"/>
                    </a:lnTo>
                    <a:cubicBezTo>
                      <a:pt x="15332" y="-12"/>
                      <a:pt x="15749" y="99"/>
                      <a:pt x="16119" y="322"/>
                    </a:cubicBezTo>
                    <a:cubicBezTo>
                      <a:pt x="16485" y="543"/>
                      <a:pt x="16792" y="865"/>
                      <a:pt x="17011" y="1258"/>
                    </a:cubicBezTo>
                    <a:lnTo>
                      <a:pt x="21227" y="9321"/>
                    </a:lnTo>
                    <a:cubicBezTo>
                      <a:pt x="21466" y="9771"/>
                      <a:pt x="21593" y="10284"/>
                      <a:pt x="21593" y="10806"/>
                    </a:cubicBezTo>
                    <a:cubicBezTo>
                      <a:pt x="21594" y="11332"/>
                      <a:pt x="21468" y="11848"/>
                      <a:pt x="21227" y="12301"/>
                    </a:cubicBezTo>
                    <a:lnTo>
                      <a:pt x="17115" y="20182"/>
                    </a:lnTo>
                    <a:cubicBezTo>
                      <a:pt x="16872" y="20590"/>
                      <a:pt x="16545" y="20928"/>
                      <a:pt x="16163" y="21171"/>
                    </a:cubicBezTo>
                    <a:cubicBezTo>
                      <a:pt x="15730" y="21445"/>
                      <a:pt x="15238" y="21588"/>
                      <a:pt x="14739" y="21584"/>
                    </a:cubicBezTo>
                    <a:lnTo>
                      <a:pt x="6530" y="21584"/>
                    </a:lnTo>
                    <a:cubicBezTo>
                      <a:pt x="6109" y="21572"/>
                      <a:pt x="5698" y="21443"/>
                      <a:pt x="5333" y="21207"/>
                    </a:cubicBezTo>
                    <a:cubicBezTo>
                      <a:pt x="4953" y="20962"/>
                      <a:pt x="4637" y="20609"/>
                      <a:pt x="4418" y="20186"/>
                    </a:cubicBezTo>
                    <a:lnTo>
                      <a:pt x="259" y="12100"/>
                    </a:lnTo>
                    <a:cubicBezTo>
                      <a:pt x="82" y="11664"/>
                      <a:pt x="-6" y="11190"/>
                      <a:pt x="1" y="10712"/>
                    </a:cubicBezTo>
                    <a:cubicBezTo>
                      <a:pt x="7" y="10269"/>
                      <a:pt x="95" y="9832"/>
                      <a:pt x="259" y="9428"/>
                    </a:cubicBezTo>
                    <a:lnTo>
                      <a:pt x="4560" y="1235"/>
                    </a:lnTo>
                    <a:cubicBezTo>
                      <a:pt x="4794" y="841"/>
                      <a:pt x="5116" y="521"/>
                      <a:pt x="5494" y="305"/>
                    </a:cubicBezTo>
                    <a:cubicBezTo>
                      <a:pt x="5853" y="100"/>
                      <a:pt x="6252" y="-5"/>
                      <a:pt x="6656" y="1"/>
                    </a:cubicBezTo>
                    <a:close/>
                  </a:path>
                </a:pathLst>
              </a:custGeom>
              <a:solidFill>
                <a:srgbClr val="EFF0F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cap="flat" cmpd="sng">
                    <a:solidFill>
                      <a:srgbClr val="000000"/>
                    </a:solidFill>
                    <a:prstDash val="solid"/>
                    <a:miter lim="400000"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27093" tIns="27093" rIns="27093" bIns="27093" anchor="ctr"/>
              <a:lstStyle/>
              <a:p>
                <a:endParaRPr lang="ru-RU" altLang="ru-RU" sz="2200" b="0">
                  <a:latin typeface="Helvetica Light" charset="0"/>
                  <a:ea typeface="Helvetica Light" charset="0"/>
                  <a:cs typeface="Helvetica Light" charset="0"/>
                  <a:sym typeface="Helvetica Light" charset="0"/>
                </a:endParaRPr>
              </a:p>
            </p:txBody>
          </p:sp>
          <p:sp>
            <p:nvSpPr>
              <p:cNvPr id="146" name="AutoShape 14"/>
              <p:cNvSpPr>
                <a:spLocks/>
              </p:cNvSpPr>
              <p:nvPr/>
            </p:nvSpPr>
            <p:spPr bwMode="auto">
              <a:xfrm>
                <a:off x="5293270" y="2546951"/>
                <a:ext cx="1794686" cy="1615225"/>
              </a:xfrm>
              <a:custGeom>
                <a:avLst/>
                <a:gdLst>
                  <a:gd name="T0" fmla="+- 0 10802 6"/>
                  <a:gd name="T1" fmla="*/ T0 w 21593"/>
                  <a:gd name="T2" fmla="+- 0 10804 12"/>
                  <a:gd name="T3" fmla="*/ 10804 h 21584"/>
                  <a:gd name="T4" fmla="+- 0 10802 6"/>
                  <a:gd name="T5" fmla="*/ T4 w 21593"/>
                  <a:gd name="T6" fmla="+- 0 10804 12"/>
                  <a:gd name="T7" fmla="*/ 10804 h 21584"/>
                  <a:gd name="T8" fmla="+- 0 10802 6"/>
                  <a:gd name="T9" fmla="*/ T8 w 21593"/>
                  <a:gd name="T10" fmla="+- 0 10804 12"/>
                  <a:gd name="T11" fmla="*/ 10804 h 21584"/>
                  <a:gd name="T12" fmla="+- 0 10802 6"/>
                  <a:gd name="T13" fmla="*/ T12 w 21593"/>
                  <a:gd name="T14" fmla="+- 0 10804 12"/>
                  <a:gd name="T15" fmla="*/ 10804 h 21584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21593" h="21584">
                    <a:moveTo>
                      <a:pt x="6656" y="1"/>
                    </a:moveTo>
                    <a:lnTo>
                      <a:pt x="14911" y="1"/>
                    </a:lnTo>
                    <a:cubicBezTo>
                      <a:pt x="15332" y="-12"/>
                      <a:pt x="15749" y="99"/>
                      <a:pt x="16119" y="322"/>
                    </a:cubicBezTo>
                    <a:cubicBezTo>
                      <a:pt x="16485" y="543"/>
                      <a:pt x="16792" y="865"/>
                      <a:pt x="17011" y="1258"/>
                    </a:cubicBezTo>
                    <a:lnTo>
                      <a:pt x="21227" y="9321"/>
                    </a:lnTo>
                    <a:cubicBezTo>
                      <a:pt x="21466" y="9771"/>
                      <a:pt x="21593" y="10284"/>
                      <a:pt x="21593" y="10806"/>
                    </a:cubicBezTo>
                    <a:cubicBezTo>
                      <a:pt x="21594" y="11332"/>
                      <a:pt x="21468" y="11848"/>
                      <a:pt x="21227" y="12301"/>
                    </a:cubicBezTo>
                    <a:lnTo>
                      <a:pt x="17115" y="20182"/>
                    </a:lnTo>
                    <a:cubicBezTo>
                      <a:pt x="16872" y="20590"/>
                      <a:pt x="16545" y="20928"/>
                      <a:pt x="16163" y="21171"/>
                    </a:cubicBezTo>
                    <a:cubicBezTo>
                      <a:pt x="15730" y="21445"/>
                      <a:pt x="15238" y="21588"/>
                      <a:pt x="14739" y="21584"/>
                    </a:cubicBezTo>
                    <a:lnTo>
                      <a:pt x="6530" y="21584"/>
                    </a:lnTo>
                    <a:cubicBezTo>
                      <a:pt x="6109" y="21572"/>
                      <a:pt x="5698" y="21443"/>
                      <a:pt x="5333" y="21207"/>
                    </a:cubicBezTo>
                    <a:cubicBezTo>
                      <a:pt x="4953" y="20962"/>
                      <a:pt x="4637" y="20609"/>
                      <a:pt x="4418" y="20186"/>
                    </a:cubicBezTo>
                    <a:lnTo>
                      <a:pt x="259" y="12100"/>
                    </a:lnTo>
                    <a:cubicBezTo>
                      <a:pt x="82" y="11664"/>
                      <a:pt x="-6" y="11190"/>
                      <a:pt x="1" y="10712"/>
                    </a:cubicBezTo>
                    <a:cubicBezTo>
                      <a:pt x="7" y="10269"/>
                      <a:pt x="95" y="9832"/>
                      <a:pt x="259" y="9428"/>
                    </a:cubicBezTo>
                    <a:lnTo>
                      <a:pt x="4560" y="1235"/>
                    </a:lnTo>
                    <a:cubicBezTo>
                      <a:pt x="4794" y="841"/>
                      <a:pt x="5116" y="521"/>
                      <a:pt x="5494" y="305"/>
                    </a:cubicBezTo>
                    <a:cubicBezTo>
                      <a:pt x="5853" y="100"/>
                      <a:pt x="6252" y="-5"/>
                      <a:pt x="6656" y="1"/>
                    </a:cubicBezTo>
                    <a:close/>
                  </a:path>
                </a:pathLst>
              </a:custGeom>
              <a:solidFill>
                <a:srgbClr val="EFF0F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cap="flat" cmpd="sng">
                    <a:solidFill>
                      <a:srgbClr val="000000"/>
                    </a:solidFill>
                    <a:prstDash val="solid"/>
                    <a:miter lim="400000"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27093" tIns="27093" rIns="27093" bIns="27093" anchor="ctr"/>
              <a:lstStyle/>
              <a:p>
                <a:endParaRPr lang="ru-RU" altLang="ru-RU" sz="2200" b="0">
                  <a:latin typeface="Helvetica Light" charset="0"/>
                  <a:ea typeface="Helvetica Light" charset="0"/>
                  <a:cs typeface="Helvetica Light" charset="0"/>
                  <a:sym typeface="Helvetica Light" charset="0"/>
                </a:endParaRPr>
              </a:p>
            </p:txBody>
          </p:sp>
          <p:sp>
            <p:nvSpPr>
              <p:cNvPr id="147" name="AutoShape 17"/>
              <p:cNvSpPr>
                <a:spLocks/>
              </p:cNvSpPr>
              <p:nvPr/>
            </p:nvSpPr>
            <p:spPr bwMode="auto">
              <a:xfrm>
                <a:off x="10005558" y="2546951"/>
                <a:ext cx="1794686" cy="1615225"/>
              </a:xfrm>
              <a:custGeom>
                <a:avLst/>
                <a:gdLst>
                  <a:gd name="T0" fmla="+- 0 10802 6"/>
                  <a:gd name="T1" fmla="*/ T0 w 21593"/>
                  <a:gd name="T2" fmla="+- 0 10804 12"/>
                  <a:gd name="T3" fmla="*/ 10804 h 21584"/>
                  <a:gd name="T4" fmla="+- 0 10802 6"/>
                  <a:gd name="T5" fmla="*/ T4 w 21593"/>
                  <a:gd name="T6" fmla="+- 0 10804 12"/>
                  <a:gd name="T7" fmla="*/ 10804 h 21584"/>
                  <a:gd name="T8" fmla="+- 0 10802 6"/>
                  <a:gd name="T9" fmla="*/ T8 w 21593"/>
                  <a:gd name="T10" fmla="+- 0 10804 12"/>
                  <a:gd name="T11" fmla="*/ 10804 h 21584"/>
                  <a:gd name="T12" fmla="+- 0 10802 6"/>
                  <a:gd name="T13" fmla="*/ T12 w 21593"/>
                  <a:gd name="T14" fmla="+- 0 10804 12"/>
                  <a:gd name="T15" fmla="*/ 10804 h 21584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21593" h="21584">
                    <a:moveTo>
                      <a:pt x="6656" y="1"/>
                    </a:moveTo>
                    <a:lnTo>
                      <a:pt x="14911" y="1"/>
                    </a:lnTo>
                    <a:cubicBezTo>
                      <a:pt x="15332" y="-12"/>
                      <a:pt x="15749" y="99"/>
                      <a:pt x="16119" y="322"/>
                    </a:cubicBezTo>
                    <a:cubicBezTo>
                      <a:pt x="16485" y="543"/>
                      <a:pt x="16792" y="865"/>
                      <a:pt x="17011" y="1258"/>
                    </a:cubicBezTo>
                    <a:lnTo>
                      <a:pt x="21227" y="9321"/>
                    </a:lnTo>
                    <a:cubicBezTo>
                      <a:pt x="21466" y="9771"/>
                      <a:pt x="21593" y="10284"/>
                      <a:pt x="21593" y="10806"/>
                    </a:cubicBezTo>
                    <a:cubicBezTo>
                      <a:pt x="21594" y="11332"/>
                      <a:pt x="21468" y="11848"/>
                      <a:pt x="21227" y="12301"/>
                    </a:cubicBezTo>
                    <a:lnTo>
                      <a:pt x="17115" y="20182"/>
                    </a:lnTo>
                    <a:cubicBezTo>
                      <a:pt x="16872" y="20590"/>
                      <a:pt x="16545" y="20928"/>
                      <a:pt x="16163" y="21171"/>
                    </a:cubicBezTo>
                    <a:cubicBezTo>
                      <a:pt x="15730" y="21445"/>
                      <a:pt x="15238" y="21588"/>
                      <a:pt x="14739" y="21584"/>
                    </a:cubicBezTo>
                    <a:lnTo>
                      <a:pt x="6530" y="21584"/>
                    </a:lnTo>
                    <a:cubicBezTo>
                      <a:pt x="6109" y="21572"/>
                      <a:pt x="5698" y="21443"/>
                      <a:pt x="5333" y="21207"/>
                    </a:cubicBezTo>
                    <a:cubicBezTo>
                      <a:pt x="4953" y="20962"/>
                      <a:pt x="4637" y="20609"/>
                      <a:pt x="4418" y="20186"/>
                    </a:cubicBezTo>
                    <a:lnTo>
                      <a:pt x="259" y="12100"/>
                    </a:lnTo>
                    <a:cubicBezTo>
                      <a:pt x="82" y="11664"/>
                      <a:pt x="-6" y="11190"/>
                      <a:pt x="1" y="10712"/>
                    </a:cubicBezTo>
                    <a:cubicBezTo>
                      <a:pt x="7" y="10269"/>
                      <a:pt x="95" y="9832"/>
                      <a:pt x="259" y="9428"/>
                    </a:cubicBezTo>
                    <a:lnTo>
                      <a:pt x="4560" y="1235"/>
                    </a:lnTo>
                    <a:cubicBezTo>
                      <a:pt x="4794" y="841"/>
                      <a:pt x="5116" y="521"/>
                      <a:pt x="5494" y="305"/>
                    </a:cubicBezTo>
                    <a:cubicBezTo>
                      <a:pt x="5853" y="100"/>
                      <a:pt x="6252" y="-5"/>
                      <a:pt x="6656" y="1"/>
                    </a:cubicBezTo>
                    <a:close/>
                  </a:path>
                </a:pathLst>
              </a:custGeom>
              <a:solidFill>
                <a:srgbClr val="EFF0F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cap="flat" cmpd="sng">
                    <a:solidFill>
                      <a:srgbClr val="000000"/>
                    </a:solidFill>
                    <a:prstDash val="solid"/>
                    <a:miter lim="400000"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27093" tIns="27093" rIns="27093" bIns="27093" anchor="ctr"/>
              <a:lstStyle/>
              <a:p>
                <a:endParaRPr lang="ru-RU" altLang="ru-RU" sz="2200" b="0">
                  <a:latin typeface="Helvetica Light" charset="0"/>
                  <a:ea typeface="Helvetica Light" charset="0"/>
                  <a:cs typeface="Helvetica Light" charset="0"/>
                  <a:sym typeface="Helvetica Light" charset="0"/>
                </a:endParaRPr>
              </a:p>
            </p:txBody>
          </p:sp>
          <p:sp>
            <p:nvSpPr>
              <p:cNvPr id="148" name="AutoShape 20"/>
              <p:cNvSpPr>
                <a:spLocks/>
              </p:cNvSpPr>
              <p:nvPr/>
            </p:nvSpPr>
            <p:spPr bwMode="auto">
              <a:xfrm>
                <a:off x="574233" y="2546952"/>
                <a:ext cx="1794686" cy="1615225"/>
              </a:xfrm>
              <a:custGeom>
                <a:avLst/>
                <a:gdLst>
                  <a:gd name="T0" fmla="+- 0 10802 6"/>
                  <a:gd name="T1" fmla="*/ T0 w 21593"/>
                  <a:gd name="T2" fmla="+- 0 10804 12"/>
                  <a:gd name="T3" fmla="*/ 10804 h 21584"/>
                  <a:gd name="T4" fmla="+- 0 10802 6"/>
                  <a:gd name="T5" fmla="*/ T4 w 21593"/>
                  <a:gd name="T6" fmla="+- 0 10804 12"/>
                  <a:gd name="T7" fmla="*/ 10804 h 21584"/>
                  <a:gd name="T8" fmla="+- 0 10802 6"/>
                  <a:gd name="T9" fmla="*/ T8 w 21593"/>
                  <a:gd name="T10" fmla="+- 0 10804 12"/>
                  <a:gd name="T11" fmla="*/ 10804 h 21584"/>
                  <a:gd name="T12" fmla="+- 0 10802 6"/>
                  <a:gd name="T13" fmla="*/ T12 w 21593"/>
                  <a:gd name="T14" fmla="+- 0 10804 12"/>
                  <a:gd name="T15" fmla="*/ 10804 h 21584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21593" h="21584">
                    <a:moveTo>
                      <a:pt x="6656" y="1"/>
                    </a:moveTo>
                    <a:lnTo>
                      <a:pt x="14911" y="1"/>
                    </a:lnTo>
                    <a:cubicBezTo>
                      <a:pt x="15332" y="-12"/>
                      <a:pt x="15749" y="99"/>
                      <a:pt x="16119" y="322"/>
                    </a:cubicBezTo>
                    <a:cubicBezTo>
                      <a:pt x="16485" y="543"/>
                      <a:pt x="16792" y="865"/>
                      <a:pt x="17011" y="1258"/>
                    </a:cubicBezTo>
                    <a:lnTo>
                      <a:pt x="21227" y="9321"/>
                    </a:lnTo>
                    <a:cubicBezTo>
                      <a:pt x="21466" y="9771"/>
                      <a:pt x="21593" y="10284"/>
                      <a:pt x="21593" y="10806"/>
                    </a:cubicBezTo>
                    <a:cubicBezTo>
                      <a:pt x="21594" y="11332"/>
                      <a:pt x="21468" y="11848"/>
                      <a:pt x="21227" y="12301"/>
                    </a:cubicBezTo>
                    <a:lnTo>
                      <a:pt x="17115" y="20182"/>
                    </a:lnTo>
                    <a:cubicBezTo>
                      <a:pt x="16872" y="20590"/>
                      <a:pt x="16545" y="20928"/>
                      <a:pt x="16163" y="21171"/>
                    </a:cubicBezTo>
                    <a:cubicBezTo>
                      <a:pt x="15730" y="21445"/>
                      <a:pt x="15238" y="21588"/>
                      <a:pt x="14739" y="21584"/>
                    </a:cubicBezTo>
                    <a:lnTo>
                      <a:pt x="6530" y="21584"/>
                    </a:lnTo>
                    <a:cubicBezTo>
                      <a:pt x="6109" y="21572"/>
                      <a:pt x="5698" y="21443"/>
                      <a:pt x="5333" y="21207"/>
                    </a:cubicBezTo>
                    <a:cubicBezTo>
                      <a:pt x="4953" y="20962"/>
                      <a:pt x="4637" y="20609"/>
                      <a:pt x="4418" y="20186"/>
                    </a:cubicBezTo>
                    <a:lnTo>
                      <a:pt x="259" y="12100"/>
                    </a:lnTo>
                    <a:cubicBezTo>
                      <a:pt x="82" y="11664"/>
                      <a:pt x="-6" y="11190"/>
                      <a:pt x="1" y="10712"/>
                    </a:cubicBezTo>
                    <a:cubicBezTo>
                      <a:pt x="7" y="10269"/>
                      <a:pt x="95" y="9832"/>
                      <a:pt x="259" y="9428"/>
                    </a:cubicBezTo>
                    <a:lnTo>
                      <a:pt x="4560" y="1235"/>
                    </a:lnTo>
                    <a:cubicBezTo>
                      <a:pt x="4794" y="841"/>
                      <a:pt x="5116" y="521"/>
                      <a:pt x="5494" y="305"/>
                    </a:cubicBezTo>
                    <a:cubicBezTo>
                      <a:pt x="5853" y="100"/>
                      <a:pt x="6252" y="-5"/>
                      <a:pt x="6656" y="1"/>
                    </a:cubicBezTo>
                    <a:close/>
                  </a:path>
                </a:pathLst>
              </a:custGeom>
              <a:solidFill>
                <a:srgbClr val="EFF0F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cap="flat" cmpd="sng">
                    <a:solidFill>
                      <a:srgbClr val="000000"/>
                    </a:solidFill>
                    <a:prstDash val="solid"/>
                    <a:miter lim="400000"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27093" tIns="27093" rIns="27093" bIns="27093" anchor="ctr"/>
              <a:lstStyle/>
              <a:p>
                <a:endParaRPr lang="ru-RU" altLang="ru-RU" sz="2200" b="0">
                  <a:latin typeface="Helvetica Light" charset="0"/>
                  <a:ea typeface="Helvetica Light" charset="0"/>
                  <a:cs typeface="Helvetica Light" charset="0"/>
                  <a:sym typeface="Helvetica Light" charset="0"/>
                </a:endParaRPr>
              </a:p>
            </p:txBody>
          </p:sp>
          <p:sp>
            <p:nvSpPr>
              <p:cNvPr id="149" name="AutoShape 23"/>
              <p:cNvSpPr>
                <a:spLocks/>
              </p:cNvSpPr>
              <p:nvPr/>
            </p:nvSpPr>
            <p:spPr bwMode="auto">
              <a:xfrm>
                <a:off x="7643267" y="1142208"/>
                <a:ext cx="1794686" cy="1615225"/>
              </a:xfrm>
              <a:custGeom>
                <a:avLst/>
                <a:gdLst>
                  <a:gd name="T0" fmla="+- 0 10802 6"/>
                  <a:gd name="T1" fmla="*/ T0 w 21593"/>
                  <a:gd name="T2" fmla="+- 0 10804 12"/>
                  <a:gd name="T3" fmla="*/ 10804 h 21584"/>
                  <a:gd name="T4" fmla="+- 0 10802 6"/>
                  <a:gd name="T5" fmla="*/ T4 w 21593"/>
                  <a:gd name="T6" fmla="+- 0 10804 12"/>
                  <a:gd name="T7" fmla="*/ 10804 h 21584"/>
                  <a:gd name="T8" fmla="+- 0 10802 6"/>
                  <a:gd name="T9" fmla="*/ T8 w 21593"/>
                  <a:gd name="T10" fmla="+- 0 10804 12"/>
                  <a:gd name="T11" fmla="*/ 10804 h 21584"/>
                  <a:gd name="T12" fmla="+- 0 10802 6"/>
                  <a:gd name="T13" fmla="*/ T12 w 21593"/>
                  <a:gd name="T14" fmla="+- 0 10804 12"/>
                  <a:gd name="T15" fmla="*/ 10804 h 21584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21593" h="21584">
                    <a:moveTo>
                      <a:pt x="6656" y="1"/>
                    </a:moveTo>
                    <a:lnTo>
                      <a:pt x="14911" y="1"/>
                    </a:lnTo>
                    <a:cubicBezTo>
                      <a:pt x="15332" y="-12"/>
                      <a:pt x="15749" y="99"/>
                      <a:pt x="16119" y="322"/>
                    </a:cubicBezTo>
                    <a:cubicBezTo>
                      <a:pt x="16485" y="543"/>
                      <a:pt x="16792" y="865"/>
                      <a:pt x="17011" y="1258"/>
                    </a:cubicBezTo>
                    <a:lnTo>
                      <a:pt x="21227" y="9321"/>
                    </a:lnTo>
                    <a:cubicBezTo>
                      <a:pt x="21466" y="9771"/>
                      <a:pt x="21593" y="10284"/>
                      <a:pt x="21593" y="10806"/>
                    </a:cubicBezTo>
                    <a:cubicBezTo>
                      <a:pt x="21594" y="11332"/>
                      <a:pt x="21468" y="11848"/>
                      <a:pt x="21227" y="12301"/>
                    </a:cubicBezTo>
                    <a:lnTo>
                      <a:pt x="17115" y="20182"/>
                    </a:lnTo>
                    <a:cubicBezTo>
                      <a:pt x="16872" y="20590"/>
                      <a:pt x="16545" y="20928"/>
                      <a:pt x="16163" y="21171"/>
                    </a:cubicBezTo>
                    <a:cubicBezTo>
                      <a:pt x="15730" y="21445"/>
                      <a:pt x="15238" y="21588"/>
                      <a:pt x="14739" y="21584"/>
                    </a:cubicBezTo>
                    <a:lnTo>
                      <a:pt x="6530" y="21584"/>
                    </a:lnTo>
                    <a:cubicBezTo>
                      <a:pt x="6109" y="21572"/>
                      <a:pt x="5698" y="21443"/>
                      <a:pt x="5333" y="21207"/>
                    </a:cubicBezTo>
                    <a:cubicBezTo>
                      <a:pt x="4953" y="20962"/>
                      <a:pt x="4637" y="20609"/>
                      <a:pt x="4418" y="20186"/>
                    </a:cubicBezTo>
                    <a:lnTo>
                      <a:pt x="259" y="12100"/>
                    </a:lnTo>
                    <a:cubicBezTo>
                      <a:pt x="82" y="11664"/>
                      <a:pt x="-6" y="11190"/>
                      <a:pt x="1" y="10712"/>
                    </a:cubicBezTo>
                    <a:cubicBezTo>
                      <a:pt x="7" y="10269"/>
                      <a:pt x="95" y="9832"/>
                      <a:pt x="259" y="9428"/>
                    </a:cubicBezTo>
                    <a:lnTo>
                      <a:pt x="4560" y="1235"/>
                    </a:lnTo>
                    <a:cubicBezTo>
                      <a:pt x="4794" y="841"/>
                      <a:pt x="5116" y="521"/>
                      <a:pt x="5494" y="305"/>
                    </a:cubicBezTo>
                    <a:cubicBezTo>
                      <a:pt x="5853" y="100"/>
                      <a:pt x="6252" y="-5"/>
                      <a:pt x="6656" y="1"/>
                    </a:cubicBezTo>
                    <a:close/>
                  </a:path>
                </a:pathLst>
              </a:custGeom>
              <a:solidFill>
                <a:srgbClr val="EFF0F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cap="flat" cmpd="sng">
                    <a:solidFill>
                      <a:srgbClr val="000000"/>
                    </a:solidFill>
                    <a:prstDash val="solid"/>
                    <a:miter lim="400000"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27093" tIns="27093" rIns="27093" bIns="27093" anchor="ctr"/>
              <a:lstStyle/>
              <a:p>
                <a:endParaRPr lang="ru-RU" altLang="ru-RU" sz="2200" b="0">
                  <a:latin typeface="Helvetica Light" charset="0"/>
                  <a:ea typeface="Helvetica Light" charset="0"/>
                  <a:cs typeface="Helvetica Light" charset="0"/>
                  <a:sym typeface="Helvetica Light" charset="0"/>
                </a:endParaRPr>
              </a:p>
            </p:txBody>
          </p:sp>
          <p:sp>
            <p:nvSpPr>
              <p:cNvPr id="150" name="Text Box 27"/>
              <p:cNvSpPr txBox="1">
                <a:spLocks/>
              </p:cNvSpPr>
              <p:nvPr/>
            </p:nvSpPr>
            <p:spPr bwMode="auto">
              <a:xfrm>
                <a:off x="2715475" y="3737642"/>
                <a:ext cx="2212310" cy="112297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3175" cap="flat" cmpd="sng">
                    <a:solidFill>
                      <a:srgbClr val="000000"/>
                    </a:solidFill>
                    <a:prstDash val="solid"/>
                    <a:miter lim="400000"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27093" tIns="27093" rIns="27093" bIns="27093"/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algn="ctr">
                  <a:defRPr sz="1800">
                    <a:solidFill>
                      <a:srgbClr val="007CB8"/>
                    </a:solidFill>
                    <a:latin typeface="Source Sans Pro SemiBold" panose="020B0603030403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ru-RU" altLang="ru-RU" sz="1400" dirty="0">
                    <a:solidFill>
                      <a:srgbClr val="919BC9"/>
                    </a:solidFill>
                    <a:sym typeface="Arial" panose="020B0604020202020204" pitchFamily="34" charset="0"/>
                  </a:rPr>
                  <a:t>2. </a:t>
                </a:r>
                <a:r>
                  <a:rPr lang="en-US" altLang="ru-RU" sz="1400" dirty="0" smtClean="0">
                    <a:solidFill>
                      <a:srgbClr val="919BC9"/>
                    </a:solidFill>
                    <a:sym typeface="Arial" panose="020B0604020202020204" pitchFamily="34" charset="0"/>
                  </a:rPr>
                  <a:t>We highlighted trends, motivation and shortcomings of TA assistance.</a:t>
                </a:r>
                <a:endParaRPr lang="ru-RU" sz="1400" dirty="0">
                  <a:solidFill>
                    <a:srgbClr val="919BC9"/>
                  </a:solidFill>
                </a:endParaRPr>
              </a:p>
            </p:txBody>
          </p:sp>
          <p:sp>
            <p:nvSpPr>
              <p:cNvPr id="151" name="Text Box 30"/>
              <p:cNvSpPr txBox="1">
                <a:spLocks/>
              </p:cNvSpPr>
              <p:nvPr/>
            </p:nvSpPr>
            <p:spPr bwMode="auto">
              <a:xfrm>
                <a:off x="7455226" y="3636120"/>
                <a:ext cx="2170764" cy="186407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3175" cap="flat" cmpd="sng">
                    <a:solidFill>
                      <a:srgbClr val="000000"/>
                    </a:solidFill>
                    <a:prstDash val="solid"/>
                    <a:miter lim="400000"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27093" tIns="27093" rIns="27093" bIns="27093"/>
              <a:lstStyle/>
              <a:p>
                <a:pPr algn="ctr"/>
                <a:r>
                  <a:rPr lang="ru-RU" altLang="ru-RU" dirty="0">
                    <a:solidFill>
                      <a:srgbClr val="C3D363"/>
                    </a:solidFill>
                    <a:latin typeface="Source Sans Pro SemiBold" panose="020B0603030403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4. </a:t>
                </a:r>
                <a:r>
                  <a:rPr lang="en-US" altLang="ru-RU" dirty="0" smtClean="0">
                    <a:solidFill>
                      <a:srgbClr val="C3D363"/>
                    </a:solidFill>
                    <a:latin typeface="Source Sans Pro SemiBold" panose="020B0603030403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We </a:t>
                </a:r>
                <a:r>
                  <a:rPr lang="en-US" altLang="ru-RU" dirty="0" smtClean="0">
                    <a:solidFill>
                      <a:srgbClr val="C3D363"/>
                    </a:solidFill>
                    <a:latin typeface="Source Sans Pro SemiBold" panose="020B0603030403020204" pitchFamily="34" charset="0"/>
                    <a:cs typeface="Arial" panose="020B0604020202020204" pitchFamily="34" charset="0"/>
                  </a:rPr>
                  <a:t>reviewed </a:t>
                </a:r>
                <a:br>
                  <a:rPr lang="en-US" altLang="ru-RU" dirty="0" smtClean="0">
                    <a:solidFill>
                      <a:srgbClr val="C3D363"/>
                    </a:solidFill>
                    <a:latin typeface="Source Sans Pro SemiBold" panose="020B0603030403020204" pitchFamily="34" charset="0"/>
                    <a:cs typeface="Arial" panose="020B0604020202020204" pitchFamily="34" charset="0"/>
                  </a:rPr>
                </a:br>
                <a:r>
                  <a:rPr lang="en-US" altLang="ru-RU" dirty="0" smtClean="0">
                    <a:solidFill>
                      <a:srgbClr val="C3D363"/>
                    </a:solidFill>
                    <a:latin typeface="Source Sans Pro SemiBold" panose="020B0603030403020204" pitchFamily="34" charset="0"/>
                    <a:cs typeface="Arial" panose="020B0604020202020204" pitchFamily="34" charset="0"/>
                  </a:rPr>
                  <a:t>TA projects </a:t>
                </a:r>
                <a:br>
                  <a:rPr lang="en-US" altLang="ru-RU" dirty="0" smtClean="0">
                    <a:solidFill>
                      <a:srgbClr val="C3D363"/>
                    </a:solidFill>
                    <a:latin typeface="Source Sans Pro SemiBold" panose="020B0603030403020204" pitchFamily="34" charset="0"/>
                    <a:cs typeface="Arial" panose="020B0604020202020204" pitchFamily="34" charset="0"/>
                  </a:rPr>
                </a:br>
                <a:r>
                  <a:rPr lang="en-US" altLang="ru-RU" dirty="0" smtClean="0">
                    <a:solidFill>
                      <a:srgbClr val="C3D363"/>
                    </a:solidFill>
                    <a:latin typeface="Source Sans Pro SemiBold" panose="020B0603030403020204" pitchFamily="34" charset="0"/>
                    <a:cs typeface="Arial" panose="020B0604020202020204" pitchFamily="34" charset="0"/>
                  </a:rPr>
                  <a:t>in Eurasia region, EFSD countries </a:t>
                </a:r>
                <a:br>
                  <a:rPr lang="en-US" altLang="ru-RU" dirty="0" smtClean="0">
                    <a:solidFill>
                      <a:srgbClr val="C3D363"/>
                    </a:solidFill>
                    <a:latin typeface="Source Sans Pro SemiBold" panose="020B0603030403020204" pitchFamily="34" charset="0"/>
                    <a:cs typeface="Arial" panose="020B0604020202020204" pitchFamily="34" charset="0"/>
                  </a:rPr>
                </a:br>
                <a:r>
                  <a:rPr lang="en-US" altLang="ru-RU" dirty="0" smtClean="0">
                    <a:solidFill>
                      <a:srgbClr val="C3D363"/>
                    </a:solidFill>
                    <a:latin typeface="Source Sans Pro SemiBold" panose="020B0603030403020204" pitchFamily="34" charset="0"/>
                    <a:cs typeface="Arial" panose="020B0604020202020204" pitchFamily="34" charset="0"/>
                  </a:rPr>
                  <a:t>in particular</a:t>
                </a:r>
                <a:endParaRPr lang="ru-RU" altLang="ru-RU" dirty="0">
                  <a:solidFill>
                    <a:srgbClr val="C3D363"/>
                  </a:solidFill>
                  <a:latin typeface="Source Sans Pro SemiBold" panose="020B0603030403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2" name="Text Box 33"/>
              <p:cNvSpPr txBox="1">
                <a:spLocks/>
              </p:cNvSpPr>
              <p:nvPr/>
            </p:nvSpPr>
            <p:spPr bwMode="auto">
              <a:xfrm>
                <a:off x="35589" y="226031"/>
                <a:ext cx="2542141" cy="175607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3175" cap="flat" cmpd="sng">
                    <a:solidFill>
                      <a:srgbClr val="000000"/>
                    </a:solidFill>
                    <a:prstDash val="solid"/>
                    <a:miter lim="400000"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27093" tIns="27093" rIns="27093" bIns="27093"/>
              <a:lstStyle/>
              <a:p>
                <a:pPr algn="ctr"/>
                <a:r>
                  <a:rPr lang="ru-RU" altLang="ru-RU" b="0" dirty="0" smtClean="0">
                    <a:solidFill>
                      <a:srgbClr val="007CB8"/>
                    </a:solidFill>
                    <a:latin typeface="Source Sans Pro SemiBold" panose="020B0603030403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1</a:t>
                </a:r>
                <a:r>
                  <a:rPr lang="ru-RU" altLang="ru-RU" dirty="0">
                    <a:solidFill>
                      <a:srgbClr val="007CB8"/>
                    </a:solidFill>
                    <a:latin typeface="Source Sans Pro SemiBold" panose="020B0603030403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. </a:t>
                </a:r>
                <a:r>
                  <a:rPr lang="en-US" altLang="ru-RU" dirty="0" smtClean="0">
                    <a:solidFill>
                      <a:srgbClr val="007CB8"/>
                    </a:solidFill>
                    <a:latin typeface="Source Sans Pro SemiBold" panose="020B0603030403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We used</a:t>
                </a:r>
                <a:br>
                  <a:rPr lang="en-US" altLang="ru-RU" dirty="0" smtClean="0">
                    <a:solidFill>
                      <a:srgbClr val="007CB8"/>
                    </a:solidFill>
                    <a:latin typeface="Source Sans Pro SemiBold" panose="020B0603030403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</a:br>
                <a:r>
                  <a:rPr lang="en-US" altLang="ru-RU" dirty="0" smtClean="0">
                    <a:solidFill>
                      <a:srgbClr val="007CB8"/>
                    </a:solidFill>
                    <a:latin typeface="Source Sans Pro SemiBold" panose="020B0603030403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data from </a:t>
                </a:r>
                <a:br>
                  <a:rPr lang="en-US" altLang="ru-RU" dirty="0" smtClean="0">
                    <a:solidFill>
                      <a:srgbClr val="007CB8"/>
                    </a:solidFill>
                    <a:latin typeface="Source Sans Pro SemiBold" panose="020B0603030403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</a:br>
                <a:r>
                  <a:rPr lang="en-US" altLang="ru-RU" dirty="0" smtClean="0">
                    <a:solidFill>
                      <a:srgbClr val="007CB8"/>
                    </a:solidFill>
                    <a:latin typeface="Source Sans Pro SemiBold" panose="020B0603030403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the EFSD Sovereign </a:t>
                </a:r>
                <a:r>
                  <a:rPr lang="en-US" altLang="ru-RU" dirty="0">
                    <a:solidFill>
                      <a:srgbClr val="007CB8"/>
                    </a:solidFill>
                    <a:latin typeface="Source Sans Pro SemiBold" panose="020B0603030403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Financing </a:t>
                </a:r>
                <a:r>
                  <a:rPr lang="en-US" altLang="ru-RU" dirty="0" smtClean="0">
                    <a:solidFill>
                      <a:srgbClr val="007CB8"/>
                    </a:solidFill>
                    <a:latin typeface="Source Sans Pro SemiBold" panose="020B0603030403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Database</a:t>
                </a:r>
                <a:endParaRPr lang="ru-RU" altLang="ru-RU" b="0" dirty="0">
                  <a:solidFill>
                    <a:srgbClr val="007CB8"/>
                  </a:solidFill>
                  <a:latin typeface="Source Sans Pro SemiBold" panose="020B0603030403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3" name="Text Box 36"/>
              <p:cNvSpPr txBox="1">
                <a:spLocks/>
              </p:cNvSpPr>
              <p:nvPr/>
            </p:nvSpPr>
            <p:spPr bwMode="auto">
              <a:xfrm>
                <a:off x="9817517" y="232047"/>
                <a:ext cx="2368871" cy="168602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3175" cap="flat" cmpd="sng">
                    <a:solidFill>
                      <a:srgbClr val="000000"/>
                    </a:solidFill>
                    <a:prstDash val="solid"/>
                    <a:miter lim="400000"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27093" tIns="27093" rIns="27093" bIns="27093"/>
              <a:lstStyle/>
              <a:p>
                <a:pPr algn="ctr"/>
                <a:r>
                  <a:rPr lang="ru-RU" altLang="ru-RU" dirty="0" smtClean="0">
                    <a:solidFill>
                      <a:srgbClr val="00589B"/>
                    </a:solidFill>
                    <a:latin typeface="Source Sans Pro SemiBold" panose="020B0603030403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5</a:t>
                </a:r>
                <a:r>
                  <a:rPr lang="ru-RU" altLang="ru-RU" dirty="0">
                    <a:solidFill>
                      <a:srgbClr val="00589B"/>
                    </a:solidFill>
                    <a:latin typeface="Source Sans Pro SemiBold" panose="020B0603030403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. </a:t>
                </a:r>
                <a:r>
                  <a:rPr lang="en-US" altLang="ru-RU" dirty="0" smtClean="0">
                    <a:solidFill>
                      <a:srgbClr val="00589B"/>
                    </a:solidFill>
                    <a:latin typeface="Source Sans Pro SemiBold" panose="020B0603030403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We introduced TA as </a:t>
                </a:r>
                <a:br>
                  <a:rPr lang="en-US" altLang="ru-RU" dirty="0" smtClean="0">
                    <a:solidFill>
                      <a:srgbClr val="00589B"/>
                    </a:solidFill>
                    <a:latin typeface="Source Sans Pro SemiBold" panose="020B0603030403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</a:br>
                <a:r>
                  <a:rPr lang="en-US" altLang="ru-RU" dirty="0" smtClean="0">
                    <a:solidFill>
                      <a:srgbClr val="00589B"/>
                    </a:solidFill>
                    <a:latin typeface="Source Sans Pro SemiBold" panose="020B0603030403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  <a:t>a new EFSD tool </a:t>
                </a:r>
                <a:br>
                  <a:rPr lang="en-US" altLang="ru-RU" dirty="0" smtClean="0">
                    <a:solidFill>
                      <a:srgbClr val="00589B"/>
                    </a:solidFill>
                    <a:latin typeface="Source Sans Pro SemiBold" panose="020B0603030403020204" pitchFamily="34" charset="0"/>
                    <a:cs typeface="Arial" panose="020B0604020202020204" pitchFamily="34" charset="0"/>
                    <a:sym typeface="Arial" panose="020B0604020202020204" pitchFamily="34" charset="0"/>
                  </a:rPr>
                </a:br>
                <a:endParaRPr lang="en-US" altLang="ru-RU" dirty="0" smtClean="0">
                  <a:solidFill>
                    <a:srgbClr val="00589B"/>
                  </a:solidFill>
                  <a:latin typeface="Source Sans Pro SemiBold" panose="020B0603030403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90" name="Group 653"/>
            <p:cNvGrpSpPr>
              <a:grpSpLocks noChangeAspect="1"/>
            </p:cNvGrpSpPr>
            <p:nvPr/>
          </p:nvGrpSpPr>
          <p:grpSpPr>
            <a:xfrm>
              <a:off x="7663580" y="2770731"/>
              <a:ext cx="720000" cy="705802"/>
              <a:chOff x="4413250" y="5000625"/>
              <a:chExt cx="563563" cy="552450"/>
            </a:xfrm>
            <a:solidFill>
              <a:srgbClr val="C3D363"/>
            </a:solidFill>
          </p:grpSpPr>
          <p:sp>
            <p:nvSpPr>
              <p:cNvPr id="138" name="Freeform 572"/>
              <p:cNvSpPr>
                <a:spLocks noEditPoints="1"/>
              </p:cNvSpPr>
              <p:nvPr/>
            </p:nvSpPr>
            <p:spPr bwMode="auto">
              <a:xfrm>
                <a:off x="4633913" y="5110163"/>
                <a:ext cx="128588" cy="130175"/>
              </a:xfrm>
              <a:custGeom>
                <a:avLst/>
                <a:gdLst>
                  <a:gd name="T0" fmla="*/ 362 w 811"/>
                  <a:gd name="T1" fmla="*/ 119 h 812"/>
                  <a:gd name="T2" fmla="*/ 283 w 811"/>
                  <a:gd name="T3" fmla="*/ 143 h 812"/>
                  <a:gd name="T4" fmla="*/ 215 w 811"/>
                  <a:gd name="T5" fmla="*/ 187 h 812"/>
                  <a:gd name="T6" fmla="*/ 162 w 811"/>
                  <a:gd name="T7" fmla="*/ 248 h 812"/>
                  <a:gd name="T8" fmla="*/ 128 w 811"/>
                  <a:gd name="T9" fmla="*/ 323 h 812"/>
                  <a:gd name="T10" fmla="*/ 115 w 811"/>
                  <a:gd name="T11" fmla="*/ 407 h 812"/>
                  <a:gd name="T12" fmla="*/ 128 w 811"/>
                  <a:gd name="T13" fmla="*/ 489 h 812"/>
                  <a:gd name="T14" fmla="*/ 162 w 811"/>
                  <a:gd name="T15" fmla="*/ 564 h 812"/>
                  <a:gd name="T16" fmla="*/ 215 w 811"/>
                  <a:gd name="T17" fmla="*/ 625 h 812"/>
                  <a:gd name="T18" fmla="*/ 283 w 811"/>
                  <a:gd name="T19" fmla="*/ 669 h 812"/>
                  <a:gd name="T20" fmla="*/ 362 w 811"/>
                  <a:gd name="T21" fmla="*/ 693 h 812"/>
                  <a:gd name="T22" fmla="*/ 448 w 811"/>
                  <a:gd name="T23" fmla="*/ 693 h 812"/>
                  <a:gd name="T24" fmla="*/ 527 w 811"/>
                  <a:gd name="T25" fmla="*/ 669 h 812"/>
                  <a:gd name="T26" fmla="*/ 596 w 811"/>
                  <a:gd name="T27" fmla="*/ 625 h 812"/>
                  <a:gd name="T28" fmla="*/ 648 w 811"/>
                  <a:gd name="T29" fmla="*/ 564 h 812"/>
                  <a:gd name="T30" fmla="*/ 683 w 811"/>
                  <a:gd name="T31" fmla="*/ 489 h 812"/>
                  <a:gd name="T32" fmla="*/ 695 w 811"/>
                  <a:gd name="T33" fmla="*/ 407 h 812"/>
                  <a:gd name="T34" fmla="*/ 683 w 811"/>
                  <a:gd name="T35" fmla="*/ 323 h 812"/>
                  <a:gd name="T36" fmla="*/ 648 w 811"/>
                  <a:gd name="T37" fmla="*/ 248 h 812"/>
                  <a:gd name="T38" fmla="*/ 596 w 811"/>
                  <a:gd name="T39" fmla="*/ 187 h 812"/>
                  <a:gd name="T40" fmla="*/ 527 w 811"/>
                  <a:gd name="T41" fmla="*/ 143 h 812"/>
                  <a:gd name="T42" fmla="*/ 448 w 811"/>
                  <a:gd name="T43" fmla="*/ 119 h 812"/>
                  <a:gd name="T44" fmla="*/ 405 w 811"/>
                  <a:gd name="T45" fmla="*/ 0 h 812"/>
                  <a:gd name="T46" fmla="*/ 505 w 811"/>
                  <a:gd name="T47" fmla="*/ 13 h 812"/>
                  <a:gd name="T48" fmla="*/ 596 w 811"/>
                  <a:gd name="T49" fmla="*/ 48 h 812"/>
                  <a:gd name="T50" fmla="*/ 674 w 811"/>
                  <a:gd name="T51" fmla="*/ 103 h 812"/>
                  <a:gd name="T52" fmla="*/ 738 w 811"/>
                  <a:gd name="T53" fmla="*/ 174 h 812"/>
                  <a:gd name="T54" fmla="*/ 784 w 811"/>
                  <a:gd name="T55" fmla="*/ 260 h 812"/>
                  <a:gd name="T56" fmla="*/ 808 w 811"/>
                  <a:gd name="T57" fmla="*/ 355 h 812"/>
                  <a:gd name="T58" fmla="*/ 808 w 811"/>
                  <a:gd name="T59" fmla="*/ 457 h 812"/>
                  <a:gd name="T60" fmla="*/ 784 w 811"/>
                  <a:gd name="T61" fmla="*/ 553 h 812"/>
                  <a:gd name="T62" fmla="*/ 738 w 811"/>
                  <a:gd name="T63" fmla="*/ 638 h 812"/>
                  <a:gd name="T64" fmla="*/ 674 w 811"/>
                  <a:gd name="T65" fmla="*/ 710 h 812"/>
                  <a:gd name="T66" fmla="*/ 596 w 811"/>
                  <a:gd name="T67" fmla="*/ 765 h 812"/>
                  <a:gd name="T68" fmla="*/ 505 w 811"/>
                  <a:gd name="T69" fmla="*/ 799 h 812"/>
                  <a:gd name="T70" fmla="*/ 405 w 811"/>
                  <a:gd name="T71" fmla="*/ 812 h 812"/>
                  <a:gd name="T72" fmla="*/ 305 w 811"/>
                  <a:gd name="T73" fmla="*/ 799 h 812"/>
                  <a:gd name="T74" fmla="*/ 215 w 811"/>
                  <a:gd name="T75" fmla="*/ 765 h 812"/>
                  <a:gd name="T76" fmla="*/ 136 w 811"/>
                  <a:gd name="T77" fmla="*/ 710 h 812"/>
                  <a:gd name="T78" fmla="*/ 72 w 811"/>
                  <a:gd name="T79" fmla="*/ 638 h 812"/>
                  <a:gd name="T80" fmla="*/ 27 w 811"/>
                  <a:gd name="T81" fmla="*/ 553 h 812"/>
                  <a:gd name="T82" fmla="*/ 3 w 811"/>
                  <a:gd name="T83" fmla="*/ 457 h 812"/>
                  <a:gd name="T84" fmla="*/ 3 w 811"/>
                  <a:gd name="T85" fmla="*/ 355 h 812"/>
                  <a:gd name="T86" fmla="*/ 27 w 811"/>
                  <a:gd name="T87" fmla="*/ 260 h 812"/>
                  <a:gd name="T88" fmla="*/ 72 w 811"/>
                  <a:gd name="T89" fmla="*/ 174 h 812"/>
                  <a:gd name="T90" fmla="*/ 136 w 811"/>
                  <a:gd name="T91" fmla="*/ 103 h 812"/>
                  <a:gd name="T92" fmla="*/ 215 w 811"/>
                  <a:gd name="T93" fmla="*/ 48 h 812"/>
                  <a:gd name="T94" fmla="*/ 305 w 811"/>
                  <a:gd name="T95" fmla="*/ 13 h 812"/>
                  <a:gd name="T96" fmla="*/ 405 w 811"/>
                  <a:gd name="T97" fmla="*/ 0 h 8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11" h="812">
                    <a:moveTo>
                      <a:pt x="405" y="116"/>
                    </a:moveTo>
                    <a:lnTo>
                      <a:pt x="362" y="119"/>
                    </a:lnTo>
                    <a:lnTo>
                      <a:pt x="321" y="129"/>
                    </a:lnTo>
                    <a:lnTo>
                      <a:pt x="283" y="143"/>
                    </a:lnTo>
                    <a:lnTo>
                      <a:pt x="247" y="163"/>
                    </a:lnTo>
                    <a:lnTo>
                      <a:pt x="215" y="187"/>
                    </a:lnTo>
                    <a:lnTo>
                      <a:pt x="187" y="216"/>
                    </a:lnTo>
                    <a:lnTo>
                      <a:pt x="162" y="248"/>
                    </a:lnTo>
                    <a:lnTo>
                      <a:pt x="143" y="284"/>
                    </a:lnTo>
                    <a:lnTo>
                      <a:pt x="128" y="323"/>
                    </a:lnTo>
                    <a:lnTo>
                      <a:pt x="118" y="364"/>
                    </a:lnTo>
                    <a:lnTo>
                      <a:pt x="115" y="407"/>
                    </a:lnTo>
                    <a:lnTo>
                      <a:pt x="118" y="449"/>
                    </a:lnTo>
                    <a:lnTo>
                      <a:pt x="128" y="489"/>
                    </a:lnTo>
                    <a:lnTo>
                      <a:pt x="143" y="528"/>
                    </a:lnTo>
                    <a:lnTo>
                      <a:pt x="162" y="564"/>
                    </a:lnTo>
                    <a:lnTo>
                      <a:pt x="187" y="596"/>
                    </a:lnTo>
                    <a:lnTo>
                      <a:pt x="215" y="625"/>
                    </a:lnTo>
                    <a:lnTo>
                      <a:pt x="247" y="650"/>
                    </a:lnTo>
                    <a:lnTo>
                      <a:pt x="283" y="669"/>
                    </a:lnTo>
                    <a:lnTo>
                      <a:pt x="321" y="684"/>
                    </a:lnTo>
                    <a:lnTo>
                      <a:pt x="362" y="693"/>
                    </a:lnTo>
                    <a:lnTo>
                      <a:pt x="405" y="696"/>
                    </a:lnTo>
                    <a:lnTo>
                      <a:pt x="448" y="693"/>
                    </a:lnTo>
                    <a:lnTo>
                      <a:pt x="489" y="684"/>
                    </a:lnTo>
                    <a:lnTo>
                      <a:pt x="527" y="669"/>
                    </a:lnTo>
                    <a:lnTo>
                      <a:pt x="562" y="650"/>
                    </a:lnTo>
                    <a:lnTo>
                      <a:pt x="596" y="625"/>
                    </a:lnTo>
                    <a:lnTo>
                      <a:pt x="624" y="596"/>
                    </a:lnTo>
                    <a:lnTo>
                      <a:pt x="648" y="564"/>
                    </a:lnTo>
                    <a:lnTo>
                      <a:pt x="668" y="528"/>
                    </a:lnTo>
                    <a:lnTo>
                      <a:pt x="683" y="489"/>
                    </a:lnTo>
                    <a:lnTo>
                      <a:pt x="691" y="449"/>
                    </a:lnTo>
                    <a:lnTo>
                      <a:pt x="695" y="407"/>
                    </a:lnTo>
                    <a:lnTo>
                      <a:pt x="691" y="364"/>
                    </a:lnTo>
                    <a:lnTo>
                      <a:pt x="683" y="323"/>
                    </a:lnTo>
                    <a:lnTo>
                      <a:pt x="668" y="284"/>
                    </a:lnTo>
                    <a:lnTo>
                      <a:pt x="648" y="248"/>
                    </a:lnTo>
                    <a:lnTo>
                      <a:pt x="624" y="216"/>
                    </a:lnTo>
                    <a:lnTo>
                      <a:pt x="596" y="187"/>
                    </a:lnTo>
                    <a:lnTo>
                      <a:pt x="562" y="163"/>
                    </a:lnTo>
                    <a:lnTo>
                      <a:pt x="527" y="143"/>
                    </a:lnTo>
                    <a:lnTo>
                      <a:pt x="489" y="129"/>
                    </a:lnTo>
                    <a:lnTo>
                      <a:pt x="448" y="119"/>
                    </a:lnTo>
                    <a:lnTo>
                      <a:pt x="405" y="116"/>
                    </a:lnTo>
                    <a:close/>
                    <a:moveTo>
                      <a:pt x="405" y="0"/>
                    </a:moveTo>
                    <a:lnTo>
                      <a:pt x="456" y="3"/>
                    </a:lnTo>
                    <a:lnTo>
                      <a:pt x="505" y="13"/>
                    </a:lnTo>
                    <a:lnTo>
                      <a:pt x="552" y="28"/>
                    </a:lnTo>
                    <a:lnTo>
                      <a:pt x="596" y="48"/>
                    </a:lnTo>
                    <a:lnTo>
                      <a:pt x="637" y="73"/>
                    </a:lnTo>
                    <a:lnTo>
                      <a:pt x="674" y="103"/>
                    </a:lnTo>
                    <a:lnTo>
                      <a:pt x="709" y="137"/>
                    </a:lnTo>
                    <a:lnTo>
                      <a:pt x="738" y="174"/>
                    </a:lnTo>
                    <a:lnTo>
                      <a:pt x="764" y="216"/>
                    </a:lnTo>
                    <a:lnTo>
                      <a:pt x="784" y="260"/>
                    </a:lnTo>
                    <a:lnTo>
                      <a:pt x="799" y="307"/>
                    </a:lnTo>
                    <a:lnTo>
                      <a:pt x="808" y="355"/>
                    </a:lnTo>
                    <a:lnTo>
                      <a:pt x="811" y="407"/>
                    </a:lnTo>
                    <a:lnTo>
                      <a:pt x="808" y="457"/>
                    </a:lnTo>
                    <a:lnTo>
                      <a:pt x="799" y="506"/>
                    </a:lnTo>
                    <a:lnTo>
                      <a:pt x="784" y="553"/>
                    </a:lnTo>
                    <a:lnTo>
                      <a:pt x="764" y="597"/>
                    </a:lnTo>
                    <a:lnTo>
                      <a:pt x="738" y="638"/>
                    </a:lnTo>
                    <a:lnTo>
                      <a:pt x="709" y="676"/>
                    </a:lnTo>
                    <a:lnTo>
                      <a:pt x="674" y="710"/>
                    </a:lnTo>
                    <a:lnTo>
                      <a:pt x="637" y="739"/>
                    </a:lnTo>
                    <a:lnTo>
                      <a:pt x="596" y="765"/>
                    </a:lnTo>
                    <a:lnTo>
                      <a:pt x="552" y="784"/>
                    </a:lnTo>
                    <a:lnTo>
                      <a:pt x="505" y="799"/>
                    </a:lnTo>
                    <a:lnTo>
                      <a:pt x="456" y="809"/>
                    </a:lnTo>
                    <a:lnTo>
                      <a:pt x="405" y="812"/>
                    </a:lnTo>
                    <a:lnTo>
                      <a:pt x="355" y="809"/>
                    </a:lnTo>
                    <a:lnTo>
                      <a:pt x="305" y="799"/>
                    </a:lnTo>
                    <a:lnTo>
                      <a:pt x="259" y="784"/>
                    </a:lnTo>
                    <a:lnTo>
                      <a:pt x="215" y="765"/>
                    </a:lnTo>
                    <a:lnTo>
                      <a:pt x="174" y="739"/>
                    </a:lnTo>
                    <a:lnTo>
                      <a:pt x="136" y="710"/>
                    </a:lnTo>
                    <a:lnTo>
                      <a:pt x="102" y="676"/>
                    </a:lnTo>
                    <a:lnTo>
                      <a:pt x="72" y="638"/>
                    </a:lnTo>
                    <a:lnTo>
                      <a:pt x="47" y="597"/>
                    </a:lnTo>
                    <a:lnTo>
                      <a:pt x="27" y="553"/>
                    </a:lnTo>
                    <a:lnTo>
                      <a:pt x="12" y="506"/>
                    </a:lnTo>
                    <a:lnTo>
                      <a:pt x="3" y="457"/>
                    </a:lnTo>
                    <a:lnTo>
                      <a:pt x="0" y="407"/>
                    </a:lnTo>
                    <a:lnTo>
                      <a:pt x="3" y="355"/>
                    </a:lnTo>
                    <a:lnTo>
                      <a:pt x="12" y="307"/>
                    </a:lnTo>
                    <a:lnTo>
                      <a:pt x="27" y="260"/>
                    </a:lnTo>
                    <a:lnTo>
                      <a:pt x="47" y="216"/>
                    </a:lnTo>
                    <a:lnTo>
                      <a:pt x="72" y="174"/>
                    </a:lnTo>
                    <a:lnTo>
                      <a:pt x="102" y="137"/>
                    </a:lnTo>
                    <a:lnTo>
                      <a:pt x="136" y="103"/>
                    </a:lnTo>
                    <a:lnTo>
                      <a:pt x="174" y="73"/>
                    </a:lnTo>
                    <a:lnTo>
                      <a:pt x="215" y="48"/>
                    </a:lnTo>
                    <a:lnTo>
                      <a:pt x="259" y="28"/>
                    </a:lnTo>
                    <a:lnTo>
                      <a:pt x="305" y="13"/>
                    </a:lnTo>
                    <a:lnTo>
                      <a:pt x="355" y="3"/>
                    </a:lnTo>
                    <a:lnTo>
                      <a:pt x="40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Freeform 573"/>
              <p:cNvSpPr>
                <a:spLocks noEditPoints="1"/>
              </p:cNvSpPr>
              <p:nvPr/>
            </p:nvSpPr>
            <p:spPr bwMode="auto">
              <a:xfrm>
                <a:off x="4413250" y="5000625"/>
                <a:ext cx="563563" cy="552450"/>
              </a:xfrm>
              <a:custGeom>
                <a:avLst/>
                <a:gdLst>
                  <a:gd name="T0" fmla="*/ 3362 w 3546"/>
                  <a:gd name="T1" fmla="*/ 3362 h 3478"/>
                  <a:gd name="T2" fmla="*/ 1783 w 3546"/>
                  <a:gd name="T3" fmla="*/ 3173 h 3478"/>
                  <a:gd name="T4" fmla="*/ 1783 w 3546"/>
                  <a:gd name="T5" fmla="*/ 116 h 3478"/>
                  <a:gd name="T6" fmla="*/ 1570 w 3546"/>
                  <a:gd name="T7" fmla="*/ 139 h 3478"/>
                  <a:gd name="T8" fmla="*/ 1369 w 3546"/>
                  <a:gd name="T9" fmla="*/ 205 h 3478"/>
                  <a:gd name="T10" fmla="*/ 1188 w 3546"/>
                  <a:gd name="T11" fmla="*/ 313 h 3478"/>
                  <a:gd name="T12" fmla="*/ 1032 w 3546"/>
                  <a:gd name="T13" fmla="*/ 459 h 3478"/>
                  <a:gd name="T14" fmla="*/ 912 w 3546"/>
                  <a:gd name="T15" fmla="*/ 638 h 3478"/>
                  <a:gd name="T16" fmla="*/ 833 w 3546"/>
                  <a:gd name="T17" fmla="*/ 840 h 3478"/>
                  <a:gd name="T18" fmla="*/ 792 w 3546"/>
                  <a:gd name="T19" fmla="*/ 1057 h 3478"/>
                  <a:gd name="T20" fmla="*/ 790 w 3546"/>
                  <a:gd name="T21" fmla="*/ 1280 h 3478"/>
                  <a:gd name="T22" fmla="*/ 829 w 3546"/>
                  <a:gd name="T23" fmla="*/ 1496 h 3478"/>
                  <a:gd name="T24" fmla="*/ 910 w 3546"/>
                  <a:gd name="T25" fmla="*/ 1699 h 3478"/>
                  <a:gd name="T26" fmla="*/ 1211 w 3546"/>
                  <a:gd name="T27" fmla="*/ 2144 h 3478"/>
                  <a:gd name="T28" fmla="*/ 2619 w 3546"/>
                  <a:gd name="T29" fmla="*/ 1762 h 3478"/>
                  <a:gd name="T30" fmla="*/ 2714 w 3546"/>
                  <a:gd name="T31" fmla="*/ 1567 h 3478"/>
                  <a:gd name="T32" fmla="*/ 2767 w 3546"/>
                  <a:gd name="T33" fmla="*/ 1353 h 3478"/>
                  <a:gd name="T34" fmla="*/ 2780 w 3546"/>
                  <a:gd name="T35" fmla="*/ 1132 h 3478"/>
                  <a:gd name="T36" fmla="*/ 2752 w 3546"/>
                  <a:gd name="T37" fmla="*/ 912 h 3478"/>
                  <a:gd name="T38" fmla="*/ 2685 w 3546"/>
                  <a:gd name="T39" fmla="*/ 704 h 3478"/>
                  <a:gd name="T40" fmla="*/ 2579 w 3546"/>
                  <a:gd name="T41" fmla="*/ 515 h 3478"/>
                  <a:gd name="T42" fmla="*/ 2434 w 3546"/>
                  <a:gd name="T43" fmla="*/ 358 h 3478"/>
                  <a:gd name="T44" fmla="*/ 2259 w 3546"/>
                  <a:gd name="T45" fmla="*/ 237 h 3478"/>
                  <a:gd name="T46" fmla="*/ 2064 w 3546"/>
                  <a:gd name="T47" fmla="*/ 156 h 3478"/>
                  <a:gd name="T48" fmla="*/ 1855 w 3546"/>
                  <a:gd name="T49" fmla="*/ 118 h 3478"/>
                  <a:gd name="T50" fmla="*/ 1863 w 3546"/>
                  <a:gd name="T51" fmla="*/ 3 h 3478"/>
                  <a:gd name="T52" fmla="*/ 2098 w 3546"/>
                  <a:gd name="T53" fmla="*/ 45 h 3478"/>
                  <a:gd name="T54" fmla="*/ 2315 w 3546"/>
                  <a:gd name="T55" fmla="*/ 136 h 3478"/>
                  <a:gd name="T56" fmla="*/ 2510 w 3546"/>
                  <a:gd name="T57" fmla="*/ 271 h 3478"/>
                  <a:gd name="T58" fmla="*/ 2667 w 3546"/>
                  <a:gd name="T59" fmla="*/ 440 h 3478"/>
                  <a:gd name="T60" fmla="*/ 2781 w 3546"/>
                  <a:gd name="T61" fmla="*/ 636 h 3478"/>
                  <a:gd name="T62" fmla="*/ 2856 w 3546"/>
                  <a:gd name="T63" fmla="*/ 855 h 3478"/>
                  <a:gd name="T64" fmla="*/ 2892 w 3546"/>
                  <a:gd name="T65" fmla="*/ 1087 h 3478"/>
                  <a:gd name="T66" fmla="*/ 2886 w 3546"/>
                  <a:gd name="T67" fmla="*/ 1321 h 3478"/>
                  <a:gd name="T68" fmla="*/ 2841 w 3546"/>
                  <a:gd name="T69" fmla="*/ 1549 h 3478"/>
                  <a:gd name="T70" fmla="*/ 2754 w 3546"/>
                  <a:gd name="T71" fmla="*/ 1761 h 3478"/>
                  <a:gd name="T72" fmla="*/ 2496 w 3546"/>
                  <a:gd name="T73" fmla="*/ 2144 h 3478"/>
                  <a:gd name="T74" fmla="*/ 0 w 3546"/>
                  <a:gd name="T75" fmla="*/ 3478 h 3478"/>
                  <a:gd name="T76" fmla="*/ 892 w 3546"/>
                  <a:gd name="T77" fmla="*/ 1888 h 3478"/>
                  <a:gd name="T78" fmla="*/ 778 w 3546"/>
                  <a:gd name="T79" fmla="*/ 1692 h 3478"/>
                  <a:gd name="T80" fmla="*/ 705 w 3546"/>
                  <a:gd name="T81" fmla="*/ 1474 h 3478"/>
                  <a:gd name="T82" fmla="*/ 672 w 3546"/>
                  <a:gd name="T83" fmla="*/ 1243 h 3478"/>
                  <a:gd name="T84" fmla="*/ 682 w 3546"/>
                  <a:gd name="T85" fmla="*/ 1008 h 3478"/>
                  <a:gd name="T86" fmla="*/ 730 w 3546"/>
                  <a:gd name="T87" fmla="*/ 780 h 3478"/>
                  <a:gd name="T88" fmla="*/ 819 w 3546"/>
                  <a:gd name="T89" fmla="*/ 568 h 3478"/>
                  <a:gd name="T90" fmla="*/ 947 w 3546"/>
                  <a:gd name="T91" fmla="*/ 381 h 3478"/>
                  <a:gd name="T92" fmla="*/ 1118 w 3546"/>
                  <a:gd name="T93" fmla="*/ 221 h 3478"/>
                  <a:gd name="T94" fmla="*/ 1321 w 3546"/>
                  <a:gd name="T95" fmla="*/ 100 h 3478"/>
                  <a:gd name="T96" fmla="*/ 1545 w 3546"/>
                  <a:gd name="T97" fmla="*/ 26 h 3478"/>
                  <a:gd name="T98" fmla="*/ 1783 w 3546"/>
                  <a:gd name="T99" fmla="*/ 0 h 3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546" h="3478">
                    <a:moveTo>
                      <a:pt x="708" y="2260"/>
                    </a:moveTo>
                    <a:lnTo>
                      <a:pt x="184" y="3362"/>
                    </a:lnTo>
                    <a:lnTo>
                      <a:pt x="3362" y="3362"/>
                    </a:lnTo>
                    <a:lnTo>
                      <a:pt x="2837" y="2260"/>
                    </a:lnTo>
                    <a:lnTo>
                      <a:pt x="2415" y="2260"/>
                    </a:lnTo>
                    <a:lnTo>
                      <a:pt x="1783" y="3173"/>
                    </a:lnTo>
                    <a:lnTo>
                      <a:pt x="1150" y="2260"/>
                    </a:lnTo>
                    <a:lnTo>
                      <a:pt x="708" y="2260"/>
                    </a:lnTo>
                    <a:close/>
                    <a:moveTo>
                      <a:pt x="1783" y="116"/>
                    </a:moveTo>
                    <a:lnTo>
                      <a:pt x="1710" y="118"/>
                    </a:lnTo>
                    <a:lnTo>
                      <a:pt x="1639" y="126"/>
                    </a:lnTo>
                    <a:lnTo>
                      <a:pt x="1570" y="139"/>
                    </a:lnTo>
                    <a:lnTo>
                      <a:pt x="1502" y="156"/>
                    </a:lnTo>
                    <a:lnTo>
                      <a:pt x="1434" y="179"/>
                    </a:lnTo>
                    <a:lnTo>
                      <a:pt x="1369" y="205"/>
                    </a:lnTo>
                    <a:lnTo>
                      <a:pt x="1306" y="237"/>
                    </a:lnTo>
                    <a:lnTo>
                      <a:pt x="1246" y="273"/>
                    </a:lnTo>
                    <a:lnTo>
                      <a:pt x="1188" y="313"/>
                    </a:lnTo>
                    <a:lnTo>
                      <a:pt x="1132" y="358"/>
                    </a:lnTo>
                    <a:lnTo>
                      <a:pt x="1079" y="408"/>
                    </a:lnTo>
                    <a:lnTo>
                      <a:pt x="1032" y="459"/>
                    </a:lnTo>
                    <a:lnTo>
                      <a:pt x="988" y="515"/>
                    </a:lnTo>
                    <a:lnTo>
                      <a:pt x="948" y="576"/>
                    </a:lnTo>
                    <a:lnTo>
                      <a:pt x="912" y="638"/>
                    </a:lnTo>
                    <a:lnTo>
                      <a:pt x="881" y="702"/>
                    </a:lnTo>
                    <a:lnTo>
                      <a:pt x="855" y="770"/>
                    </a:lnTo>
                    <a:lnTo>
                      <a:pt x="833" y="840"/>
                    </a:lnTo>
                    <a:lnTo>
                      <a:pt x="814" y="911"/>
                    </a:lnTo>
                    <a:lnTo>
                      <a:pt x="800" y="984"/>
                    </a:lnTo>
                    <a:lnTo>
                      <a:pt x="792" y="1057"/>
                    </a:lnTo>
                    <a:lnTo>
                      <a:pt x="786" y="1132"/>
                    </a:lnTo>
                    <a:lnTo>
                      <a:pt x="786" y="1206"/>
                    </a:lnTo>
                    <a:lnTo>
                      <a:pt x="790" y="1280"/>
                    </a:lnTo>
                    <a:lnTo>
                      <a:pt x="798" y="1353"/>
                    </a:lnTo>
                    <a:lnTo>
                      <a:pt x="812" y="1425"/>
                    </a:lnTo>
                    <a:lnTo>
                      <a:pt x="829" y="1496"/>
                    </a:lnTo>
                    <a:lnTo>
                      <a:pt x="852" y="1566"/>
                    </a:lnTo>
                    <a:lnTo>
                      <a:pt x="879" y="1634"/>
                    </a:lnTo>
                    <a:lnTo>
                      <a:pt x="910" y="1699"/>
                    </a:lnTo>
                    <a:lnTo>
                      <a:pt x="946" y="1761"/>
                    </a:lnTo>
                    <a:lnTo>
                      <a:pt x="986" y="1820"/>
                    </a:lnTo>
                    <a:lnTo>
                      <a:pt x="1211" y="2144"/>
                    </a:lnTo>
                    <a:lnTo>
                      <a:pt x="1783" y="2970"/>
                    </a:lnTo>
                    <a:lnTo>
                      <a:pt x="2579" y="1821"/>
                    </a:lnTo>
                    <a:lnTo>
                      <a:pt x="2619" y="1762"/>
                    </a:lnTo>
                    <a:lnTo>
                      <a:pt x="2655" y="1700"/>
                    </a:lnTo>
                    <a:lnTo>
                      <a:pt x="2687" y="1635"/>
                    </a:lnTo>
                    <a:lnTo>
                      <a:pt x="2714" y="1567"/>
                    </a:lnTo>
                    <a:lnTo>
                      <a:pt x="2736" y="1497"/>
                    </a:lnTo>
                    <a:lnTo>
                      <a:pt x="2754" y="1426"/>
                    </a:lnTo>
                    <a:lnTo>
                      <a:pt x="2767" y="1353"/>
                    </a:lnTo>
                    <a:lnTo>
                      <a:pt x="2775" y="1280"/>
                    </a:lnTo>
                    <a:lnTo>
                      <a:pt x="2780" y="1206"/>
                    </a:lnTo>
                    <a:lnTo>
                      <a:pt x="2780" y="1132"/>
                    </a:lnTo>
                    <a:lnTo>
                      <a:pt x="2774" y="1057"/>
                    </a:lnTo>
                    <a:lnTo>
                      <a:pt x="2766" y="984"/>
                    </a:lnTo>
                    <a:lnTo>
                      <a:pt x="2752" y="912"/>
                    </a:lnTo>
                    <a:lnTo>
                      <a:pt x="2734" y="840"/>
                    </a:lnTo>
                    <a:lnTo>
                      <a:pt x="2711" y="770"/>
                    </a:lnTo>
                    <a:lnTo>
                      <a:pt x="2685" y="704"/>
                    </a:lnTo>
                    <a:lnTo>
                      <a:pt x="2654" y="638"/>
                    </a:lnTo>
                    <a:lnTo>
                      <a:pt x="2618" y="576"/>
                    </a:lnTo>
                    <a:lnTo>
                      <a:pt x="2579" y="515"/>
                    </a:lnTo>
                    <a:lnTo>
                      <a:pt x="2536" y="459"/>
                    </a:lnTo>
                    <a:lnTo>
                      <a:pt x="2487" y="408"/>
                    </a:lnTo>
                    <a:lnTo>
                      <a:pt x="2434" y="358"/>
                    </a:lnTo>
                    <a:lnTo>
                      <a:pt x="2379" y="313"/>
                    </a:lnTo>
                    <a:lnTo>
                      <a:pt x="2320" y="273"/>
                    </a:lnTo>
                    <a:lnTo>
                      <a:pt x="2259" y="237"/>
                    </a:lnTo>
                    <a:lnTo>
                      <a:pt x="2197" y="205"/>
                    </a:lnTo>
                    <a:lnTo>
                      <a:pt x="2131" y="179"/>
                    </a:lnTo>
                    <a:lnTo>
                      <a:pt x="2064" y="156"/>
                    </a:lnTo>
                    <a:lnTo>
                      <a:pt x="1996" y="139"/>
                    </a:lnTo>
                    <a:lnTo>
                      <a:pt x="1926" y="126"/>
                    </a:lnTo>
                    <a:lnTo>
                      <a:pt x="1855" y="118"/>
                    </a:lnTo>
                    <a:lnTo>
                      <a:pt x="1783" y="116"/>
                    </a:lnTo>
                    <a:close/>
                    <a:moveTo>
                      <a:pt x="1783" y="0"/>
                    </a:moveTo>
                    <a:lnTo>
                      <a:pt x="1863" y="3"/>
                    </a:lnTo>
                    <a:lnTo>
                      <a:pt x="1943" y="12"/>
                    </a:lnTo>
                    <a:lnTo>
                      <a:pt x="2020" y="26"/>
                    </a:lnTo>
                    <a:lnTo>
                      <a:pt x="2098" y="45"/>
                    </a:lnTo>
                    <a:lnTo>
                      <a:pt x="2172" y="70"/>
                    </a:lnTo>
                    <a:lnTo>
                      <a:pt x="2244" y="100"/>
                    </a:lnTo>
                    <a:lnTo>
                      <a:pt x="2315" y="136"/>
                    </a:lnTo>
                    <a:lnTo>
                      <a:pt x="2383" y="175"/>
                    </a:lnTo>
                    <a:lnTo>
                      <a:pt x="2447" y="221"/>
                    </a:lnTo>
                    <a:lnTo>
                      <a:pt x="2510" y="271"/>
                    </a:lnTo>
                    <a:lnTo>
                      <a:pt x="2569" y="326"/>
                    </a:lnTo>
                    <a:lnTo>
                      <a:pt x="2619" y="381"/>
                    </a:lnTo>
                    <a:lnTo>
                      <a:pt x="2667" y="440"/>
                    </a:lnTo>
                    <a:lnTo>
                      <a:pt x="2709" y="502"/>
                    </a:lnTo>
                    <a:lnTo>
                      <a:pt x="2746" y="568"/>
                    </a:lnTo>
                    <a:lnTo>
                      <a:pt x="2781" y="636"/>
                    </a:lnTo>
                    <a:lnTo>
                      <a:pt x="2810" y="707"/>
                    </a:lnTo>
                    <a:lnTo>
                      <a:pt x="2835" y="780"/>
                    </a:lnTo>
                    <a:lnTo>
                      <a:pt x="2856" y="855"/>
                    </a:lnTo>
                    <a:lnTo>
                      <a:pt x="2872" y="932"/>
                    </a:lnTo>
                    <a:lnTo>
                      <a:pt x="2884" y="1008"/>
                    </a:lnTo>
                    <a:lnTo>
                      <a:pt x="2892" y="1087"/>
                    </a:lnTo>
                    <a:lnTo>
                      <a:pt x="2894" y="1165"/>
                    </a:lnTo>
                    <a:lnTo>
                      <a:pt x="2893" y="1244"/>
                    </a:lnTo>
                    <a:lnTo>
                      <a:pt x="2886" y="1321"/>
                    </a:lnTo>
                    <a:lnTo>
                      <a:pt x="2876" y="1398"/>
                    </a:lnTo>
                    <a:lnTo>
                      <a:pt x="2860" y="1475"/>
                    </a:lnTo>
                    <a:lnTo>
                      <a:pt x="2841" y="1549"/>
                    </a:lnTo>
                    <a:lnTo>
                      <a:pt x="2816" y="1622"/>
                    </a:lnTo>
                    <a:lnTo>
                      <a:pt x="2787" y="1693"/>
                    </a:lnTo>
                    <a:lnTo>
                      <a:pt x="2754" y="1761"/>
                    </a:lnTo>
                    <a:lnTo>
                      <a:pt x="2715" y="1827"/>
                    </a:lnTo>
                    <a:lnTo>
                      <a:pt x="2672" y="1889"/>
                    </a:lnTo>
                    <a:lnTo>
                      <a:pt x="2496" y="2144"/>
                    </a:lnTo>
                    <a:lnTo>
                      <a:pt x="2910" y="2144"/>
                    </a:lnTo>
                    <a:lnTo>
                      <a:pt x="3546" y="3478"/>
                    </a:lnTo>
                    <a:lnTo>
                      <a:pt x="0" y="3478"/>
                    </a:lnTo>
                    <a:lnTo>
                      <a:pt x="635" y="2145"/>
                    </a:lnTo>
                    <a:lnTo>
                      <a:pt x="1070" y="2145"/>
                    </a:lnTo>
                    <a:lnTo>
                      <a:pt x="892" y="1888"/>
                    </a:lnTo>
                    <a:lnTo>
                      <a:pt x="850" y="1826"/>
                    </a:lnTo>
                    <a:lnTo>
                      <a:pt x="811" y="1760"/>
                    </a:lnTo>
                    <a:lnTo>
                      <a:pt x="778" y="1692"/>
                    </a:lnTo>
                    <a:lnTo>
                      <a:pt x="749" y="1621"/>
                    </a:lnTo>
                    <a:lnTo>
                      <a:pt x="724" y="1548"/>
                    </a:lnTo>
                    <a:lnTo>
                      <a:pt x="705" y="1474"/>
                    </a:lnTo>
                    <a:lnTo>
                      <a:pt x="690" y="1397"/>
                    </a:lnTo>
                    <a:lnTo>
                      <a:pt x="679" y="1321"/>
                    </a:lnTo>
                    <a:lnTo>
                      <a:pt x="672" y="1243"/>
                    </a:lnTo>
                    <a:lnTo>
                      <a:pt x="671" y="1164"/>
                    </a:lnTo>
                    <a:lnTo>
                      <a:pt x="675" y="1087"/>
                    </a:lnTo>
                    <a:lnTo>
                      <a:pt x="682" y="1008"/>
                    </a:lnTo>
                    <a:lnTo>
                      <a:pt x="694" y="931"/>
                    </a:lnTo>
                    <a:lnTo>
                      <a:pt x="710" y="855"/>
                    </a:lnTo>
                    <a:lnTo>
                      <a:pt x="730" y="780"/>
                    </a:lnTo>
                    <a:lnTo>
                      <a:pt x="756" y="707"/>
                    </a:lnTo>
                    <a:lnTo>
                      <a:pt x="785" y="636"/>
                    </a:lnTo>
                    <a:lnTo>
                      <a:pt x="819" y="568"/>
                    </a:lnTo>
                    <a:lnTo>
                      <a:pt x="857" y="502"/>
                    </a:lnTo>
                    <a:lnTo>
                      <a:pt x="899" y="440"/>
                    </a:lnTo>
                    <a:lnTo>
                      <a:pt x="947" y="381"/>
                    </a:lnTo>
                    <a:lnTo>
                      <a:pt x="997" y="326"/>
                    </a:lnTo>
                    <a:lnTo>
                      <a:pt x="1056" y="271"/>
                    </a:lnTo>
                    <a:lnTo>
                      <a:pt x="1118" y="221"/>
                    </a:lnTo>
                    <a:lnTo>
                      <a:pt x="1183" y="175"/>
                    </a:lnTo>
                    <a:lnTo>
                      <a:pt x="1251" y="136"/>
                    </a:lnTo>
                    <a:lnTo>
                      <a:pt x="1321" y="100"/>
                    </a:lnTo>
                    <a:lnTo>
                      <a:pt x="1394" y="70"/>
                    </a:lnTo>
                    <a:lnTo>
                      <a:pt x="1468" y="45"/>
                    </a:lnTo>
                    <a:lnTo>
                      <a:pt x="1545" y="26"/>
                    </a:lnTo>
                    <a:lnTo>
                      <a:pt x="1623" y="12"/>
                    </a:lnTo>
                    <a:lnTo>
                      <a:pt x="1703" y="3"/>
                    </a:lnTo>
                    <a:lnTo>
                      <a:pt x="178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91" name="Group 210"/>
            <p:cNvGrpSpPr>
              <a:grpSpLocks noChangeAspect="1"/>
            </p:cNvGrpSpPr>
            <p:nvPr/>
          </p:nvGrpSpPr>
          <p:grpSpPr>
            <a:xfrm>
              <a:off x="1909755" y="3959069"/>
              <a:ext cx="720000" cy="715755"/>
              <a:chOff x="8208963" y="2693988"/>
              <a:chExt cx="538162" cy="534988"/>
            </a:xfrm>
            <a:solidFill>
              <a:srgbClr val="007CB8"/>
            </a:solidFill>
          </p:grpSpPr>
          <p:sp>
            <p:nvSpPr>
              <p:cNvPr id="124" name="Freeform 112"/>
              <p:cNvSpPr>
                <a:spLocks noEditPoints="1"/>
              </p:cNvSpPr>
              <p:nvPr/>
            </p:nvSpPr>
            <p:spPr bwMode="auto">
              <a:xfrm>
                <a:off x="8262938" y="2747963"/>
                <a:ext cx="80962" cy="80963"/>
              </a:xfrm>
              <a:custGeom>
                <a:avLst/>
                <a:gdLst>
                  <a:gd name="T0" fmla="*/ 225 w 509"/>
                  <a:gd name="T1" fmla="*/ 115 h 507"/>
                  <a:gd name="T2" fmla="*/ 175 w 509"/>
                  <a:gd name="T3" fmla="*/ 136 h 507"/>
                  <a:gd name="T4" fmla="*/ 137 w 509"/>
                  <a:gd name="T5" fmla="*/ 175 h 507"/>
                  <a:gd name="T6" fmla="*/ 115 w 509"/>
                  <a:gd name="T7" fmla="*/ 225 h 507"/>
                  <a:gd name="T8" fmla="*/ 115 w 509"/>
                  <a:gd name="T9" fmla="*/ 282 h 507"/>
                  <a:gd name="T10" fmla="*/ 137 w 509"/>
                  <a:gd name="T11" fmla="*/ 332 h 507"/>
                  <a:gd name="T12" fmla="*/ 175 w 509"/>
                  <a:gd name="T13" fmla="*/ 370 h 507"/>
                  <a:gd name="T14" fmla="*/ 225 w 509"/>
                  <a:gd name="T15" fmla="*/ 391 h 507"/>
                  <a:gd name="T16" fmla="*/ 282 w 509"/>
                  <a:gd name="T17" fmla="*/ 391 h 507"/>
                  <a:gd name="T18" fmla="*/ 333 w 509"/>
                  <a:gd name="T19" fmla="*/ 370 h 507"/>
                  <a:gd name="T20" fmla="*/ 371 w 509"/>
                  <a:gd name="T21" fmla="*/ 332 h 507"/>
                  <a:gd name="T22" fmla="*/ 392 w 509"/>
                  <a:gd name="T23" fmla="*/ 282 h 507"/>
                  <a:gd name="T24" fmla="*/ 392 w 509"/>
                  <a:gd name="T25" fmla="*/ 225 h 507"/>
                  <a:gd name="T26" fmla="*/ 371 w 509"/>
                  <a:gd name="T27" fmla="*/ 175 h 507"/>
                  <a:gd name="T28" fmla="*/ 333 w 509"/>
                  <a:gd name="T29" fmla="*/ 136 h 507"/>
                  <a:gd name="T30" fmla="*/ 282 w 509"/>
                  <a:gd name="T31" fmla="*/ 115 h 507"/>
                  <a:gd name="T32" fmla="*/ 254 w 509"/>
                  <a:gd name="T33" fmla="*/ 0 h 507"/>
                  <a:gd name="T34" fmla="*/ 327 w 509"/>
                  <a:gd name="T35" fmla="*/ 11 h 507"/>
                  <a:gd name="T36" fmla="*/ 392 w 509"/>
                  <a:gd name="T37" fmla="*/ 41 h 507"/>
                  <a:gd name="T38" fmla="*/ 446 w 509"/>
                  <a:gd name="T39" fmla="*/ 87 h 507"/>
                  <a:gd name="T40" fmla="*/ 484 w 509"/>
                  <a:gd name="T41" fmla="*/ 147 h 507"/>
                  <a:gd name="T42" fmla="*/ 505 w 509"/>
                  <a:gd name="T43" fmla="*/ 216 h 507"/>
                  <a:gd name="T44" fmla="*/ 505 w 509"/>
                  <a:gd name="T45" fmla="*/ 291 h 507"/>
                  <a:gd name="T46" fmla="*/ 484 w 509"/>
                  <a:gd name="T47" fmla="*/ 360 h 507"/>
                  <a:gd name="T48" fmla="*/ 446 w 509"/>
                  <a:gd name="T49" fmla="*/ 420 h 507"/>
                  <a:gd name="T50" fmla="*/ 392 w 509"/>
                  <a:gd name="T51" fmla="*/ 467 h 507"/>
                  <a:gd name="T52" fmla="*/ 327 w 509"/>
                  <a:gd name="T53" fmla="*/ 496 h 507"/>
                  <a:gd name="T54" fmla="*/ 254 w 509"/>
                  <a:gd name="T55" fmla="*/ 507 h 507"/>
                  <a:gd name="T56" fmla="*/ 180 w 509"/>
                  <a:gd name="T57" fmla="*/ 496 h 507"/>
                  <a:gd name="T58" fmla="*/ 115 w 509"/>
                  <a:gd name="T59" fmla="*/ 467 h 507"/>
                  <a:gd name="T60" fmla="*/ 62 w 509"/>
                  <a:gd name="T61" fmla="*/ 420 h 507"/>
                  <a:gd name="T62" fmla="*/ 24 w 509"/>
                  <a:gd name="T63" fmla="*/ 360 h 507"/>
                  <a:gd name="T64" fmla="*/ 3 w 509"/>
                  <a:gd name="T65" fmla="*/ 291 h 507"/>
                  <a:gd name="T66" fmla="*/ 3 w 509"/>
                  <a:gd name="T67" fmla="*/ 216 h 507"/>
                  <a:gd name="T68" fmla="*/ 24 w 509"/>
                  <a:gd name="T69" fmla="*/ 147 h 507"/>
                  <a:gd name="T70" fmla="*/ 62 w 509"/>
                  <a:gd name="T71" fmla="*/ 87 h 507"/>
                  <a:gd name="T72" fmla="*/ 115 w 509"/>
                  <a:gd name="T73" fmla="*/ 41 h 507"/>
                  <a:gd name="T74" fmla="*/ 180 w 509"/>
                  <a:gd name="T75" fmla="*/ 11 h 507"/>
                  <a:gd name="T76" fmla="*/ 254 w 509"/>
                  <a:gd name="T77" fmla="*/ 0 h 5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09" h="507">
                    <a:moveTo>
                      <a:pt x="254" y="112"/>
                    </a:moveTo>
                    <a:lnTo>
                      <a:pt x="225" y="115"/>
                    </a:lnTo>
                    <a:lnTo>
                      <a:pt x="199" y="124"/>
                    </a:lnTo>
                    <a:lnTo>
                      <a:pt x="175" y="136"/>
                    </a:lnTo>
                    <a:lnTo>
                      <a:pt x="154" y="154"/>
                    </a:lnTo>
                    <a:lnTo>
                      <a:pt x="137" y="175"/>
                    </a:lnTo>
                    <a:lnTo>
                      <a:pt x="124" y="199"/>
                    </a:lnTo>
                    <a:lnTo>
                      <a:pt x="115" y="225"/>
                    </a:lnTo>
                    <a:lnTo>
                      <a:pt x="113" y="253"/>
                    </a:lnTo>
                    <a:lnTo>
                      <a:pt x="115" y="282"/>
                    </a:lnTo>
                    <a:lnTo>
                      <a:pt x="124" y="309"/>
                    </a:lnTo>
                    <a:lnTo>
                      <a:pt x="137" y="332"/>
                    </a:lnTo>
                    <a:lnTo>
                      <a:pt x="154" y="353"/>
                    </a:lnTo>
                    <a:lnTo>
                      <a:pt x="175" y="370"/>
                    </a:lnTo>
                    <a:lnTo>
                      <a:pt x="199" y="383"/>
                    </a:lnTo>
                    <a:lnTo>
                      <a:pt x="225" y="391"/>
                    </a:lnTo>
                    <a:lnTo>
                      <a:pt x="254" y="394"/>
                    </a:lnTo>
                    <a:lnTo>
                      <a:pt x="282" y="391"/>
                    </a:lnTo>
                    <a:lnTo>
                      <a:pt x="309" y="383"/>
                    </a:lnTo>
                    <a:lnTo>
                      <a:pt x="333" y="370"/>
                    </a:lnTo>
                    <a:lnTo>
                      <a:pt x="354" y="353"/>
                    </a:lnTo>
                    <a:lnTo>
                      <a:pt x="371" y="332"/>
                    </a:lnTo>
                    <a:lnTo>
                      <a:pt x="384" y="309"/>
                    </a:lnTo>
                    <a:lnTo>
                      <a:pt x="392" y="282"/>
                    </a:lnTo>
                    <a:lnTo>
                      <a:pt x="395" y="253"/>
                    </a:lnTo>
                    <a:lnTo>
                      <a:pt x="392" y="225"/>
                    </a:lnTo>
                    <a:lnTo>
                      <a:pt x="384" y="199"/>
                    </a:lnTo>
                    <a:lnTo>
                      <a:pt x="371" y="175"/>
                    </a:lnTo>
                    <a:lnTo>
                      <a:pt x="354" y="154"/>
                    </a:lnTo>
                    <a:lnTo>
                      <a:pt x="333" y="136"/>
                    </a:lnTo>
                    <a:lnTo>
                      <a:pt x="309" y="124"/>
                    </a:lnTo>
                    <a:lnTo>
                      <a:pt x="282" y="115"/>
                    </a:lnTo>
                    <a:lnTo>
                      <a:pt x="254" y="112"/>
                    </a:lnTo>
                    <a:close/>
                    <a:moveTo>
                      <a:pt x="254" y="0"/>
                    </a:moveTo>
                    <a:lnTo>
                      <a:pt x="291" y="2"/>
                    </a:lnTo>
                    <a:lnTo>
                      <a:pt x="327" y="11"/>
                    </a:lnTo>
                    <a:lnTo>
                      <a:pt x="362" y="23"/>
                    </a:lnTo>
                    <a:lnTo>
                      <a:pt x="392" y="41"/>
                    </a:lnTo>
                    <a:lnTo>
                      <a:pt x="420" y="62"/>
                    </a:lnTo>
                    <a:lnTo>
                      <a:pt x="446" y="87"/>
                    </a:lnTo>
                    <a:lnTo>
                      <a:pt x="468" y="115"/>
                    </a:lnTo>
                    <a:lnTo>
                      <a:pt x="484" y="147"/>
                    </a:lnTo>
                    <a:lnTo>
                      <a:pt x="498" y="180"/>
                    </a:lnTo>
                    <a:lnTo>
                      <a:pt x="505" y="216"/>
                    </a:lnTo>
                    <a:lnTo>
                      <a:pt x="509" y="253"/>
                    </a:lnTo>
                    <a:lnTo>
                      <a:pt x="505" y="291"/>
                    </a:lnTo>
                    <a:lnTo>
                      <a:pt x="498" y="327"/>
                    </a:lnTo>
                    <a:lnTo>
                      <a:pt x="484" y="360"/>
                    </a:lnTo>
                    <a:lnTo>
                      <a:pt x="468" y="391"/>
                    </a:lnTo>
                    <a:lnTo>
                      <a:pt x="446" y="420"/>
                    </a:lnTo>
                    <a:lnTo>
                      <a:pt x="420" y="445"/>
                    </a:lnTo>
                    <a:lnTo>
                      <a:pt x="392" y="467"/>
                    </a:lnTo>
                    <a:lnTo>
                      <a:pt x="362" y="483"/>
                    </a:lnTo>
                    <a:lnTo>
                      <a:pt x="327" y="496"/>
                    </a:lnTo>
                    <a:lnTo>
                      <a:pt x="291" y="504"/>
                    </a:lnTo>
                    <a:lnTo>
                      <a:pt x="254" y="507"/>
                    </a:lnTo>
                    <a:lnTo>
                      <a:pt x="216" y="504"/>
                    </a:lnTo>
                    <a:lnTo>
                      <a:pt x="180" y="496"/>
                    </a:lnTo>
                    <a:lnTo>
                      <a:pt x="147" y="483"/>
                    </a:lnTo>
                    <a:lnTo>
                      <a:pt x="115" y="467"/>
                    </a:lnTo>
                    <a:lnTo>
                      <a:pt x="87" y="445"/>
                    </a:lnTo>
                    <a:lnTo>
                      <a:pt x="62" y="420"/>
                    </a:lnTo>
                    <a:lnTo>
                      <a:pt x="41" y="391"/>
                    </a:lnTo>
                    <a:lnTo>
                      <a:pt x="24" y="360"/>
                    </a:lnTo>
                    <a:lnTo>
                      <a:pt x="10" y="327"/>
                    </a:lnTo>
                    <a:lnTo>
                      <a:pt x="3" y="291"/>
                    </a:lnTo>
                    <a:lnTo>
                      <a:pt x="0" y="253"/>
                    </a:lnTo>
                    <a:lnTo>
                      <a:pt x="3" y="216"/>
                    </a:lnTo>
                    <a:lnTo>
                      <a:pt x="10" y="180"/>
                    </a:lnTo>
                    <a:lnTo>
                      <a:pt x="24" y="147"/>
                    </a:lnTo>
                    <a:lnTo>
                      <a:pt x="41" y="115"/>
                    </a:lnTo>
                    <a:lnTo>
                      <a:pt x="62" y="87"/>
                    </a:lnTo>
                    <a:lnTo>
                      <a:pt x="87" y="62"/>
                    </a:lnTo>
                    <a:lnTo>
                      <a:pt x="115" y="41"/>
                    </a:lnTo>
                    <a:lnTo>
                      <a:pt x="147" y="23"/>
                    </a:lnTo>
                    <a:lnTo>
                      <a:pt x="180" y="11"/>
                    </a:lnTo>
                    <a:lnTo>
                      <a:pt x="216" y="2"/>
                    </a:lnTo>
                    <a:lnTo>
                      <a:pt x="25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113"/>
              <p:cNvSpPr>
                <a:spLocks/>
              </p:cNvSpPr>
              <p:nvPr/>
            </p:nvSpPr>
            <p:spPr bwMode="auto">
              <a:xfrm>
                <a:off x="8648700" y="2765425"/>
                <a:ext cx="17462" cy="19050"/>
              </a:xfrm>
              <a:custGeom>
                <a:avLst/>
                <a:gdLst>
                  <a:gd name="T0" fmla="*/ 57 w 112"/>
                  <a:gd name="T1" fmla="*/ 0 h 113"/>
                  <a:gd name="T2" fmla="*/ 75 w 112"/>
                  <a:gd name="T3" fmla="*/ 3 h 113"/>
                  <a:gd name="T4" fmla="*/ 89 w 112"/>
                  <a:gd name="T5" fmla="*/ 12 h 113"/>
                  <a:gd name="T6" fmla="*/ 102 w 112"/>
                  <a:gd name="T7" fmla="*/ 24 h 113"/>
                  <a:gd name="T8" fmla="*/ 110 w 112"/>
                  <a:gd name="T9" fmla="*/ 39 h 113"/>
                  <a:gd name="T10" fmla="*/ 112 w 112"/>
                  <a:gd name="T11" fmla="*/ 57 h 113"/>
                  <a:gd name="T12" fmla="*/ 110 w 112"/>
                  <a:gd name="T13" fmla="*/ 74 h 113"/>
                  <a:gd name="T14" fmla="*/ 102 w 112"/>
                  <a:gd name="T15" fmla="*/ 90 h 113"/>
                  <a:gd name="T16" fmla="*/ 89 w 112"/>
                  <a:gd name="T17" fmla="*/ 103 h 113"/>
                  <a:gd name="T18" fmla="*/ 75 w 112"/>
                  <a:gd name="T19" fmla="*/ 111 h 113"/>
                  <a:gd name="T20" fmla="*/ 57 w 112"/>
                  <a:gd name="T21" fmla="*/ 113 h 113"/>
                  <a:gd name="T22" fmla="*/ 39 w 112"/>
                  <a:gd name="T23" fmla="*/ 111 h 113"/>
                  <a:gd name="T24" fmla="*/ 23 w 112"/>
                  <a:gd name="T25" fmla="*/ 103 h 113"/>
                  <a:gd name="T26" fmla="*/ 11 w 112"/>
                  <a:gd name="T27" fmla="*/ 90 h 113"/>
                  <a:gd name="T28" fmla="*/ 2 w 112"/>
                  <a:gd name="T29" fmla="*/ 74 h 113"/>
                  <a:gd name="T30" fmla="*/ 0 w 112"/>
                  <a:gd name="T31" fmla="*/ 57 h 113"/>
                  <a:gd name="T32" fmla="*/ 2 w 112"/>
                  <a:gd name="T33" fmla="*/ 39 h 113"/>
                  <a:gd name="T34" fmla="*/ 11 w 112"/>
                  <a:gd name="T35" fmla="*/ 24 h 113"/>
                  <a:gd name="T36" fmla="*/ 23 w 112"/>
                  <a:gd name="T37" fmla="*/ 12 h 113"/>
                  <a:gd name="T38" fmla="*/ 39 w 112"/>
                  <a:gd name="T39" fmla="*/ 3 h 113"/>
                  <a:gd name="T40" fmla="*/ 57 w 112"/>
                  <a:gd name="T41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2" h="113">
                    <a:moveTo>
                      <a:pt x="57" y="0"/>
                    </a:moveTo>
                    <a:lnTo>
                      <a:pt x="75" y="3"/>
                    </a:lnTo>
                    <a:lnTo>
                      <a:pt x="89" y="12"/>
                    </a:lnTo>
                    <a:lnTo>
                      <a:pt x="102" y="24"/>
                    </a:lnTo>
                    <a:lnTo>
                      <a:pt x="110" y="39"/>
                    </a:lnTo>
                    <a:lnTo>
                      <a:pt x="112" y="57"/>
                    </a:lnTo>
                    <a:lnTo>
                      <a:pt x="110" y="74"/>
                    </a:lnTo>
                    <a:lnTo>
                      <a:pt x="102" y="90"/>
                    </a:lnTo>
                    <a:lnTo>
                      <a:pt x="89" y="103"/>
                    </a:lnTo>
                    <a:lnTo>
                      <a:pt x="75" y="111"/>
                    </a:lnTo>
                    <a:lnTo>
                      <a:pt x="57" y="113"/>
                    </a:lnTo>
                    <a:lnTo>
                      <a:pt x="39" y="111"/>
                    </a:lnTo>
                    <a:lnTo>
                      <a:pt x="23" y="103"/>
                    </a:lnTo>
                    <a:lnTo>
                      <a:pt x="11" y="90"/>
                    </a:lnTo>
                    <a:lnTo>
                      <a:pt x="2" y="74"/>
                    </a:lnTo>
                    <a:lnTo>
                      <a:pt x="0" y="57"/>
                    </a:lnTo>
                    <a:lnTo>
                      <a:pt x="2" y="39"/>
                    </a:lnTo>
                    <a:lnTo>
                      <a:pt x="11" y="24"/>
                    </a:lnTo>
                    <a:lnTo>
                      <a:pt x="23" y="12"/>
                    </a:lnTo>
                    <a:lnTo>
                      <a:pt x="39" y="3"/>
                    </a:lnTo>
                    <a:lnTo>
                      <a:pt x="5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114"/>
              <p:cNvSpPr>
                <a:spLocks/>
              </p:cNvSpPr>
              <p:nvPr/>
            </p:nvSpPr>
            <p:spPr bwMode="auto">
              <a:xfrm>
                <a:off x="8612188" y="2765425"/>
                <a:ext cx="19050" cy="19050"/>
              </a:xfrm>
              <a:custGeom>
                <a:avLst/>
                <a:gdLst>
                  <a:gd name="T0" fmla="*/ 56 w 113"/>
                  <a:gd name="T1" fmla="*/ 0 h 113"/>
                  <a:gd name="T2" fmla="*/ 74 w 113"/>
                  <a:gd name="T3" fmla="*/ 3 h 113"/>
                  <a:gd name="T4" fmla="*/ 90 w 113"/>
                  <a:gd name="T5" fmla="*/ 12 h 113"/>
                  <a:gd name="T6" fmla="*/ 102 w 113"/>
                  <a:gd name="T7" fmla="*/ 24 h 113"/>
                  <a:gd name="T8" fmla="*/ 110 w 113"/>
                  <a:gd name="T9" fmla="*/ 39 h 113"/>
                  <a:gd name="T10" fmla="*/ 113 w 113"/>
                  <a:gd name="T11" fmla="*/ 57 h 113"/>
                  <a:gd name="T12" fmla="*/ 110 w 113"/>
                  <a:gd name="T13" fmla="*/ 74 h 113"/>
                  <a:gd name="T14" fmla="*/ 102 w 113"/>
                  <a:gd name="T15" fmla="*/ 90 h 113"/>
                  <a:gd name="T16" fmla="*/ 90 w 113"/>
                  <a:gd name="T17" fmla="*/ 103 h 113"/>
                  <a:gd name="T18" fmla="*/ 74 w 113"/>
                  <a:gd name="T19" fmla="*/ 111 h 113"/>
                  <a:gd name="T20" fmla="*/ 56 w 113"/>
                  <a:gd name="T21" fmla="*/ 113 h 113"/>
                  <a:gd name="T22" fmla="*/ 38 w 113"/>
                  <a:gd name="T23" fmla="*/ 111 h 113"/>
                  <a:gd name="T24" fmla="*/ 23 w 113"/>
                  <a:gd name="T25" fmla="*/ 103 h 113"/>
                  <a:gd name="T26" fmla="*/ 11 w 113"/>
                  <a:gd name="T27" fmla="*/ 90 h 113"/>
                  <a:gd name="T28" fmla="*/ 3 w 113"/>
                  <a:gd name="T29" fmla="*/ 74 h 113"/>
                  <a:gd name="T30" fmla="*/ 0 w 113"/>
                  <a:gd name="T31" fmla="*/ 57 h 113"/>
                  <a:gd name="T32" fmla="*/ 3 w 113"/>
                  <a:gd name="T33" fmla="*/ 39 h 113"/>
                  <a:gd name="T34" fmla="*/ 11 w 113"/>
                  <a:gd name="T35" fmla="*/ 24 h 113"/>
                  <a:gd name="T36" fmla="*/ 23 w 113"/>
                  <a:gd name="T37" fmla="*/ 12 h 113"/>
                  <a:gd name="T38" fmla="*/ 38 w 113"/>
                  <a:gd name="T39" fmla="*/ 3 h 113"/>
                  <a:gd name="T40" fmla="*/ 56 w 113"/>
                  <a:gd name="T41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3" h="113">
                    <a:moveTo>
                      <a:pt x="56" y="0"/>
                    </a:moveTo>
                    <a:lnTo>
                      <a:pt x="74" y="3"/>
                    </a:lnTo>
                    <a:lnTo>
                      <a:pt x="90" y="12"/>
                    </a:lnTo>
                    <a:lnTo>
                      <a:pt x="102" y="24"/>
                    </a:lnTo>
                    <a:lnTo>
                      <a:pt x="110" y="39"/>
                    </a:lnTo>
                    <a:lnTo>
                      <a:pt x="113" y="57"/>
                    </a:lnTo>
                    <a:lnTo>
                      <a:pt x="110" y="74"/>
                    </a:lnTo>
                    <a:lnTo>
                      <a:pt x="102" y="90"/>
                    </a:lnTo>
                    <a:lnTo>
                      <a:pt x="90" y="103"/>
                    </a:lnTo>
                    <a:lnTo>
                      <a:pt x="74" y="111"/>
                    </a:lnTo>
                    <a:lnTo>
                      <a:pt x="56" y="113"/>
                    </a:lnTo>
                    <a:lnTo>
                      <a:pt x="38" y="111"/>
                    </a:lnTo>
                    <a:lnTo>
                      <a:pt x="23" y="103"/>
                    </a:lnTo>
                    <a:lnTo>
                      <a:pt x="11" y="90"/>
                    </a:lnTo>
                    <a:lnTo>
                      <a:pt x="3" y="74"/>
                    </a:lnTo>
                    <a:lnTo>
                      <a:pt x="0" y="57"/>
                    </a:lnTo>
                    <a:lnTo>
                      <a:pt x="3" y="39"/>
                    </a:lnTo>
                    <a:lnTo>
                      <a:pt x="11" y="24"/>
                    </a:lnTo>
                    <a:lnTo>
                      <a:pt x="23" y="12"/>
                    </a:lnTo>
                    <a:lnTo>
                      <a:pt x="38" y="3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115"/>
              <p:cNvSpPr>
                <a:spLocks/>
              </p:cNvSpPr>
              <p:nvPr/>
            </p:nvSpPr>
            <p:spPr bwMode="auto">
              <a:xfrm>
                <a:off x="8666163" y="2792413"/>
                <a:ext cx="17462" cy="19050"/>
              </a:xfrm>
              <a:custGeom>
                <a:avLst/>
                <a:gdLst>
                  <a:gd name="T0" fmla="*/ 57 w 114"/>
                  <a:gd name="T1" fmla="*/ 0 h 112"/>
                  <a:gd name="T2" fmla="*/ 75 w 114"/>
                  <a:gd name="T3" fmla="*/ 3 h 112"/>
                  <a:gd name="T4" fmla="*/ 90 w 114"/>
                  <a:gd name="T5" fmla="*/ 11 h 112"/>
                  <a:gd name="T6" fmla="*/ 103 w 114"/>
                  <a:gd name="T7" fmla="*/ 23 h 112"/>
                  <a:gd name="T8" fmla="*/ 110 w 114"/>
                  <a:gd name="T9" fmla="*/ 38 h 112"/>
                  <a:gd name="T10" fmla="*/ 114 w 114"/>
                  <a:gd name="T11" fmla="*/ 56 h 112"/>
                  <a:gd name="T12" fmla="*/ 110 w 114"/>
                  <a:gd name="T13" fmla="*/ 74 h 112"/>
                  <a:gd name="T14" fmla="*/ 103 w 114"/>
                  <a:gd name="T15" fmla="*/ 89 h 112"/>
                  <a:gd name="T16" fmla="*/ 90 w 114"/>
                  <a:gd name="T17" fmla="*/ 101 h 112"/>
                  <a:gd name="T18" fmla="*/ 75 w 114"/>
                  <a:gd name="T19" fmla="*/ 109 h 112"/>
                  <a:gd name="T20" fmla="*/ 57 w 114"/>
                  <a:gd name="T21" fmla="*/ 112 h 112"/>
                  <a:gd name="T22" fmla="*/ 39 w 114"/>
                  <a:gd name="T23" fmla="*/ 109 h 112"/>
                  <a:gd name="T24" fmla="*/ 23 w 114"/>
                  <a:gd name="T25" fmla="*/ 101 h 112"/>
                  <a:gd name="T26" fmla="*/ 12 w 114"/>
                  <a:gd name="T27" fmla="*/ 89 h 112"/>
                  <a:gd name="T28" fmla="*/ 3 w 114"/>
                  <a:gd name="T29" fmla="*/ 74 h 112"/>
                  <a:gd name="T30" fmla="*/ 0 w 114"/>
                  <a:gd name="T31" fmla="*/ 56 h 112"/>
                  <a:gd name="T32" fmla="*/ 3 w 114"/>
                  <a:gd name="T33" fmla="*/ 38 h 112"/>
                  <a:gd name="T34" fmla="*/ 12 w 114"/>
                  <a:gd name="T35" fmla="*/ 23 h 112"/>
                  <a:gd name="T36" fmla="*/ 23 w 114"/>
                  <a:gd name="T37" fmla="*/ 11 h 112"/>
                  <a:gd name="T38" fmla="*/ 39 w 114"/>
                  <a:gd name="T39" fmla="*/ 3 h 112"/>
                  <a:gd name="T40" fmla="*/ 57 w 114"/>
                  <a:gd name="T41" fmla="*/ 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4" h="112">
                    <a:moveTo>
                      <a:pt x="57" y="0"/>
                    </a:moveTo>
                    <a:lnTo>
                      <a:pt x="75" y="3"/>
                    </a:lnTo>
                    <a:lnTo>
                      <a:pt x="90" y="11"/>
                    </a:lnTo>
                    <a:lnTo>
                      <a:pt x="103" y="23"/>
                    </a:lnTo>
                    <a:lnTo>
                      <a:pt x="110" y="38"/>
                    </a:lnTo>
                    <a:lnTo>
                      <a:pt x="114" y="56"/>
                    </a:lnTo>
                    <a:lnTo>
                      <a:pt x="110" y="74"/>
                    </a:lnTo>
                    <a:lnTo>
                      <a:pt x="103" y="89"/>
                    </a:lnTo>
                    <a:lnTo>
                      <a:pt x="90" y="101"/>
                    </a:lnTo>
                    <a:lnTo>
                      <a:pt x="75" y="109"/>
                    </a:lnTo>
                    <a:lnTo>
                      <a:pt x="57" y="112"/>
                    </a:lnTo>
                    <a:lnTo>
                      <a:pt x="39" y="109"/>
                    </a:lnTo>
                    <a:lnTo>
                      <a:pt x="23" y="101"/>
                    </a:lnTo>
                    <a:lnTo>
                      <a:pt x="12" y="89"/>
                    </a:lnTo>
                    <a:lnTo>
                      <a:pt x="3" y="74"/>
                    </a:lnTo>
                    <a:lnTo>
                      <a:pt x="0" y="56"/>
                    </a:lnTo>
                    <a:lnTo>
                      <a:pt x="3" y="38"/>
                    </a:lnTo>
                    <a:lnTo>
                      <a:pt x="12" y="23"/>
                    </a:lnTo>
                    <a:lnTo>
                      <a:pt x="23" y="11"/>
                    </a:lnTo>
                    <a:lnTo>
                      <a:pt x="39" y="3"/>
                    </a:lnTo>
                    <a:lnTo>
                      <a:pt x="5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116"/>
              <p:cNvSpPr>
                <a:spLocks/>
              </p:cNvSpPr>
              <p:nvPr/>
            </p:nvSpPr>
            <p:spPr bwMode="auto">
              <a:xfrm>
                <a:off x="8631238" y="2792413"/>
                <a:ext cx="17462" cy="19050"/>
              </a:xfrm>
              <a:custGeom>
                <a:avLst/>
                <a:gdLst>
                  <a:gd name="T0" fmla="*/ 56 w 113"/>
                  <a:gd name="T1" fmla="*/ 0 h 112"/>
                  <a:gd name="T2" fmla="*/ 74 w 113"/>
                  <a:gd name="T3" fmla="*/ 3 h 112"/>
                  <a:gd name="T4" fmla="*/ 90 w 113"/>
                  <a:gd name="T5" fmla="*/ 11 h 112"/>
                  <a:gd name="T6" fmla="*/ 102 w 113"/>
                  <a:gd name="T7" fmla="*/ 23 h 112"/>
                  <a:gd name="T8" fmla="*/ 110 w 113"/>
                  <a:gd name="T9" fmla="*/ 38 h 112"/>
                  <a:gd name="T10" fmla="*/ 113 w 113"/>
                  <a:gd name="T11" fmla="*/ 56 h 112"/>
                  <a:gd name="T12" fmla="*/ 110 w 113"/>
                  <a:gd name="T13" fmla="*/ 74 h 112"/>
                  <a:gd name="T14" fmla="*/ 102 w 113"/>
                  <a:gd name="T15" fmla="*/ 89 h 112"/>
                  <a:gd name="T16" fmla="*/ 90 w 113"/>
                  <a:gd name="T17" fmla="*/ 101 h 112"/>
                  <a:gd name="T18" fmla="*/ 74 w 113"/>
                  <a:gd name="T19" fmla="*/ 109 h 112"/>
                  <a:gd name="T20" fmla="*/ 56 w 113"/>
                  <a:gd name="T21" fmla="*/ 112 h 112"/>
                  <a:gd name="T22" fmla="*/ 39 w 113"/>
                  <a:gd name="T23" fmla="*/ 109 h 112"/>
                  <a:gd name="T24" fmla="*/ 23 w 113"/>
                  <a:gd name="T25" fmla="*/ 101 h 112"/>
                  <a:gd name="T26" fmla="*/ 10 w 113"/>
                  <a:gd name="T27" fmla="*/ 89 h 112"/>
                  <a:gd name="T28" fmla="*/ 3 w 113"/>
                  <a:gd name="T29" fmla="*/ 74 h 112"/>
                  <a:gd name="T30" fmla="*/ 0 w 113"/>
                  <a:gd name="T31" fmla="*/ 56 h 112"/>
                  <a:gd name="T32" fmla="*/ 3 w 113"/>
                  <a:gd name="T33" fmla="*/ 38 h 112"/>
                  <a:gd name="T34" fmla="*/ 10 w 113"/>
                  <a:gd name="T35" fmla="*/ 23 h 112"/>
                  <a:gd name="T36" fmla="*/ 23 w 113"/>
                  <a:gd name="T37" fmla="*/ 11 h 112"/>
                  <a:gd name="T38" fmla="*/ 39 w 113"/>
                  <a:gd name="T39" fmla="*/ 3 h 112"/>
                  <a:gd name="T40" fmla="*/ 56 w 113"/>
                  <a:gd name="T41" fmla="*/ 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3" h="112">
                    <a:moveTo>
                      <a:pt x="56" y="0"/>
                    </a:moveTo>
                    <a:lnTo>
                      <a:pt x="74" y="3"/>
                    </a:lnTo>
                    <a:lnTo>
                      <a:pt x="90" y="11"/>
                    </a:lnTo>
                    <a:lnTo>
                      <a:pt x="102" y="23"/>
                    </a:lnTo>
                    <a:lnTo>
                      <a:pt x="110" y="38"/>
                    </a:lnTo>
                    <a:lnTo>
                      <a:pt x="113" y="56"/>
                    </a:lnTo>
                    <a:lnTo>
                      <a:pt x="110" y="74"/>
                    </a:lnTo>
                    <a:lnTo>
                      <a:pt x="102" y="89"/>
                    </a:lnTo>
                    <a:lnTo>
                      <a:pt x="90" y="101"/>
                    </a:lnTo>
                    <a:lnTo>
                      <a:pt x="74" y="109"/>
                    </a:lnTo>
                    <a:lnTo>
                      <a:pt x="56" y="112"/>
                    </a:lnTo>
                    <a:lnTo>
                      <a:pt x="39" y="109"/>
                    </a:lnTo>
                    <a:lnTo>
                      <a:pt x="23" y="101"/>
                    </a:lnTo>
                    <a:lnTo>
                      <a:pt x="10" y="89"/>
                    </a:lnTo>
                    <a:lnTo>
                      <a:pt x="3" y="74"/>
                    </a:lnTo>
                    <a:lnTo>
                      <a:pt x="0" y="56"/>
                    </a:lnTo>
                    <a:lnTo>
                      <a:pt x="3" y="38"/>
                    </a:lnTo>
                    <a:lnTo>
                      <a:pt x="10" y="23"/>
                    </a:lnTo>
                    <a:lnTo>
                      <a:pt x="23" y="11"/>
                    </a:lnTo>
                    <a:lnTo>
                      <a:pt x="39" y="3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117"/>
              <p:cNvSpPr>
                <a:spLocks/>
              </p:cNvSpPr>
              <p:nvPr/>
            </p:nvSpPr>
            <p:spPr bwMode="auto">
              <a:xfrm>
                <a:off x="8577263" y="2765425"/>
                <a:ext cx="17462" cy="19050"/>
              </a:xfrm>
              <a:custGeom>
                <a:avLst/>
                <a:gdLst>
                  <a:gd name="T0" fmla="*/ 57 w 112"/>
                  <a:gd name="T1" fmla="*/ 0 h 113"/>
                  <a:gd name="T2" fmla="*/ 74 w 112"/>
                  <a:gd name="T3" fmla="*/ 3 h 113"/>
                  <a:gd name="T4" fmla="*/ 89 w 112"/>
                  <a:gd name="T5" fmla="*/ 12 h 113"/>
                  <a:gd name="T6" fmla="*/ 102 w 112"/>
                  <a:gd name="T7" fmla="*/ 24 h 113"/>
                  <a:gd name="T8" fmla="*/ 110 w 112"/>
                  <a:gd name="T9" fmla="*/ 39 h 113"/>
                  <a:gd name="T10" fmla="*/ 112 w 112"/>
                  <a:gd name="T11" fmla="*/ 57 h 113"/>
                  <a:gd name="T12" fmla="*/ 110 w 112"/>
                  <a:gd name="T13" fmla="*/ 74 h 113"/>
                  <a:gd name="T14" fmla="*/ 102 w 112"/>
                  <a:gd name="T15" fmla="*/ 90 h 113"/>
                  <a:gd name="T16" fmla="*/ 89 w 112"/>
                  <a:gd name="T17" fmla="*/ 103 h 113"/>
                  <a:gd name="T18" fmla="*/ 74 w 112"/>
                  <a:gd name="T19" fmla="*/ 111 h 113"/>
                  <a:gd name="T20" fmla="*/ 57 w 112"/>
                  <a:gd name="T21" fmla="*/ 113 h 113"/>
                  <a:gd name="T22" fmla="*/ 39 w 112"/>
                  <a:gd name="T23" fmla="*/ 111 h 113"/>
                  <a:gd name="T24" fmla="*/ 23 w 112"/>
                  <a:gd name="T25" fmla="*/ 103 h 113"/>
                  <a:gd name="T26" fmla="*/ 10 w 112"/>
                  <a:gd name="T27" fmla="*/ 90 h 113"/>
                  <a:gd name="T28" fmla="*/ 2 w 112"/>
                  <a:gd name="T29" fmla="*/ 74 h 113"/>
                  <a:gd name="T30" fmla="*/ 0 w 112"/>
                  <a:gd name="T31" fmla="*/ 57 h 113"/>
                  <a:gd name="T32" fmla="*/ 2 w 112"/>
                  <a:gd name="T33" fmla="*/ 39 h 113"/>
                  <a:gd name="T34" fmla="*/ 10 w 112"/>
                  <a:gd name="T35" fmla="*/ 24 h 113"/>
                  <a:gd name="T36" fmla="*/ 23 w 112"/>
                  <a:gd name="T37" fmla="*/ 12 h 113"/>
                  <a:gd name="T38" fmla="*/ 39 w 112"/>
                  <a:gd name="T39" fmla="*/ 3 h 113"/>
                  <a:gd name="T40" fmla="*/ 57 w 112"/>
                  <a:gd name="T41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2" h="113">
                    <a:moveTo>
                      <a:pt x="57" y="0"/>
                    </a:moveTo>
                    <a:lnTo>
                      <a:pt x="74" y="3"/>
                    </a:lnTo>
                    <a:lnTo>
                      <a:pt x="89" y="12"/>
                    </a:lnTo>
                    <a:lnTo>
                      <a:pt x="102" y="24"/>
                    </a:lnTo>
                    <a:lnTo>
                      <a:pt x="110" y="39"/>
                    </a:lnTo>
                    <a:lnTo>
                      <a:pt x="112" y="57"/>
                    </a:lnTo>
                    <a:lnTo>
                      <a:pt x="110" y="74"/>
                    </a:lnTo>
                    <a:lnTo>
                      <a:pt x="102" y="90"/>
                    </a:lnTo>
                    <a:lnTo>
                      <a:pt x="89" y="103"/>
                    </a:lnTo>
                    <a:lnTo>
                      <a:pt x="74" y="111"/>
                    </a:lnTo>
                    <a:lnTo>
                      <a:pt x="57" y="113"/>
                    </a:lnTo>
                    <a:lnTo>
                      <a:pt x="39" y="111"/>
                    </a:lnTo>
                    <a:lnTo>
                      <a:pt x="23" y="103"/>
                    </a:lnTo>
                    <a:lnTo>
                      <a:pt x="10" y="90"/>
                    </a:lnTo>
                    <a:lnTo>
                      <a:pt x="2" y="74"/>
                    </a:lnTo>
                    <a:lnTo>
                      <a:pt x="0" y="57"/>
                    </a:lnTo>
                    <a:lnTo>
                      <a:pt x="2" y="39"/>
                    </a:lnTo>
                    <a:lnTo>
                      <a:pt x="10" y="24"/>
                    </a:lnTo>
                    <a:lnTo>
                      <a:pt x="23" y="12"/>
                    </a:lnTo>
                    <a:lnTo>
                      <a:pt x="39" y="3"/>
                    </a:lnTo>
                    <a:lnTo>
                      <a:pt x="5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118"/>
              <p:cNvSpPr>
                <a:spLocks/>
              </p:cNvSpPr>
              <p:nvPr/>
            </p:nvSpPr>
            <p:spPr bwMode="auto">
              <a:xfrm>
                <a:off x="8594725" y="2792413"/>
                <a:ext cx="17462" cy="19050"/>
              </a:xfrm>
              <a:custGeom>
                <a:avLst/>
                <a:gdLst>
                  <a:gd name="T0" fmla="*/ 57 w 114"/>
                  <a:gd name="T1" fmla="*/ 0 h 112"/>
                  <a:gd name="T2" fmla="*/ 75 w 114"/>
                  <a:gd name="T3" fmla="*/ 3 h 112"/>
                  <a:gd name="T4" fmla="*/ 90 w 114"/>
                  <a:gd name="T5" fmla="*/ 11 h 112"/>
                  <a:gd name="T6" fmla="*/ 103 w 114"/>
                  <a:gd name="T7" fmla="*/ 23 h 112"/>
                  <a:gd name="T8" fmla="*/ 110 w 114"/>
                  <a:gd name="T9" fmla="*/ 38 h 112"/>
                  <a:gd name="T10" fmla="*/ 114 w 114"/>
                  <a:gd name="T11" fmla="*/ 56 h 112"/>
                  <a:gd name="T12" fmla="*/ 110 w 114"/>
                  <a:gd name="T13" fmla="*/ 74 h 112"/>
                  <a:gd name="T14" fmla="*/ 103 w 114"/>
                  <a:gd name="T15" fmla="*/ 89 h 112"/>
                  <a:gd name="T16" fmla="*/ 90 w 114"/>
                  <a:gd name="T17" fmla="*/ 101 h 112"/>
                  <a:gd name="T18" fmla="*/ 75 w 114"/>
                  <a:gd name="T19" fmla="*/ 109 h 112"/>
                  <a:gd name="T20" fmla="*/ 57 w 114"/>
                  <a:gd name="T21" fmla="*/ 112 h 112"/>
                  <a:gd name="T22" fmla="*/ 39 w 114"/>
                  <a:gd name="T23" fmla="*/ 109 h 112"/>
                  <a:gd name="T24" fmla="*/ 23 w 114"/>
                  <a:gd name="T25" fmla="*/ 101 h 112"/>
                  <a:gd name="T26" fmla="*/ 12 w 114"/>
                  <a:gd name="T27" fmla="*/ 89 h 112"/>
                  <a:gd name="T28" fmla="*/ 3 w 114"/>
                  <a:gd name="T29" fmla="*/ 74 h 112"/>
                  <a:gd name="T30" fmla="*/ 0 w 114"/>
                  <a:gd name="T31" fmla="*/ 56 h 112"/>
                  <a:gd name="T32" fmla="*/ 3 w 114"/>
                  <a:gd name="T33" fmla="*/ 38 h 112"/>
                  <a:gd name="T34" fmla="*/ 12 w 114"/>
                  <a:gd name="T35" fmla="*/ 23 h 112"/>
                  <a:gd name="T36" fmla="*/ 23 w 114"/>
                  <a:gd name="T37" fmla="*/ 11 h 112"/>
                  <a:gd name="T38" fmla="*/ 39 w 114"/>
                  <a:gd name="T39" fmla="*/ 3 h 112"/>
                  <a:gd name="T40" fmla="*/ 57 w 114"/>
                  <a:gd name="T41" fmla="*/ 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4" h="112">
                    <a:moveTo>
                      <a:pt x="57" y="0"/>
                    </a:moveTo>
                    <a:lnTo>
                      <a:pt x="75" y="3"/>
                    </a:lnTo>
                    <a:lnTo>
                      <a:pt x="90" y="11"/>
                    </a:lnTo>
                    <a:lnTo>
                      <a:pt x="103" y="23"/>
                    </a:lnTo>
                    <a:lnTo>
                      <a:pt x="110" y="38"/>
                    </a:lnTo>
                    <a:lnTo>
                      <a:pt x="114" y="56"/>
                    </a:lnTo>
                    <a:lnTo>
                      <a:pt x="110" y="74"/>
                    </a:lnTo>
                    <a:lnTo>
                      <a:pt x="103" y="89"/>
                    </a:lnTo>
                    <a:lnTo>
                      <a:pt x="90" y="101"/>
                    </a:lnTo>
                    <a:lnTo>
                      <a:pt x="75" y="109"/>
                    </a:lnTo>
                    <a:lnTo>
                      <a:pt x="57" y="112"/>
                    </a:lnTo>
                    <a:lnTo>
                      <a:pt x="39" y="109"/>
                    </a:lnTo>
                    <a:lnTo>
                      <a:pt x="23" y="101"/>
                    </a:lnTo>
                    <a:lnTo>
                      <a:pt x="12" y="89"/>
                    </a:lnTo>
                    <a:lnTo>
                      <a:pt x="3" y="74"/>
                    </a:lnTo>
                    <a:lnTo>
                      <a:pt x="0" y="56"/>
                    </a:lnTo>
                    <a:lnTo>
                      <a:pt x="3" y="38"/>
                    </a:lnTo>
                    <a:lnTo>
                      <a:pt x="12" y="23"/>
                    </a:lnTo>
                    <a:lnTo>
                      <a:pt x="23" y="11"/>
                    </a:lnTo>
                    <a:lnTo>
                      <a:pt x="39" y="3"/>
                    </a:lnTo>
                    <a:lnTo>
                      <a:pt x="5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119"/>
              <p:cNvSpPr>
                <a:spLocks/>
              </p:cNvSpPr>
              <p:nvPr/>
            </p:nvSpPr>
            <p:spPr bwMode="auto">
              <a:xfrm>
                <a:off x="8540750" y="2765425"/>
                <a:ext cx="17462" cy="19050"/>
              </a:xfrm>
              <a:custGeom>
                <a:avLst/>
                <a:gdLst>
                  <a:gd name="T0" fmla="*/ 57 w 114"/>
                  <a:gd name="T1" fmla="*/ 0 h 113"/>
                  <a:gd name="T2" fmla="*/ 75 w 114"/>
                  <a:gd name="T3" fmla="*/ 3 h 113"/>
                  <a:gd name="T4" fmla="*/ 91 w 114"/>
                  <a:gd name="T5" fmla="*/ 12 h 113"/>
                  <a:gd name="T6" fmla="*/ 102 w 114"/>
                  <a:gd name="T7" fmla="*/ 24 h 113"/>
                  <a:gd name="T8" fmla="*/ 111 w 114"/>
                  <a:gd name="T9" fmla="*/ 39 h 113"/>
                  <a:gd name="T10" fmla="*/ 114 w 114"/>
                  <a:gd name="T11" fmla="*/ 57 h 113"/>
                  <a:gd name="T12" fmla="*/ 111 w 114"/>
                  <a:gd name="T13" fmla="*/ 74 h 113"/>
                  <a:gd name="T14" fmla="*/ 102 w 114"/>
                  <a:gd name="T15" fmla="*/ 90 h 113"/>
                  <a:gd name="T16" fmla="*/ 91 w 114"/>
                  <a:gd name="T17" fmla="*/ 103 h 113"/>
                  <a:gd name="T18" fmla="*/ 75 w 114"/>
                  <a:gd name="T19" fmla="*/ 111 h 113"/>
                  <a:gd name="T20" fmla="*/ 57 w 114"/>
                  <a:gd name="T21" fmla="*/ 113 h 113"/>
                  <a:gd name="T22" fmla="*/ 39 w 114"/>
                  <a:gd name="T23" fmla="*/ 111 h 113"/>
                  <a:gd name="T24" fmla="*/ 24 w 114"/>
                  <a:gd name="T25" fmla="*/ 103 h 113"/>
                  <a:gd name="T26" fmla="*/ 12 w 114"/>
                  <a:gd name="T27" fmla="*/ 90 h 113"/>
                  <a:gd name="T28" fmla="*/ 4 w 114"/>
                  <a:gd name="T29" fmla="*/ 74 h 113"/>
                  <a:gd name="T30" fmla="*/ 0 w 114"/>
                  <a:gd name="T31" fmla="*/ 57 h 113"/>
                  <a:gd name="T32" fmla="*/ 4 w 114"/>
                  <a:gd name="T33" fmla="*/ 39 h 113"/>
                  <a:gd name="T34" fmla="*/ 12 w 114"/>
                  <a:gd name="T35" fmla="*/ 24 h 113"/>
                  <a:gd name="T36" fmla="*/ 24 w 114"/>
                  <a:gd name="T37" fmla="*/ 12 h 113"/>
                  <a:gd name="T38" fmla="*/ 39 w 114"/>
                  <a:gd name="T39" fmla="*/ 3 h 113"/>
                  <a:gd name="T40" fmla="*/ 57 w 114"/>
                  <a:gd name="T41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4" h="113">
                    <a:moveTo>
                      <a:pt x="57" y="0"/>
                    </a:moveTo>
                    <a:lnTo>
                      <a:pt x="75" y="3"/>
                    </a:lnTo>
                    <a:lnTo>
                      <a:pt x="91" y="12"/>
                    </a:lnTo>
                    <a:lnTo>
                      <a:pt x="102" y="24"/>
                    </a:lnTo>
                    <a:lnTo>
                      <a:pt x="111" y="39"/>
                    </a:lnTo>
                    <a:lnTo>
                      <a:pt x="114" y="57"/>
                    </a:lnTo>
                    <a:lnTo>
                      <a:pt x="111" y="74"/>
                    </a:lnTo>
                    <a:lnTo>
                      <a:pt x="102" y="90"/>
                    </a:lnTo>
                    <a:lnTo>
                      <a:pt x="91" y="103"/>
                    </a:lnTo>
                    <a:lnTo>
                      <a:pt x="75" y="111"/>
                    </a:lnTo>
                    <a:lnTo>
                      <a:pt x="57" y="113"/>
                    </a:lnTo>
                    <a:lnTo>
                      <a:pt x="39" y="111"/>
                    </a:lnTo>
                    <a:lnTo>
                      <a:pt x="24" y="103"/>
                    </a:lnTo>
                    <a:lnTo>
                      <a:pt x="12" y="90"/>
                    </a:lnTo>
                    <a:lnTo>
                      <a:pt x="4" y="74"/>
                    </a:lnTo>
                    <a:lnTo>
                      <a:pt x="0" y="57"/>
                    </a:lnTo>
                    <a:lnTo>
                      <a:pt x="4" y="39"/>
                    </a:lnTo>
                    <a:lnTo>
                      <a:pt x="12" y="24"/>
                    </a:lnTo>
                    <a:lnTo>
                      <a:pt x="24" y="12"/>
                    </a:lnTo>
                    <a:lnTo>
                      <a:pt x="39" y="3"/>
                    </a:lnTo>
                    <a:lnTo>
                      <a:pt x="5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120"/>
              <p:cNvSpPr>
                <a:spLocks/>
              </p:cNvSpPr>
              <p:nvPr/>
            </p:nvSpPr>
            <p:spPr bwMode="auto">
              <a:xfrm>
                <a:off x="8558213" y="2792413"/>
                <a:ext cx="19050" cy="19050"/>
              </a:xfrm>
              <a:custGeom>
                <a:avLst/>
                <a:gdLst>
                  <a:gd name="T0" fmla="*/ 56 w 113"/>
                  <a:gd name="T1" fmla="*/ 0 h 112"/>
                  <a:gd name="T2" fmla="*/ 74 w 113"/>
                  <a:gd name="T3" fmla="*/ 3 h 112"/>
                  <a:gd name="T4" fmla="*/ 90 w 113"/>
                  <a:gd name="T5" fmla="*/ 11 h 112"/>
                  <a:gd name="T6" fmla="*/ 101 w 113"/>
                  <a:gd name="T7" fmla="*/ 23 h 112"/>
                  <a:gd name="T8" fmla="*/ 110 w 113"/>
                  <a:gd name="T9" fmla="*/ 38 h 112"/>
                  <a:gd name="T10" fmla="*/ 113 w 113"/>
                  <a:gd name="T11" fmla="*/ 56 h 112"/>
                  <a:gd name="T12" fmla="*/ 110 w 113"/>
                  <a:gd name="T13" fmla="*/ 74 h 112"/>
                  <a:gd name="T14" fmla="*/ 101 w 113"/>
                  <a:gd name="T15" fmla="*/ 89 h 112"/>
                  <a:gd name="T16" fmla="*/ 90 w 113"/>
                  <a:gd name="T17" fmla="*/ 101 h 112"/>
                  <a:gd name="T18" fmla="*/ 74 w 113"/>
                  <a:gd name="T19" fmla="*/ 109 h 112"/>
                  <a:gd name="T20" fmla="*/ 56 w 113"/>
                  <a:gd name="T21" fmla="*/ 112 h 112"/>
                  <a:gd name="T22" fmla="*/ 39 w 113"/>
                  <a:gd name="T23" fmla="*/ 109 h 112"/>
                  <a:gd name="T24" fmla="*/ 23 w 113"/>
                  <a:gd name="T25" fmla="*/ 101 h 112"/>
                  <a:gd name="T26" fmla="*/ 10 w 113"/>
                  <a:gd name="T27" fmla="*/ 89 h 112"/>
                  <a:gd name="T28" fmla="*/ 3 w 113"/>
                  <a:gd name="T29" fmla="*/ 74 h 112"/>
                  <a:gd name="T30" fmla="*/ 0 w 113"/>
                  <a:gd name="T31" fmla="*/ 56 h 112"/>
                  <a:gd name="T32" fmla="*/ 3 w 113"/>
                  <a:gd name="T33" fmla="*/ 38 h 112"/>
                  <a:gd name="T34" fmla="*/ 10 w 113"/>
                  <a:gd name="T35" fmla="*/ 23 h 112"/>
                  <a:gd name="T36" fmla="*/ 23 w 113"/>
                  <a:gd name="T37" fmla="*/ 11 h 112"/>
                  <a:gd name="T38" fmla="*/ 39 w 113"/>
                  <a:gd name="T39" fmla="*/ 3 h 112"/>
                  <a:gd name="T40" fmla="*/ 56 w 113"/>
                  <a:gd name="T41" fmla="*/ 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3" h="112">
                    <a:moveTo>
                      <a:pt x="56" y="0"/>
                    </a:moveTo>
                    <a:lnTo>
                      <a:pt x="74" y="3"/>
                    </a:lnTo>
                    <a:lnTo>
                      <a:pt x="90" y="11"/>
                    </a:lnTo>
                    <a:lnTo>
                      <a:pt x="101" y="23"/>
                    </a:lnTo>
                    <a:lnTo>
                      <a:pt x="110" y="38"/>
                    </a:lnTo>
                    <a:lnTo>
                      <a:pt x="113" y="56"/>
                    </a:lnTo>
                    <a:lnTo>
                      <a:pt x="110" y="74"/>
                    </a:lnTo>
                    <a:lnTo>
                      <a:pt x="101" y="89"/>
                    </a:lnTo>
                    <a:lnTo>
                      <a:pt x="90" y="101"/>
                    </a:lnTo>
                    <a:lnTo>
                      <a:pt x="74" y="109"/>
                    </a:lnTo>
                    <a:lnTo>
                      <a:pt x="56" y="112"/>
                    </a:lnTo>
                    <a:lnTo>
                      <a:pt x="39" y="109"/>
                    </a:lnTo>
                    <a:lnTo>
                      <a:pt x="23" y="101"/>
                    </a:lnTo>
                    <a:lnTo>
                      <a:pt x="10" y="89"/>
                    </a:lnTo>
                    <a:lnTo>
                      <a:pt x="3" y="74"/>
                    </a:lnTo>
                    <a:lnTo>
                      <a:pt x="0" y="56"/>
                    </a:lnTo>
                    <a:lnTo>
                      <a:pt x="3" y="38"/>
                    </a:lnTo>
                    <a:lnTo>
                      <a:pt x="10" y="23"/>
                    </a:lnTo>
                    <a:lnTo>
                      <a:pt x="23" y="11"/>
                    </a:lnTo>
                    <a:lnTo>
                      <a:pt x="39" y="3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121"/>
              <p:cNvSpPr>
                <a:spLocks/>
              </p:cNvSpPr>
              <p:nvPr/>
            </p:nvSpPr>
            <p:spPr bwMode="auto">
              <a:xfrm>
                <a:off x="8504238" y="2765425"/>
                <a:ext cx="19050" cy="19050"/>
              </a:xfrm>
              <a:custGeom>
                <a:avLst/>
                <a:gdLst>
                  <a:gd name="T0" fmla="*/ 57 w 113"/>
                  <a:gd name="T1" fmla="*/ 0 h 113"/>
                  <a:gd name="T2" fmla="*/ 74 w 113"/>
                  <a:gd name="T3" fmla="*/ 3 h 113"/>
                  <a:gd name="T4" fmla="*/ 90 w 113"/>
                  <a:gd name="T5" fmla="*/ 12 h 113"/>
                  <a:gd name="T6" fmla="*/ 103 w 113"/>
                  <a:gd name="T7" fmla="*/ 24 h 113"/>
                  <a:gd name="T8" fmla="*/ 111 w 113"/>
                  <a:gd name="T9" fmla="*/ 39 h 113"/>
                  <a:gd name="T10" fmla="*/ 113 w 113"/>
                  <a:gd name="T11" fmla="*/ 57 h 113"/>
                  <a:gd name="T12" fmla="*/ 111 w 113"/>
                  <a:gd name="T13" fmla="*/ 74 h 113"/>
                  <a:gd name="T14" fmla="*/ 103 w 113"/>
                  <a:gd name="T15" fmla="*/ 90 h 113"/>
                  <a:gd name="T16" fmla="*/ 90 w 113"/>
                  <a:gd name="T17" fmla="*/ 103 h 113"/>
                  <a:gd name="T18" fmla="*/ 74 w 113"/>
                  <a:gd name="T19" fmla="*/ 111 h 113"/>
                  <a:gd name="T20" fmla="*/ 57 w 113"/>
                  <a:gd name="T21" fmla="*/ 113 h 113"/>
                  <a:gd name="T22" fmla="*/ 39 w 113"/>
                  <a:gd name="T23" fmla="*/ 111 h 113"/>
                  <a:gd name="T24" fmla="*/ 24 w 113"/>
                  <a:gd name="T25" fmla="*/ 103 h 113"/>
                  <a:gd name="T26" fmla="*/ 11 w 113"/>
                  <a:gd name="T27" fmla="*/ 90 h 113"/>
                  <a:gd name="T28" fmla="*/ 3 w 113"/>
                  <a:gd name="T29" fmla="*/ 74 h 113"/>
                  <a:gd name="T30" fmla="*/ 0 w 113"/>
                  <a:gd name="T31" fmla="*/ 57 h 113"/>
                  <a:gd name="T32" fmla="*/ 3 w 113"/>
                  <a:gd name="T33" fmla="*/ 39 h 113"/>
                  <a:gd name="T34" fmla="*/ 11 w 113"/>
                  <a:gd name="T35" fmla="*/ 24 h 113"/>
                  <a:gd name="T36" fmla="*/ 24 w 113"/>
                  <a:gd name="T37" fmla="*/ 12 h 113"/>
                  <a:gd name="T38" fmla="*/ 39 w 113"/>
                  <a:gd name="T39" fmla="*/ 3 h 113"/>
                  <a:gd name="T40" fmla="*/ 57 w 113"/>
                  <a:gd name="T41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3" h="113">
                    <a:moveTo>
                      <a:pt x="57" y="0"/>
                    </a:moveTo>
                    <a:lnTo>
                      <a:pt x="74" y="3"/>
                    </a:lnTo>
                    <a:lnTo>
                      <a:pt x="90" y="12"/>
                    </a:lnTo>
                    <a:lnTo>
                      <a:pt x="103" y="24"/>
                    </a:lnTo>
                    <a:lnTo>
                      <a:pt x="111" y="39"/>
                    </a:lnTo>
                    <a:lnTo>
                      <a:pt x="113" y="57"/>
                    </a:lnTo>
                    <a:lnTo>
                      <a:pt x="111" y="74"/>
                    </a:lnTo>
                    <a:lnTo>
                      <a:pt x="103" y="90"/>
                    </a:lnTo>
                    <a:lnTo>
                      <a:pt x="90" y="103"/>
                    </a:lnTo>
                    <a:lnTo>
                      <a:pt x="74" y="111"/>
                    </a:lnTo>
                    <a:lnTo>
                      <a:pt x="57" y="113"/>
                    </a:lnTo>
                    <a:lnTo>
                      <a:pt x="39" y="111"/>
                    </a:lnTo>
                    <a:lnTo>
                      <a:pt x="24" y="103"/>
                    </a:lnTo>
                    <a:lnTo>
                      <a:pt x="11" y="90"/>
                    </a:lnTo>
                    <a:lnTo>
                      <a:pt x="3" y="74"/>
                    </a:lnTo>
                    <a:lnTo>
                      <a:pt x="0" y="57"/>
                    </a:lnTo>
                    <a:lnTo>
                      <a:pt x="3" y="39"/>
                    </a:lnTo>
                    <a:lnTo>
                      <a:pt x="11" y="24"/>
                    </a:lnTo>
                    <a:lnTo>
                      <a:pt x="24" y="12"/>
                    </a:lnTo>
                    <a:lnTo>
                      <a:pt x="39" y="3"/>
                    </a:lnTo>
                    <a:lnTo>
                      <a:pt x="5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122"/>
              <p:cNvSpPr>
                <a:spLocks/>
              </p:cNvSpPr>
              <p:nvPr/>
            </p:nvSpPr>
            <p:spPr bwMode="auto">
              <a:xfrm>
                <a:off x="8523288" y="2792413"/>
                <a:ext cx="17462" cy="19050"/>
              </a:xfrm>
              <a:custGeom>
                <a:avLst/>
                <a:gdLst>
                  <a:gd name="T0" fmla="*/ 57 w 113"/>
                  <a:gd name="T1" fmla="*/ 0 h 112"/>
                  <a:gd name="T2" fmla="*/ 75 w 113"/>
                  <a:gd name="T3" fmla="*/ 3 h 112"/>
                  <a:gd name="T4" fmla="*/ 90 w 113"/>
                  <a:gd name="T5" fmla="*/ 11 h 112"/>
                  <a:gd name="T6" fmla="*/ 103 w 113"/>
                  <a:gd name="T7" fmla="*/ 23 h 112"/>
                  <a:gd name="T8" fmla="*/ 111 w 113"/>
                  <a:gd name="T9" fmla="*/ 38 h 112"/>
                  <a:gd name="T10" fmla="*/ 113 w 113"/>
                  <a:gd name="T11" fmla="*/ 56 h 112"/>
                  <a:gd name="T12" fmla="*/ 111 w 113"/>
                  <a:gd name="T13" fmla="*/ 74 h 112"/>
                  <a:gd name="T14" fmla="*/ 103 w 113"/>
                  <a:gd name="T15" fmla="*/ 89 h 112"/>
                  <a:gd name="T16" fmla="*/ 90 w 113"/>
                  <a:gd name="T17" fmla="*/ 101 h 112"/>
                  <a:gd name="T18" fmla="*/ 75 w 113"/>
                  <a:gd name="T19" fmla="*/ 109 h 112"/>
                  <a:gd name="T20" fmla="*/ 57 w 113"/>
                  <a:gd name="T21" fmla="*/ 112 h 112"/>
                  <a:gd name="T22" fmla="*/ 39 w 113"/>
                  <a:gd name="T23" fmla="*/ 109 h 112"/>
                  <a:gd name="T24" fmla="*/ 23 w 113"/>
                  <a:gd name="T25" fmla="*/ 101 h 112"/>
                  <a:gd name="T26" fmla="*/ 12 w 113"/>
                  <a:gd name="T27" fmla="*/ 89 h 112"/>
                  <a:gd name="T28" fmla="*/ 3 w 113"/>
                  <a:gd name="T29" fmla="*/ 74 h 112"/>
                  <a:gd name="T30" fmla="*/ 0 w 113"/>
                  <a:gd name="T31" fmla="*/ 56 h 112"/>
                  <a:gd name="T32" fmla="*/ 3 w 113"/>
                  <a:gd name="T33" fmla="*/ 38 h 112"/>
                  <a:gd name="T34" fmla="*/ 12 w 113"/>
                  <a:gd name="T35" fmla="*/ 23 h 112"/>
                  <a:gd name="T36" fmla="*/ 23 w 113"/>
                  <a:gd name="T37" fmla="*/ 11 h 112"/>
                  <a:gd name="T38" fmla="*/ 39 w 113"/>
                  <a:gd name="T39" fmla="*/ 3 h 112"/>
                  <a:gd name="T40" fmla="*/ 57 w 113"/>
                  <a:gd name="T41" fmla="*/ 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3" h="112">
                    <a:moveTo>
                      <a:pt x="57" y="0"/>
                    </a:moveTo>
                    <a:lnTo>
                      <a:pt x="75" y="3"/>
                    </a:lnTo>
                    <a:lnTo>
                      <a:pt x="90" y="11"/>
                    </a:lnTo>
                    <a:lnTo>
                      <a:pt x="103" y="23"/>
                    </a:lnTo>
                    <a:lnTo>
                      <a:pt x="111" y="38"/>
                    </a:lnTo>
                    <a:lnTo>
                      <a:pt x="113" y="56"/>
                    </a:lnTo>
                    <a:lnTo>
                      <a:pt x="111" y="74"/>
                    </a:lnTo>
                    <a:lnTo>
                      <a:pt x="103" y="89"/>
                    </a:lnTo>
                    <a:lnTo>
                      <a:pt x="90" y="101"/>
                    </a:lnTo>
                    <a:lnTo>
                      <a:pt x="75" y="109"/>
                    </a:lnTo>
                    <a:lnTo>
                      <a:pt x="57" y="112"/>
                    </a:lnTo>
                    <a:lnTo>
                      <a:pt x="39" y="109"/>
                    </a:lnTo>
                    <a:lnTo>
                      <a:pt x="23" y="101"/>
                    </a:lnTo>
                    <a:lnTo>
                      <a:pt x="12" y="89"/>
                    </a:lnTo>
                    <a:lnTo>
                      <a:pt x="3" y="74"/>
                    </a:lnTo>
                    <a:lnTo>
                      <a:pt x="0" y="56"/>
                    </a:lnTo>
                    <a:lnTo>
                      <a:pt x="3" y="38"/>
                    </a:lnTo>
                    <a:lnTo>
                      <a:pt x="12" y="23"/>
                    </a:lnTo>
                    <a:lnTo>
                      <a:pt x="23" y="11"/>
                    </a:lnTo>
                    <a:lnTo>
                      <a:pt x="39" y="3"/>
                    </a:lnTo>
                    <a:lnTo>
                      <a:pt x="5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Freeform 123"/>
              <p:cNvSpPr>
                <a:spLocks noEditPoints="1"/>
              </p:cNvSpPr>
              <p:nvPr/>
            </p:nvSpPr>
            <p:spPr bwMode="auto">
              <a:xfrm>
                <a:off x="8262938" y="2917825"/>
                <a:ext cx="80962" cy="80963"/>
              </a:xfrm>
              <a:custGeom>
                <a:avLst/>
                <a:gdLst>
                  <a:gd name="T0" fmla="*/ 225 w 509"/>
                  <a:gd name="T1" fmla="*/ 116 h 507"/>
                  <a:gd name="T2" fmla="*/ 175 w 509"/>
                  <a:gd name="T3" fmla="*/ 137 h 507"/>
                  <a:gd name="T4" fmla="*/ 137 w 509"/>
                  <a:gd name="T5" fmla="*/ 175 h 507"/>
                  <a:gd name="T6" fmla="*/ 115 w 509"/>
                  <a:gd name="T7" fmla="*/ 226 h 507"/>
                  <a:gd name="T8" fmla="*/ 115 w 509"/>
                  <a:gd name="T9" fmla="*/ 282 h 507"/>
                  <a:gd name="T10" fmla="*/ 137 w 509"/>
                  <a:gd name="T11" fmla="*/ 332 h 507"/>
                  <a:gd name="T12" fmla="*/ 175 w 509"/>
                  <a:gd name="T13" fmla="*/ 371 h 507"/>
                  <a:gd name="T14" fmla="*/ 225 w 509"/>
                  <a:gd name="T15" fmla="*/ 392 h 507"/>
                  <a:gd name="T16" fmla="*/ 282 w 509"/>
                  <a:gd name="T17" fmla="*/ 392 h 507"/>
                  <a:gd name="T18" fmla="*/ 333 w 509"/>
                  <a:gd name="T19" fmla="*/ 371 h 507"/>
                  <a:gd name="T20" fmla="*/ 371 w 509"/>
                  <a:gd name="T21" fmla="*/ 332 h 507"/>
                  <a:gd name="T22" fmla="*/ 392 w 509"/>
                  <a:gd name="T23" fmla="*/ 282 h 507"/>
                  <a:gd name="T24" fmla="*/ 392 w 509"/>
                  <a:gd name="T25" fmla="*/ 226 h 507"/>
                  <a:gd name="T26" fmla="*/ 371 w 509"/>
                  <a:gd name="T27" fmla="*/ 175 h 507"/>
                  <a:gd name="T28" fmla="*/ 333 w 509"/>
                  <a:gd name="T29" fmla="*/ 137 h 507"/>
                  <a:gd name="T30" fmla="*/ 282 w 509"/>
                  <a:gd name="T31" fmla="*/ 116 h 507"/>
                  <a:gd name="T32" fmla="*/ 254 w 509"/>
                  <a:gd name="T33" fmla="*/ 0 h 507"/>
                  <a:gd name="T34" fmla="*/ 327 w 509"/>
                  <a:gd name="T35" fmla="*/ 11 h 507"/>
                  <a:gd name="T36" fmla="*/ 392 w 509"/>
                  <a:gd name="T37" fmla="*/ 42 h 507"/>
                  <a:gd name="T38" fmla="*/ 446 w 509"/>
                  <a:gd name="T39" fmla="*/ 88 h 507"/>
                  <a:gd name="T40" fmla="*/ 484 w 509"/>
                  <a:gd name="T41" fmla="*/ 147 h 507"/>
                  <a:gd name="T42" fmla="*/ 505 w 509"/>
                  <a:gd name="T43" fmla="*/ 216 h 507"/>
                  <a:gd name="T44" fmla="*/ 505 w 509"/>
                  <a:gd name="T45" fmla="*/ 292 h 507"/>
                  <a:gd name="T46" fmla="*/ 484 w 509"/>
                  <a:gd name="T47" fmla="*/ 361 h 507"/>
                  <a:gd name="T48" fmla="*/ 446 w 509"/>
                  <a:gd name="T49" fmla="*/ 420 h 507"/>
                  <a:gd name="T50" fmla="*/ 392 w 509"/>
                  <a:gd name="T51" fmla="*/ 466 h 507"/>
                  <a:gd name="T52" fmla="*/ 327 w 509"/>
                  <a:gd name="T53" fmla="*/ 496 h 507"/>
                  <a:gd name="T54" fmla="*/ 254 w 509"/>
                  <a:gd name="T55" fmla="*/ 507 h 507"/>
                  <a:gd name="T56" fmla="*/ 180 w 509"/>
                  <a:gd name="T57" fmla="*/ 496 h 507"/>
                  <a:gd name="T58" fmla="*/ 115 w 509"/>
                  <a:gd name="T59" fmla="*/ 466 h 507"/>
                  <a:gd name="T60" fmla="*/ 62 w 509"/>
                  <a:gd name="T61" fmla="*/ 420 h 507"/>
                  <a:gd name="T62" fmla="*/ 24 w 509"/>
                  <a:gd name="T63" fmla="*/ 361 h 507"/>
                  <a:gd name="T64" fmla="*/ 3 w 509"/>
                  <a:gd name="T65" fmla="*/ 292 h 507"/>
                  <a:gd name="T66" fmla="*/ 3 w 509"/>
                  <a:gd name="T67" fmla="*/ 216 h 507"/>
                  <a:gd name="T68" fmla="*/ 24 w 509"/>
                  <a:gd name="T69" fmla="*/ 147 h 507"/>
                  <a:gd name="T70" fmla="*/ 62 w 509"/>
                  <a:gd name="T71" fmla="*/ 88 h 507"/>
                  <a:gd name="T72" fmla="*/ 115 w 509"/>
                  <a:gd name="T73" fmla="*/ 42 h 507"/>
                  <a:gd name="T74" fmla="*/ 180 w 509"/>
                  <a:gd name="T75" fmla="*/ 11 h 507"/>
                  <a:gd name="T76" fmla="*/ 254 w 509"/>
                  <a:gd name="T77" fmla="*/ 0 h 5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09" h="507">
                    <a:moveTo>
                      <a:pt x="254" y="113"/>
                    </a:moveTo>
                    <a:lnTo>
                      <a:pt x="225" y="116"/>
                    </a:lnTo>
                    <a:lnTo>
                      <a:pt x="199" y="124"/>
                    </a:lnTo>
                    <a:lnTo>
                      <a:pt x="175" y="137"/>
                    </a:lnTo>
                    <a:lnTo>
                      <a:pt x="154" y="155"/>
                    </a:lnTo>
                    <a:lnTo>
                      <a:pt x="137" y="175"/>
                    </a:lnTo>
                    <a:lnTo>
                      <a:pt x="124" y="200"/>
                    </a:lnTo>
                    <a:lnTo>
                      <a:pt x="115" y="226"/>
                    </a:lnTo>
                    <a:lnTo>
                      <a:pt x="113" y="254"/>
                    </a:lnTo>
                    <a:lnTo>
                      <a:pt x="115" y="282"/>
                    </a:lnTo>
                    <a:lnTo>
                      <a:pt x="124" y="308"/>
                    </a:lnTo>
                    <a:lnTo>
                      <a:pt x="137" y="332"/>
                    </a:lnTo>
                    <a:lnTo>
                      <a:pt x="154" y="353"/>
                    </a:lnTo>
                    <a:lnTo>
                      <a:pt x="175" y="371"/>
                    </a:lnTo>
                    <a:lnTo>
                      <a:pt x="199" y="384"/>
                    </a:lnTo>
                    <a:lnTo>
                      <a:pt x="225" y="392"/>
                    </a:lnTo>
                    <a:lnTo>
                      <a:pt x="254" y="395"/>
                    </a:lnTo>
                    <a:lnTo>
                      <a:pt x="282" y="392"/>
                    </a:lnTo>
                    <a:lnTo>
                      <a:pt x="309" y="384"/>
                    </a:lnTo>
                    <a:lnTo>
                      <a:pt x="333" y="371"/>
                    </a:lnTo>
                    <a:lnTo>
                      <a:pt x="354" y="353"/>
                    </a:lnTo>
                    <a:lnTo>
                      <a:pt x="371" y="332"/>
                    </a:lnTo>
                    <a:lnTo>
                      <a:pt x="384" y="308"/>
                    </a:lnTo>
                    <a:lnTo>
                      <a:pt x="392" y="282"/>
                    </a:lnTo>
                    <a:lnTo>
                      <a:pt x="395" y="254"/>
                    </a:lnTo>
                    <a:lnTo>
                      <a:pt x="392" y="226"/>
                    </a:lnTo>
                    <a:lnTo>
                      <a:pt x="384" y="200"/>
                    </a:lnTo>
                    <a:lnTo>
                      <a:pt x="371" y="175"/>
                    </a:lnTo>
                    <a:lnTo>
                      <a:pt x="354" y="155"/>
                    </a:lnTo>
                    <a:lnTo>
                      <a:pt x="333" y="137"/>
                    </a:lnTo>
                    <a:lnTo>
                      <a:pt x="309" y="124"/>
                    </a:lnTo>
                    <a:lnTo>
                      <a:pt x="282" y="116"/>
                    </a:lnTo>
                    <a:lnTo>
                      <a:pt x="254" y="113"/>
                    </a:lnTo>
                    <a:close/>
                    <a:moveTo>
                      <a:pt x="254" y="0"/>
                    </a:moveTo>
                    <a:lnTo>
                      <a:pt x="291" y="3"/>
                    </a:lnTo>
                    <a:lnTo>
                      <a:pt x="327" y="11"/>
                    </a:lnTo>
                    <a:lnTo>
                      <a:pt x="362" y="24"/>
                    </a:lnTo>
                    <a:lnTo>
                      <a:pt x="392" y="42"/>
                    </a:lnTo>
                    <a:lnTo>
                      <a:pt x="420" y="63"/>
                    </a:lnTo>
                    <a:lnTo>
                      <a:pt x="446" y="88"/>
                    </a:lnTo>
                    <a:lnTo>
                      <a:pt x="468" y="116"/>
                    </a:lnTo>
                    <a:lnTo>
                      <a:pt x="484" y="147"/>
                    </a:lnTo>
                    <a:lnTo>
                      <a:pt x="498" y="181"/>
                    </a:lnTo>
                    <a:lnTo>
                      <a:pt x="505" y="216"/>
                    </a:lnTo>
                    <a:lnTo>
                      <a:pt x="509" y="254"/>
                    </a:lnTo>
                    <a:lnTo>
                      <a:pt x="505" y="292"/>
                    </a:lnTo>
                    <a:lnTo>
                      <a:pt x="498" y="327"/>
                    </a:lnTo>
                    <a:lnTo>
                      <a:pt x="484" y="361"/>
                    </a:lnTo>
                    <a:lnTo>
                      <a:pt x="468" y="392"/>
                    </a:lnTo>
                    <a:lnTo>
                      <a:pt x="446" y="420"/>
                    </a:lnTo>
                    <a:lnTo>
                      <a:pt x="420" y="445"/>
                    </a:lnTo>
                    <a:lnTo>
                      <a:pt x="392" y="466"/>
                    </a:lnTo>
                    <a:lnTo>
                      <a:pt x="362" y="484"/>
                    </a:lnTo>
                    <a:lnTo>
                      <a:pt x="327" y="496"/>
                    </a:lnTo>
                    <a:lnTo>
                      <a:pt x="291" y="505"/>
                    </a:lnTo>
                    <a:lnTo>
                      <a:pt x="254" y="507"/>
                    </a:lnTo>
                    <a:lnTo>
                      <a:pt x="216" y="505"/>
                    </a:lnTo>
                    <a:lnTo>
                      <a:pt x="180" y="496"/>
                    </a:lnTo>
                    <a:lnTo>
                      <a:pt x="147" y="484"/>
                    </a:lnTo>
                    <a:lnTo>
                      <a:pt x="115" y="466"/>
                    </a:lnTo>
                    <a:lnTo>
                      <a:pt x="87" y="445"/>
                    </a:lnTo>
                    <a:lnTo>
                      <a:pt x="62" y="420"/>
                    </a:lnTo>
                    <a:lnTo>
                      <a:pt x="41" y="392"/>
                    </a:lnTo>
                    <a:lnTo>
                      <a:pt x="24" y="361"/>
                    </a:lnTo>
                    <a:lnTo>
                      <a:pt x="10" y="327"/>
                    </a:lnTo>
                    <a:lnTo>
                      <a:pt x="3" y="292"/>
                    </a:lnTo>
                    <a:lnTo>
                      <a:pt x="0" y="254"/>
                    </a:lnTo>
                    <a:lnTo>
                      <a:pt x="3" y="216"/>
                    </a:lnTo>
                    <a:lnTo>
                      <a:pt x="10" y="181"/>
                    </a:lnTo>
                    <a:lnTo>
                      <a:pt x="24" y="147"/>
                    </a:lnTo>
                    <a:lnTo>
                      <a:pt x="41" y="116"/>
                    </a:lnTo>
                    <a:lnTo>
                      <a:pt x="62" y="88"/>
                    </a:lnTo>
                    <a:lnTo>
                      <a:pt x="87" y="63"/>
                    </a:lnTo>
                    <a:lnTo>
                      <a:pt x="115" y="42"/>
                    </a:lnTo>
                    <a:lnTo>
                      <a:pt x="147" y="24"/>
                    </a:lnTo>
                    <a:lnTo>
                      <a:pt x="180" y="11"/>
                    </a:lnTo>
                    <a:lnTo>
                      <a:pt x="216" y="3"/>
                    </a:lnTo>
                    <a:lnTo>
                      <a:pt x="25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Freeform 124"/>
              <p:cNvSpPr>
                <a:spLocks noEditPoints="1"/>
              </p:cNvSpPr>
              <p:nvPr/>
            </p:nvSpPr>
            <p:spPr bwMode="auto">
              <a:xfrm>
                <a:off x="8262938" y="3087688"/>
                <a:ext cx="80962" cy="80963"/>
              </a:xfrm>
              <a:custGeom>
                <a:avLst/>
                <a:gdLst>
                  <a:gd name="T0" fmla="*/ 225 w 509"/>
                  <a:gd name="T1" fmla="*/ 116 h 507"/>
                  <a:gd name="T2" fmla="*/ 175 w 509"/>
                  <a:gd name="T3" fmla="*/ 137 h 507"/>
                  <a:gd name="T4" fmla="*/ 137 w 509"/>
                  <a:gd name="T5" fmla="*/ 175 h 507"/>
                  <a:gd name="T6" fmla="*/ 115 w 509"/>
                  <a:gd name="T7" fmla="*/ 225 h 507"/>
                  <a:gd name="T8" fmla="*/ 115 w 509"/>
                  <a:gd name="T9" fmla="*/ 283 h 507"/>
                  <a:gd name="T10" fmla="*/ 137 w 509"/>
                  <a:gd name="T11" fmla="*/ 333 h 507"/>
                  <a:gd name="T12" fmla="*/ 175 w 509"/>
                  <a:gd name="T13" fmla="*/ 370 h 507"/>
                  <a:gd name="T14" fmla="*/ 225 w 509"/>
                  <a:gd name="T15" fmla="*/ 392 h 507"/>
                  <a:gd name="T16" fmla="*/ 282 w 509"/>
                  <a:gd name="T17" fmla="*/ 392 h 507"/>
                  <a:gd name="T18" fmla="*/ 333 w 509"/>
                  <a:gd name="T19" fmla="*/ 370 h 507"/>
                  <a:gd name="T20" fmla="*/ 371 w 509"/>
                  <a:gd name="T21" fmla="*/ 333 h 507"/>
                  <a:gd name="T22" fmla="*/ 392 w 509"/>
                  <a:gd name="T23" fmla="*/ 283 h 507"/>
                  <a:gd name="T24" fmla="*/ 392 w 509"/>
                  <a:gd name="T25" fmla="*/ 225 h 507"/>
                  <a:gd name="T26" fmla="*/ 371 w 509"/>
                  <a:gd name="T27" fmla="*/ 175 h 507"/>
                  <a:gd name="T28" fmla="*/ 333 w 509"/>
                  <a:gd name="T29" fmla="*/ 137 h 507"/>
                  <a:gd name="T30" fmla="*/ 282 w 509"/>
                  <a:gd name="T31" fmla="*/ 116 h 507"/>
                  <a:gd name="T32" fmla="*/ 254 w 509"/>
                  <a:gd name="T33" fmla="*/ 0 h 507"/>
                  <a:gd name="T34" fmla="*/ 327 w 509"/>
                  <a:gd name="T35" fmla="*/ 11 h 507"/>
                  <a:gd name="T36" fmla="*/ 392 w 509"/>
                  <a:gd name="T37" fmla="*/ 41 h 507"/>
                  <a:gd name="T38" fmla="*/ 446 w 509"/>
                  <a:gd name="T39" fmla="*/ 88 h 507"/>
                  <a:gd name="T40" fmla="*/ 484 w 509"/>
                  <a:gd name="T41" fmla="*/ 148 h 507"/>
                  <a:gd name="T42" fmla="*/ 505 w 509"/>
                  <a:gd name="T43" fmla="*/ 217 h 507"/>
                  <a:gd name="T44" fmla="*/ 505 w 509"/>
                  <a:gd name="T45" fmla="*/ 291 h 507"/>
                  <a:gd name="T46" fmla="*/ 484 w 509"/>
                  <a:gd name="T47" fmla="*/ 361 h 507"/>
                  <a:gd name="T48" fmla="*/ 446 w 509"/>
                  <a:gd name="T49" fmla="*/ 421 h 507"/>
                  <a:gd name="T50" fmla="*/ 392 w 509"/>
                  <a:gd name="T51" fmla="*/ 467 h 507"/>
                  <a:gd name="T52" fmla="*/ 327 w 509"/>
                  <a:gd name="T53" fmla="*/ 497 h 507"/>
                  <a:gd name="T54" fmla="*/ 254 w 509"/>
                  <a:gd name="T55" fmla="*/ 507 h 507"/>
                  <a:gd name="T56" fmla="*/ 180 w 509"/>
                  <a:gd name="T57" fmla="*/ 497 h 507"/>
                  <a:gd name="T58" fmla="*/ 115 w 509"/>
                  <a:gd name="T59" fmla="*/ 467 h 507"/>
                  <a:gd name="T60" fmla="*/ 62 w 509"/>
                  <a:gd name="T61" fmla="*/ 421 h 507"/>
                  <a:gd name="T62" fmla="*/ 24 w 509"/>
                  <a:gd name="T63" fmla="*/ 361 h 507"/>
                  <a:gd name="T64" fmla="*/ 3 w 509"/>
                  <a:gd name="T65" fmla="*/ 291 h 507"/>
                  <a:gd name="T66" fmla="*/ 3 w 509"/>
                  <a:gd name="T67" fmla="*/ 217 h 507"/>
                  <a:gd name="T68" fmla="*/ 24 w 509"/>
                  <a:gd name="T69" fmla="*/ 148 h 507"/>
                  <a:gd name="T70" fmla="*/ 62 w 509"/>
                  <a:gd name="T71" fmla="*/ 88 h 507"/>
                  <a:gd name="T72" fmla="*/ 115 w 509"/>
                  <a:gd name="T73" fmla="*/ 41 h 507"/>
                  <a:gd name="T74" fmla="*/ 180 w 509"/>
                  <a:gd name="T75" fmla="*/ 11 h 507"/>
                  <a:gd name="T76" fmla="*/ 254 w 509"/>
                  <a:gd name="T77" fmla="*/ 0 h 5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09" h="507">
                    <a:moveTo>
                      <a:pt x="254" y="113"/>
                    </a:moveTo>
                    <a:lnTo>
                      <a:pt x="225" y="116"/>
                    </a:lnTo>
                    <a:lnTo>
                      <a:pt x="199" y="125"/>
                    </a:lnTo>
                    <a:lnTo>
                      <a:pt x="175" y="137"/>
                    </a:lnTo>
                    <a:lnTo>
                      <a:pt x="154" y="154"/>
                    </a:lnTo>
                    <a:lnTo>
                      <a:pt x="137" y="175"/>
                    </a:lnTo>
                    <a:lnTo>
                      <a:pt x="124" y="199"/>
                    </a:lnTo>
                    <a:lnTo>
                      <a:pt x="115" y="225"/>
                    </a:lnTo>
                    <a:lnTo>
                      <a:pt x="113" y="254"/>
                    </a:lnTo>
                    <a:lnTo>
                      <a:pt x="115" y="283"/>
                    </a:lnTo>
                    <a:lnTo>
                      <a:pt x="124" y="309"/>
                    </a:lnTo>
                    <a:lnTo>
                      <a:pt x="137" y="333"/>
                    </a:lnTo>
                    <a:lnTo>
                      <a:pt x="154" y="354"/>
                    </a:lnTo>
                    <a:lnTo>
                      <a:pt x="175" y="370"/>
                    </a:lnTo>
                    <a:lnTo>
                      <a:pt x="199" y="384"/>
                    </a:lnTo>
                    <a:lnTo>
                      <a:pt x="225" y="392"/>
                    </a:lnTo>
                    <a:lnTo>
                      <a:pt x="254" y="395"/>
                    </a:lnTo>
                    <a:lnTo>
                      <a:pt x="282" y="392"/>
                    </a:lnTo>
                    <a:lnTo>
                      <a:pt x="309" y="384"/>
                    </a:lnTo>
                    <a:lnTo>
                      <a:pt x="333" y="370"/>
                    </a:lnTo>
                    <a:lnTo>
                      <a:pt x="354" y="354"/>
                    </a:lnTo>
                    <a:lnTo>
                      <a:pt x="371" y="333"/>
                    </a:lnTo>
                    <a:lnTo>
                      <a:pt x="384" y="309"/>
                    </a:lnTo>
                    <a:lnTo>
                      <a:pt x="392" y="283"/>
                    </a:lnTo>
                    <a:lnTo>
                      <a:pt x="395" y="254"/>
                    </a:lnTo>
                    <a:lnTo>
                      <a:pt x="392" y="225"/>
                    </a:lnTo>
                    <a:lnTo>
                      <a:pt x="384" y="199"/>
                    </a:lnTo>
                    <a:lnTo>
                      <a:pt x="371" y="175"/>
                    </a:lnTo>
                    <a:lnTo>
                      <a:pt x="354" y="154"/>
                    </a:lnTo>
                    <a:lnTo>
                      <a:pt x="333" y="137"/>
                    </a:lnTo>
                    <a:lnTo>
                      <a:pt x="309" y="125"/>
                    </a:lnTo>
                    <a:lnTo>
                      <a:pt x="282" y="116"/>
                    </a:lnTo>
                    <a:lnTo>
                      <a:pt x="254" y="113"/>
                    </a:lnTo>
                    <a:close/>
                    <a:moveTo>
                      <a:pt x="254" y="0"/>
                    </a:moveTo>
                    <a:lnTo>
                      <a:pt x="291" y="4"/>
                    </a:lnTo>
                    <a:lnTo>
                      <a:pt x="327" y="11"/>
                    </a:lnTo>
                    <a:lnTo>
                      <a:pt x="362" y="24"/>
                    </a:lnTo>
                    <a:lnTo>
                      <a:pt x="392" y="41"/>
                    </a:lnTo>
                    <a:lnTo>
                      <a:pt x="420" y="63"/>
                    </a:lnTo>
                    <a:lnTo>
                      <a:pt x="446" y="88"/>
                    </a:lnTo>
                    <a:lnTo>
                      <a:pt x="468" y="116"/>
                    </a:lnTo>
                    <a:lnTo>
                      <a:pt x="484" y="148"/>
                    </a:lnTo>
                    <a:lnTo>
                      <a:pt x="498" y="181"/>
                    </a:lnTo>
                    <a:lnTo>
                      <a:pt x="505" y="217"/>
                    </a:lnTo>
                    <a:lnTo>
                      <a:pt x="509" y="254"/>
                    </a:lnTo>
                    <a:lnTo>
                      <a:pt x="505" y="291"/>
                    </a:lnTo>
                    <a:lnTo>
                      <a:pt x="498" y="328"/>
                    </a:lnTo>
                    <a:lnTo>
                      <a:pt x="484" y="361"/>
                    </a:lnTo>
                    <a:lnTo>
                      <a:pt x="468" y="391"/>
                    </a:lnTo>
                    <a:lnTo>
                      <a:pt x="446" y="421"/>
                    </a:lnTo>
                    <a:lnTo>
                      <a:pt x="420" y="445"/>
                    </a:lnTo>
                    <a:lnTo>
                      <a:pt x="392" y="467"/>
                    </a:lnTo>
                    <a:lnTo>
                      <a:pt x="362" y="483"/>
                    </a:lnTo>
                    <a:lnTo>
                      <a:pt x="327" y="497"/>
                    </a:lnTo>
                    <a:lnTo>
                      <a:pt x="291" y="504"/>
                    </a:lnTo>
                    <a:lnTo>
                      <a:pt x="254" y="507"/>
                    </a:lnTo>
                    <a:lnTo>
                      <a:pt x="216" y="504"/>
                    </a:lnTo>
                    <a:lnTo>
                      <a:pt x="180" y="497"/>
                    </a:lnTo>
                    <a:lnTo>
                      <a:pt x="147" y="483"/>
                    </a:lnTo>
                    <a:lnTo>
                      <a:pt x="115" y="467"/>
                    </a:lnTo>
                    <a:lnTo>
                      <a:pt x="87" y="445"/>
                    </a:lnTo>
                    <a:lnTo>
                      <a:pt x="62" y="421"/>
                    </a:lnTo>
                    <a:lnTo>
                      <a:pt x="41" y="391"/>
                    </a:lnTo>
                    <a:lnTo>
                      <a:pt x="24" y="361"/>
                    </a:lnTo>
                    <a:lnTo>
                      <a:pt x="10" y="328"/>
                    </a:lnTo>
                    <a:lnTo>
                      <a:pt x="3" y="291"/>
                    </a:lnTo>
                    <a:lnTo>
                      <a:pt x="0" y="254"/>
                    </a:lnTo>
                    <a:lnTo>
                      <a:pt x="3" y="217"/>
                    </a:lnTo>
                    <a:lnTo>
                      <a:pt x="10" y="181"/>
                    </a:lnTo>
                    <a:lnTo>
                      <a:pt x="24" y="148"/>
                    </a:lnTo>
                    <a:lnTo>
                      <a:pt x="41" y="116"/>
                    </a:lnTo>
                    <a:lnTo>
                      <a:pt x="62" y="88"/>
                    </a:lnTo>
                    <a:lnTo>
                      <a:pt x="87" y="63"/>
                    </a:lnTo>
                    <a:lnTo>
                      <a:pt x="115" y="41"/>
                    </a:lnTo>
                    <a:lnTo>
                      <a:pt x="147" y="24"/>
                    </a:lnTo>
                    <a:lnTo>
                      <a:pt x="180" y="11"/>
                    </a:lnTo>
                    <a:lnTo>
                      <a:pt x="216" y="4"/>
                    </a:lnTo>
                    <a:lnTo>
                      <a:pt x="25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Freeform 125"/>
              <p:cNvSpPr>
                <a:spLocks noEditPoints="1"/>
              </p:cNvSpPr>
              <p:nvPr/>
            </p:nvSpPr>
            <p:spPr bwMode="auto">
              <a:xfrm>
                <a:off x="8208963" y="2693988"/>
                <a:ext cx="538162" cy="534988"/>
              </a:xfrm>
              <a:custGeom>
                <a:avLst/>
                <a:gdLst>
                  <a:gd name="T0" fmla="*/ 2810 w 3390"/>
                  <a:gd name="T1" fmla="*/ 2813 h 3365"/>
                  <a:gd name="T2" fmla="*/ 2234 w 3390"/>
                  <a:gd name="T3" fmla="*/ 2857 h 3365"/>
                  <a:gd name="T4" fmla="*/ 1676 w 3390"/>
                  <a:gd name="T5" fmla="*/ 2780 h 3365"/>
                  <a:gd name="T6" fmla="*/ 1357 w 3390"/>
                  <a:gd name="T7" fmla="*/ 2961 h 3365"/>
                  <a:gd name="T8" fmla="*/ 1542 w 3390"/>
                  <a:gd name="T9" fmla="*/ 3120 h 3365"/>
                  <a:gd name="T10" fmla="*/ 2317 w 3390"/>
                  <a:gd name="T11" fmla="*/ 3252 h 3365"/>
                  <a:gd name="T12" fmla="*/ 3124 w 3390"/>
                  <a:gd name="T13" fmla="*/ 3107 h 3365"/>
                  <a:gd name="T14" fmla="*/ 231 w 3390"/>
                  <a:gd name="T15" fmla="*/ 2256 h 3365"/>
                  <a:gd name="T16" fmla="*/ 138 w 3390"/>
                  <a:gd name="T17" fmla="*/ 3145 h 3365"/>
                  <a:gd name="T18" fmla="*/ 1364 w 3390"/>
                  <a:gd name="T19" fmla="*/ 3149 h 3365"/>
                  <a:gd name="T20" fmla="*/ 1243 w 3390"/>
                  <a:gd name="T21" fmla="*/ 3026 h 3365"/>
                  <a:gd name="T22" fmla="*/ 1356 w 3390"/>
                  <a:gd name="T23" fmla="*/ 2445 h 3365"/>
                  <a:gd name="T24" fmla="*/ 1397 w 3390"/>
                  <a:gd name="T25" fmla="*/ 2522 h 3365"/>
                  <a:gd name="T26" fmla="*/ 1961 w 3390"/>
                  <a:gd name="T27" fmla="*/ 2722 h 3365"/>
                  <a:gd name="T28" fmla="*/ 2897 w 3390"/>
                  <a:gd name="T29" fmla="*/ 2678 h 3365"/>
                  <a:gd name="T30" fmla="*/ 3259 w 3390"/>
                  <a:gd name="T31" fmla="*/ 2495 h 3365"/>
                  <a:gd name="T32" fmla="*/ 3278 w 3390"/>
                  <a:gd name="T33" fmla="*/ 2410 h 3365"/>
                  <a:gd name="T34" fmla="*/ 2880 w 3390"/>
                  <a:gd name="T35" fmla="*/ 2292 h 3365"/>
                  <a:gd name="T36" fmla="*/ 2317 w 3390"/>
                  <a:gd name="T37" fmla="*/ 2351 h 3365"/>
                  <a:gd name="T38" fmla="*/ 1746 w 3390"/>
                  <a:gd name="T39" fmla="*/ 2290 h 3365"/>
                  <a:gd name="T40" fmla="*/ 1359 w 3390"/>
                  <a:gd name="T41" fmla="*/ 2131 h 3365"/>
                  <a:gd name="T42" fmla="*/ 1365 w 3390"/>
                  <a:gd name="T43" fmla="*/ 1969 h 3365"/>
                  <a:gd name="T44" fmla="*/ 1611 w 3390"/>
                  <a:gd name="T45" fmla="*/ 2133 h 3365"/>
                  <a:gd name="T46" fmla="*/ 2501 w 3390"/>
                  <a:gd name="T47" fmla="*/ 2232 h 3365"/>
                  <a:gd name="T48" fmla="*/ 3204 w 3390"/>
                  <a:gd name="T49" fmla="*/ 2042 h 3365"/>
                  <a:gd name="T50" fmla="*/ 3277 w 3390"/>
                  <a:gd name="T51" fmla="*/ 1936 h 3365"/>
                  <a:gd name="T52" fmla="*/ 3194 w 3390"/>
                  <a:gd name="T53" fmla="*/ 1676 h 3365"/>
                  <a:gd name="T54" fmla="*/ 2934 w 3390"/>
                  <a:gd name="T55" fmla="*/ 1772 h 3365"/>
                  <a:gd name="T56" fmla="*/ 2727 w 3390"/>
                  <a:gd name="T57" fmla="*/ 1814 h 3365"/>
                  <a:gd name="T58" fmla="*/ 2451 w 3390"/>
                  <a:gd name="T59" fmla="*/ 1841 h 3365"/>
                  <a:gd name="T60" fmla="*/ 2095 w 3390"/>
                  <a:gd name="T61" fmla="*/ 1835 h 3365"/>
                  <a:gd name="T62" fmla="*/ 1823 w 3390"/>
                  <a:gd name="T63" fmla="*/ 1799 h 3365"/>
                  <a:gd name="T64" fmla="*/ 1586 w 3390"/>
                  <a:gd name="T65" fmla="*/ 1737 h 3365"/>
                  <a:gd name="T66" fmla="*/ 1358 w 3390"/>
                  <a:gd name="T67" fmla="*/ 1623 h 3365"/>
                  <a:gd name="T68" fmla="*/ 113 w 3390"/>
                  <a:gd name="T69" fmla="*/ 1329 h 3365"/>
                  <a:gd name="T70" fmla="*/ 1243 w 3390"/>
                  <a:gd name="T71" fmla="*/ 1407 h 3365"/>
                  <a:gd name="T72" fmla="*/ 2316 w 3390"/>
                  <a:gd name="T73" fmla="*/ 1127 h 3365"/>
                  <a:gd name="T74" fmla="*/ 1573 w 3390"/>
                  <a:gd name="T75" fmla="*/ 1244 h 3365"/>
                  <a:gd name="T76" fmla="*/ 1370 w 3390"/>
                  <a:gd name="T77" fmla="*/ 1384 h 3365"/>
                  <a:gd name="T78" fmla="*/ 1526 w 3390"/>
                  <a:gd name="T79" fmla="*/ 1593 h 3365"/>
                  <a:gd name="T80" fmla="*/ 2317 w 3390"/>
                  <a:gd name="T81" fmla="*/ 1731 h 3365"/>
                  <a:gd name="T82" fmla="*/ 3107 w 3390"/>
                  <a:gd name="T83" fmla="*/ 1593 h 3365"/>
                  <a:gd name="T84" fmla="*/ 3221 w 3390"/>
                  <a:gd name="T85" fmla="*/ 1335 h 3365"/>
                  <a:gd name="T86" fmla="*/ 2717 w 3390"/>
                  <a:gd name="T87" fmla="*/ 1156 h 3365"/>
                  <a:gd name="T88" fmla="*/ 125 w 3390"/>
                  <a:gd name="T89" fmla="*/ 201 h 3365"/>
                  <a:gd name="T90" fmla="*/ 260 w 3390"/>
                  <a:gd name="T91" fmla="*/ 1069 h 3365"/>
                  <a:gd name="T92" fmla="*/ 2317 w 3390"/>
                  <a:gd name="T93" fmla="*/ 1013 h 3365"/>
                  <a:gd name="T94" fmla="*/ 3130 w 3390"/>
                  <a:gd name="T95" fmla="*/ 1069 h 3365"/>
                  <a:gd name="T96" fmla="*/ 3265 w 3390"/>
                  <a:gd name="T97" fmla="*/ 201 h 3365"/>
                  <a:gd name="T98" fmla="*/ 3205 w 3390"/>
                  <a:gd name="T99" fmla="*/ 10 h 3365"/>
                  <a:gd name="T100" fmla="*/ 3387 w 3390"/>
                  <a:gd name="T101" fmla="*/ 964 h 3365"/>
                  <a:gd name="T102" fmla="*/ 3302 w 3390"/>
                  <a:gd name="T103" fmla="*/ 1255 h 3365"/>
                  <a:gd name="T104" fmla="*/ 3355 w 3390"/>
                  <a:gd name="T105" fmla="*/ 3062 h 3365"/>
                  <a:gd name="T106" fmla="*/ 2861 w 3390"/>
                  <a:gd name="T107" fmla="*/ 3311 h 3365"/>
                  <a:gd name="T108" fmla="*/ 2023 w 3390"/>
                  <a:gd name="T109" fmla="*/ 3349 h 3365"/>
                  <a:gd name="T110" fmla="*/ 24 w 3390"/>
                  <a:gd name="T111" fmla="*/ 3173 h 3365"/>
                  <a:gd name="T112" fmla="*/ 71 w 3390"/>
                  <a:gd name="T113" fmla="*/ 2170 h 3365"/>
                  <a:gd name="T114" fmla="*/ 71 w 3390"/>
                  <a:gd name="T115" fmla="*/ 1152 h 3365"/>
                  <a:gd name="T116" fmla="*/ 24 w 3390"/>
                  <a:gd name="T117" fmla="*/ 149 h 3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390" h="3365">
                    <a:moveTo>
                      <a:pt x="3277" y="2636"/>
                    </a:moveTo>
                    <a:lnTo>
                      <a:pt x="3269" y="2642"/>
                    </a:lnTo>
                    <a:lnTo>
                      <a:pt x="3247" y="2657"/>
                    </a:lnTo>
                    <a:lnTo>
                      <a:pt x="3228" y="2670"/>
                    </a:lnTo>
                    <a:lnTo>
                      <a:pt x="3180" y="2696"/>
                    </a:lnTo>
                    <a:lnTo>
                      <a:pt x="3129" y="2721"/>
                    </a:lnTo>
                    <a:lnTo>
                      <a:pt x="3072" y="2743"/>
                    </a:lnTo>
                    <a:lnTo>
                      <a:pt x="3011" y="2764"/>
                    </a:lnTo>
                    <a:lnTo>
                      <a:pt x="2947" y="2783"/>
                    </a:lnTo>
                    <a:lnTo>
                      <a:pt x="2880" y="2799"/>
                    </a:lnTo>
                    <a:lnTo>
                      <a:pt x="2810" y="2813"/>
                    </a:lnTo>
                    <a:lnTo>
                      <a:pt x="2738" y="2826"/>
                    </a:lnTo>
                    <a:lnTo>
                      <a:pt x="2737" y="2827"/>
                    </a:lnTo>
                    <a:lnTo>
                      <a:pt x="2735" y="2827"/>
                    </a:lnTo>
                    <a:lnTo>
                      <a:pt x="2646" y="2838"/>
                    </a:lnTo>
                    <a:lnTo>
                      <a:pt x="2556" y="2847"/>
                    </a:lnTo>
                    <a:lnTo>
                      <a:pt x="2517" y="2851"/>
                    </a:lnTo>
                    <a:lnTo>
                      <a:pt x="2480" y="2853"/>
                    </a:lnTo>
                    <a:lnTo>
                      <a:pt x="2429" y="2856"/>
                    </a:lnTo>
                    <a:lnTo>
                      <a:pt x="2399" y="2857"/>
                    </a:lnTo>
                    <a:lnTo>
                      <a:pt x="2317" y="2858"/>
                    </a:lnTo>
                    <a:lnTo>
                      <a:pt x="2234" y="2857"/>
                    </a:lnTo>
                    <a:lnTo>
                      <a:pt x="2205" y="2856"/>
                    </a:lnTo>
                    <a:lnTo>
                      <a:pt x="2153" y="2853"/>
                    </a:lnTo>
                    <a:lnTo>
                      <a:pt x="2116" y="2851"/>
                    </a:lnTo>
                    <a:lnTo>
                      <a:pt x="2077" y="2847"/>
                    </a:lnTo>
                    <a:lnTo>
                      <a:pt x="1987" y="2838"/>
                    </a:lnTo>
                    <a:lnTo>
                      <a:pt x="1900" y="2827"/>
                    </a:lnTo>
                    <a:lnTo>
                      <a:pt x="1897" y="2826"/>
                    </a:lnTo>
                    <a:lnTo>
                      <a:pt x="1895" y="2826"/>
                    </a:lnTo>
                    <a:lnTo>
                      <a:pt x="1820" y="2813"/>
                    </a:lnTo>
                    <a:lnTo>
                      <a:pt x="1746" y="2797"/>
                    </a:lnTo>
                    <a:lnTo>
                      <a:pt x="1676" y="2780"/>
                    </a:lnTo>
                    <a:lnTo>
                      <a:pt x="1610" y="2760"/>
                    </a:lnTo>
                    <a:lnTo>
                      <a:pt x="1547" y="2738"/>
                    </a:lnTo>
                    <a:lnTo>
                      <a:pt x="1489" y="2714"/>
                    </a:lnTo>
                    <a:lnTo>
                      <a:pt x="1436" y="2688"/>
                    </a:lnTo>
                    <a:lnTo>
                      <a:pt x="1436" y="2688"/>
                    </a:lnTo>
                    <a:lnTo>
                      <a:pt x="1404" y="2669"/>
                    </a:lnTo>
                    <a:lnTo>
                      <a:pt x="1386" y="2657"/>
                    </a:lnTo>
                    <a:lnTo>
                      <a:pt x="1364" y="2642"/>
                    </a:lnTo>
                    <a:lnTo>
                      <a:pt x="1359" y="2638"/>
                    </a:lnTo>
                    <a:lnTo>
                      <a:pt x="1356" y="2636"/>
                    </a:lnTo>
                    <a:lnTo>
                      <a:pt x="1357" y="2961"/>
                    </a:lnTo>
                    <a:lnTo>
                      <a:pt x="1359" y="2972"/>
                    </a:lnTo>
                    <a:lnTo>
                      <a:pt x="1364" y="2982"/>
                    </a:lnTo>
                    <a:lnTo>
                      <a:pt x="1367" y="2988"/>
                    </a:lnTo>
                    <a:lnTo>
                      <a:pt x="1369" y="2993"/>
                    </a:lnTo>
                    <a:lnTo>
                      <a:pt x="1369" y="2993"/>
                    </a:lnTo>
                    <a:lnTo>
                      <a:pt x="1383" y="3014"/>
                    </a:lnTo>
                    <a:lnTo>
                      <a:pt x="1403" y="3035"/>
                    </a:lnTo>
                    <a:lnTo>
                      <a:pt x="1430" y="3057"/>
                    </a:lnTo>
                    <a:lnTo>
                      <a:pt x="1461" y="3079"/>
                    </a:lnTo>
                    <a:lnTo>
                      <a:pt x="1499" y="3099"/>
                    </a:lnTo>
                    <a:lnTo>
                      <a:pt x="1542" y="3120"/>
                    </a:lnTo>
                    <a:lnTo>
                      <a:pt x="1591" y="3141"/>
                    </a:lnTo>
                    <a:lnTo>
                      <a:pt x="1647" y="3160"/>
                    </a:lnTo>
                    <a:lnTo>
                      <a:pt x="1708" y="3179"/>
                    </a:lnTo>
                    <a:lnTo>
                      <a:pt x="1776" y="3196"/>
                    </a:lnTo>
                    <a:lnTo>
                      <a:pt x="1849" y="3210"/>
                    </a:lnTo>
                    <a:lnTo>
                      <a:pt x="1849" y="3211"/>
                    </a:lnTo>
                    <a:lnTo>
                      <a:pt x="1933" y="3225"/>
                    </a:lnTo>
                    <a:lnTo>
                      <a:pt x="2022" y="3236"/>
                    </a:lnTo>
                    <a:lnTo>
                      <a:pt x="2116" y="3245"/>
                    </a:lnTo>
                    <a:lnTo>
                      <a:pt x="2214" y="3250"/>
                    </a:lnTo>
                    <a:lnTo>
                      <a:pt x="2317" y="3252"/>
                    </a:lnTo>
                    <a:lnTo>
                      <a:pt x="2411" y="3250"/>
                    </a:lnTo>
                    <a:lnTo>
                      <a:pt x="2503" y="3246"/>
                    </a:lnTo>
                    <a:lnTo>
                      <a:pt x="2590" y="3238"/>
                    </a:lnTo>
                    <a:lnTo>
                      <a:pt x="2674" y="3229"/>
                    </a:lnTo>
                    <a:lnTo>
                      <a:pt x="2752" y="3218"/>
                    </a:lnTo>
                    <a:lnTo>
                      <a:pt x="2827" y="3203"/>
                    </a:lnTo>
                    <a:lnTo>
                      <a:pt x="2897" y="3187"/>
                    </a:lnTo>
                    <a:lnTo>
                      <a:pt x="2962" y="3168"/>
                    </a:lnTo>
                    <a:lnTo>
                      <a:pt x="3022" y="3150"/>
                    </a:lnTo>
                    <a:lnTo>
                      <a:pt x="3075" y="3129"/>
                    </a:lnTo>
                    <a:lnTo>
                      <a:pt x="3124" y="3107"/>
                    </a:lnTo>
                    <a:lnTo>
                      <a:pt x="3166" y="3084"/>
                    </a:lnTo>
                    <a:lnTo>
                      <a:pt x="3201" y="3060"/>
                    </a:lnTo>
                    <a:lnTo>
                      <a:pt x="3231" y="3036"/>
                    </a:lnTo>
                    <a:lnTo>
                      <a:pt x="3253" y="3011"/>
                    </a:lnTo>
                    <a:lnTo>
                      <a:pt x="3268" y="2987"/>
                    </a:lnTo>
                    <a:lnTo>
                      <a:pt x="3276" y="2961"/>
                    </a:lnTo>
                    <a:lnTo>
                      <a:pt x="3277" y="2958"/>
                    </a:lnTo>
                    <a:lnTo>
                      <a:pt x="3277" y="2956"/>
                    </a:lnTo>
                    <a:lnTo>
                      <a:pt x="3277" y="2636"/>
                    </a:lnTo>
                    <a:close/>
                    <a:moveTo>
                      <a:pt x="260" y="2253"/>
                    </a:moveTo>
                    <a:lnTo>
                      <a:pt x="231" y="2256"/>
                    </a:lnTo>
                    <a:lnTo>
                      <a:pt x="202" y="2264"/>
                    </a:lnTo>
                    <a:lnTo>
                      <a:pt x="177" y="2278"/>
                    </a:lnTo>
                    <a:lnTo>
                      <a:pt x="156" y="2295"/>
                    </a:lnTo>
                    <a:lnTo>
                      <a:pt x="138" y="2317"/>
                    </a:lnTo>
                    <a:lnTo>
                      <a:pt x="125" y="2343"/>
                    </a:lnTo>
                    <a:lnTo>
                      <a:pt x="115" y="2370"/>
                    </a:lnTo>
                    <a:lnTo>
                      <a:pt x="113" y="2399"/>
                    </a:lnTo>
                    <a:lnTo>
                      <a:pt x="113" y="3063"/>
                    </a:lnTo>
                    <a:lnTo>
                      <a:pt x="115" y="3092"/>
                    </a:lnTo>
                    <a:lnTo>
                      <a:pt x="125" y="3120"/>
                    </a:lnTo>
                    <a:lnTo>
                      <a:pt x="138" y="3145"/>
                    </a:lnTo>
                    <a:lnTo>
                      <a:pt x="156" y="3166"/>
                    </a:lnTo>
                    <a:lnTo>
                      <a:pt x="177" y="3185"/>
                    </a:lnTo>
                    <a:lnTo>
                      <a:pt x="202" y="3199"/>
                    </a:lnTo>
                    <a:lnTo>
                      <a:pt x="231" y="3207"/>
                    </a:lnTo>
                    <a:lnTo>
                      <a:pt x="260" y="3210"/>
                    </a:lnTo>
                    <a:lnTo>
                      <a:pt x="1466" y="3210"/>
                    </a:lnTo>
                    <a:lnTo>
                      <a:pt x="1430" y="3190"/>
                    </a:lnTo>
                    <a:lnTo>
                      <a:pt x="1396" y="3171"/>
                    </a:lnTo>
                    <a:lnTo>
                      <a:pt x="1394" y="3169"/>
                    </a:lnTo>
                    <a:lnTo>
                      <a:pt x="1393" y="3168"/>
                    </a:lnTo>
                    <a:lnTo>
                      <a:pt x="1364" y="3149"/>
                    </a:lnTo>
                    <a:lnTo>
                      <a:pt x="1338" y="3128"/>
                    </a:lnTo>
                    <a:lnTo>
                      <a:pt x="1315" y="3106"/>
                    </a:lnTo>
                    <a:lnTo>
                      <a:pt x="1309" y="3099"/>
                    </a:lnTo>
                    <a:lnTo>
                      <a:pt x="1305" y="3094"/>
                    </a:lnTo>
                    <a:lnTo>
                      <a:pt x="1285" y="3070"/>
                    </a:lnTo>
                    <a:lnTo>
                      <a:pt x="1269" y="3045"/>
                    </a:lnTo>
                    <a:lnTo>
                      <a:pt x="1266" y="3039"/>
                    </a:lnTo>
                    <a:lnTo>
                      <a:pt x="1263" y="3034"/>
                    </a:lnTo>
                    <a:lnTo>
                      <a:pt x="1261" y="3029"/>
                    </a:lnTo>
                    <a:lnTo>
                      <a:pt x="1260" y="3026"/>
                    </a:lnTo>
                    <a:lnTo>
                      <a:pt x="1243" y="3026"/>
                    </a:lnTo>
                    <a:lnTo>
                      <a:pt x="1243" y="2253"/>
                    </a:lnTo>
                    <a:lnTo>
                      <a:pt x="260" y="2253"/>
                    </a:lnTo>
                    <a:close/>
                    <a:moveTo>
                      <a:pt x="1356" y="2129"/>
                    </a:moveTo>
                    <a:lnTo>
                      <a:pt x="1356" y="2140"/>
                    </a:lnTo>
                    <a:lnTo>
                      <a:pt x="1356" y="2416"/>
                    </a:lnTo>
                    <a:lnTo>
                      <a:pt x="1357" y="2421"/>
                    </a:lnTo>
                    <a:lnTo>
                      <a:pt x="1357" y="2425"/>
                    </a:lnTo>
                    <a:lnTo>
                      <a:pt x="1357" y="2430"/>
                    </a:lnTo>
                    <a:lnTo>
                      <a:pt x="1356" y="2435"/>
                    </a:lnTo>
                    <a:lnTo>
                      <a:pt x="1356" y="2438"/>
                    </a:lnTo>
                    <a:lnTo>
                      <a:pt x="1356" y="2445"/>
                    </a:lnTo>
                    <a:lnTo>
                      <a:pt x="1357" y="2450"/>
                    </a:lnTo>
                    <a:lnTo>
                      <a:pt x="1358" y="2455"/>
                    </a:lnTo>
                    <a:lnTo>
                      <a:pt x="1359" y="2461"/>
                    </a:lnTo>
                    <a:lnTo>
                      <a:pt x="1361" y="2468"/>
                    </a:lnTo>
                    <a:lnTo>
                      <a:pt x="1365" y="2476"/>
                    </a:lnTo>
                    <a:lnTo>
                      <a:pt x="1367" y="2482"/>
                    </a:lnTo>
                    <a:lnTo>
                      <a:pt x="1370" y="2488"/>
                    </a:lnTo>
                    <a:lnTo>
                      <a:pt x="1374" y="2495"/>
                    </a:lnTo>
                    <a:lnTo>
                      <a:pt x="1379" y="2501"/>
                    </a:lnTo>
                    <a:lnTo>
                      <a:pt x="1393" y="2518"/>
                    </a:lnTo>
                    <a:lnTo>
                      <a:pt x="1397" y="2522"/>
                    </a:lnTo>
                    <a:lnTo>
                      <a:pt x="1400" y="2525"/>
                    </a:lnTo>
                    <a:lnTo>
                      <a:pt x="1430" y="2551"/>
                    </a:lnTo>
                    <a:lnTo>
                      <a:pt x="1465" y="2574"/>
                    </a:lnTo>
                    <a:lnTo>
                      <a:pt x="1508" y="2598"/>
                    </a:lnTo>
                    <a:lnTo>
                      <a:pt x="1557" y="2620"/>
                    </a:lnTo>
                    <a:lnTo>
                      <a:pt x="1611" y="2640"/>
                    </a:lnTo>
                    <a:lnTo>
                      <a:pt x="1672" y="2660"/>
                    </a:lnTo>
                    <a:lnTo>
                      <a:pt x="1737" y="2678"/>
                    </a:lnTo>
                    <a:lnTo>
                      <a:pt x="1807" y="2695"/>
                    </a:lnTo>
                    <a:lnTo>
                      <a:pt x="1883" y="2709"/>
                    </a:lnTo>
                    <a:lnTo>
                      <a:pt x="1961" y="2722"/>
                    </a:lnTo>
                    <a:lnTo>
                      <a:pt x="2045" y="2731"/>
                    </a:lnTo>
                    <a:lnTo>
                      <a:pt x="2132" y="2739"/>
                    </a:lnTo>
                    <a:lnTo>
                      <a:pt x="2223" y="2744"/>
                    </a:lnTo>
                    <a:lnTo>
                      <a:pt x="2317" y="2745"/>
                    </a:lnTo>
                    <a:lnTo>
                      <a:pt x="2410" y="2744"/>
                    </a:lnTo>
                    <a:lnTo>
                      <a:pt x="2501" y="2739"/>
                    </a:lnTo>
                    <a:lnTo>
                      <a:pt x="2589" y="2731"/>
                    </a:lnTo>
                    <a:lnTo>
                      <a:pt x="2672" y="2722"/>
                    </a:lnTo>
                    <a:lnTo>
                      <a:pt x="2751" y="2709"/>
                    </a:lnTo>
                    <a:lnTo>
                      <a:pt x="2826" y="2695"/>
                    </a:lnTo>
                    <a:lnTo>
                      <a:pt x="2897" y="2678"/>
                    </a:lnTo>
                    <a:lnTo>
                      <a:pt x="2962" y="2660"/>
                    </a:lnTo>
                    <a:lnTo>
                      <a:pt x="3022" y="2640"/>
                    </a:lnTo>
                    <a:lnTo>
                      <a:pt x="3076" y="2620"/>
                    </a:lnTo>
                    <a:lnTo>
                      <a:pt x="3126" y="2598"/>
                    </a:lnTo>
                    <a:lnTo>
                      <a:pt x="3168" y="2574"/>
                    </a:lnTo>
                    <a:lnTo>
                      <a:pt x="3204" y="2550"/>
                    </a:lnTo>
                    <a:lnTo>
                      <a:pt x="3234" y="2525"/>
                    </a:lnTo>
                    <a:lnTo>
                      <a:pt x="3237" y="2522"/>
                    </a:lnTo>
                    <a:lnTo>
                      <a:pt x="3240" y="2519"/>
                    </a:lnTo>
                    <a:lnTo>
                      <a:pt x="3255" y="2501"/>
                    </a:lnTo>
                    <a:lnTo>
                      <a:pt x="3259" y="2495"/>
                    </a:lnTo>
                    <a:lnTo>
                      <a:pt x="3262" y="2489"/>
                    </a:lnTo>
                    <a:lnTo>
                      <a:pt x="3266" y="2482"/>
                    </a:lnTo>
                    <a:lnTo>
                      <a:pt x="3269" y="2475"/>
                    </a:lnTo>
                    <a:lnTo>
                      <a:pt x="3271" y="2468"/>
                    </a:lnTo>
                    <a:lnTo>
                      <a:pt x="3275" y="2461"/>
                    </a:lnTo>
                    <a:lnTo>
                      <a:pt x="3276" y="2451"/>
                    </a:lnTo>
                    <a:lnTo>
                      <a:pt x="3277" y="2442"/>
                    </a:lnTo>
                    <a:lnTo>
                      <a:pt x="3277" y="2436"/>
                    </a:lnTo>
                    <a:lnTo>
                      <a:pt x="3276" y="2430"/>
                    </a:lnTo>
                    <a:lnTo>
                      <a:pt x="3276" y="2420"/>
                    </a:lnTo>
                    <a:lnTo>
                      <a:pt x="3278" y="2410"/>
                    </a:lnTo>
                    <a:lnTo>
                      <a:pt x="3278" y="2129"/>
                    </a:lnTo>
                    <a:lnTo>
                      <a:pt x="3274" y="2132"/>
                    </a:lnTo>
                    <a:lnTo>
                      <a:pt x="3269" y="2134"/>
                    </a:lnTo>
                    <a:lnTo>
                      <a:pt x="3247" y="2150"/>
                    </a:lnTo>
                    <a:lnTo>
                      <a:pt x="3228" y="2163"/>
                    </a:lnTo>
                    <a:lnTo>
                      <a:pt x="3180" y="2189"/>
                    </a:lnTo>
                    <a:lnTo>
                      <a:pt x="3129" y="2214"/>
                    </a:lnTo>
                    <a:lnTo>
                      <a:pt x="3072" y="2236"/>
                    </a:lnTo>
                    <a:lnTo>
                      <a:pt x="3011" y="2257"/>
                    </a:lnTo>
                    <a:lnTo>
                      <a:pt x="2947" y="2276"/>
                    </a:lnTo>
                    <a:lnTo>
                      <a:pt x="2880" y="2292"/>
                    </a:lnTo>
                    <a:lnTo>
                      <a:pt x="2810" y="2306"/>
                    </a:lnTo>
                    <a:lnTo>
                      <a:pt x="2738" y="2318"/>
                    </a:lnTo>
                    <a:lnTo>
                      <a:pt x="2737" y="2320"/>
                    </a:lnTo>
                    <a:lnTo>
                      <a:pt x="2735" y="2320"/>
                    </a:lnTo>
                    <a:lnTo>
                      <a:pt x="2646" y="2331"/>
                    </a:lnTo>
                    <a:lnTo>
                      <a:pt x="2556" y="2340"/>
                    </a:lnTo>
                    <a:lnTo>
                      <a:pt x="2518" y="2344"/>
                    </a:lnTo>
                    <a:lnTo>
                      <a:pt x="2480" y="2346"/>
                    </a:lnTo>
                    <a:lnTo>
                      <a:pt x="2429" y="2349"/>
                    </a:lnTo>
                    <a:lnTo>
                      <a:pt x="2399" y="2350"/>
                    </a:lnTo>
                    <a:lnTo>
                      <a:pt x="2317" y="2351"/>
                    </a:lnTo>
                    <a:lnTo>
                      <a:pt x="2234" y="2350"/>
                    </a:lnTo>
                    <a:lnTo>
                      <a:pt x="2205" y="2348"/>
                    </a:lnTo>
                    <a:lnTo>
                      <a:pt x="2153" y="2346"/>
                    </a:lnTo>
                    <a:lnTo>
                      <a:pt x="2116" y="2344"/>
                    </a:lnTo>
                    <a:lnTo>
                      <a:pt x="2077" y="2340"/>
                    </a:lnTo>
                    <a:lnTo>
                      <a:pt x="1988" y="2331"/>
                    </a:lnTo>
                    <a:lnTo>
                      <a:pt x="1900" y="2320"/>
                    </a:lnTo>
                    <a:lnTo>
                      <a:pt x="1897" y="2318"/>
                    </a:lnTo>
                    <a:lnTo>
                      <a:pt x="1895" y="2318"/>
                    </a:lnTo>
                    <a:lnTo>
                      <a:pt x="1820" y="2306"/>
                    </a:lnTo>
                    <a:lnTo>
                      <a:pt x="1746" y="2290"/>
                    </a:lnTo>
                    <a:lnTo>
                      <a:pt x="1676" y="2272"/>
                    </a:lnTo>
                    <a:lnTo>
                      <a:pt x="1610" y="2253"/>
                    </a:lnTo>
                    <a:lnTo>
                      <a:pt x="1547" y="2231"/>
                    </a:lnTo>
                    <a:lnTo>
                      <a:pt x="1489" y="2207"/>
                    </a:lnTo>
                    <a:lnTo>
                      <a:pt x="1436" y="2180"/>
                    </a:lnTo>
                    <a:lnTo>
                      <a:pt x="1436" y="2180"/>
                    </a:lnTo>
                    <a:lnTo>
                      <a:pt x="1436" y="2180"/>
                    </a:lnTo>
                    <a:lnTo>
                      <a:pt x="1404" y="2162"/>
                    </a:lnTo>
                    <a:lnTo>
                      <a:pt x="1386" y="2150"/>
                    </a:lnTo>
                    <a:lnTo>
                      <a:pt x="1364" y="2134"/>
                    </a:lnTo>
                    <a:lnTo>
                      <a:pt x="1359" y="2131"/>
                    </a:lnTo>
                    <a:lnTo>
                      <a:pt x="1356" y="2129"/>
                    </a:lnTo>
                    <a:close/>
                    <a:moveTo>
                      <a:pt x="1356" y="1622"/>
                    </a:moveTo>
                    <a:lnTo>
                      <a:pt x="1356" y="1901"/>
                    </a:lnTo>
                    <a:lnTo>
                      <a:pt x="1357" y="1913"/>
                    </a:lnTo>
                    <a:lnTo>
                      <a:pt x="1357" y="1923"/>
                    </a:lnTo>
                    <a:lnTo>
                      <a:pt x="1356" y="1930"/>
                    </a:lnTo>
                    <a:lnTo>
                      <a:pt x="1356" y="1936"/>
                    </a:lnTo>
                    <a:lnTo>
                      <a:pt x="1357" y="1944"/>
                    </a:lnTo>
                    <a:lnTo>
                      <a:pt x="1359" y="1954"/>
                    </a:lnTo>
                    <a:lnTo>
                      <a:pt x="1361" y="1961"/>
                    </a:lnTo>
                    <a:lnTo>
                      <a:pt x="1365" y="1969"/>
                    </a:lnTo>
                    <a:lnTo>
                      <a:pt x="1367" y="1975"/>
                    </a:lnTo>
                    <a:lnTo>
                      <a:pt x="1371" y="1981"/>
                    </a:lnTo>
                    <a:lnTo>
                      <a:pt x="1374" y="1988"/>
                    </a:lnTo>
                    <a:lnTo>
                      <a:pt x="1379" y="1994"/>
                    </a:lnTo>
                    <a:lnTo>
                      <a:pt x="1393" y="2011"/>
                    </a:lnTo>
                    <a:lnTo>
                      <a:pt x="1400" y="2018"/>
                    </a:lnTo>
                    <a:lnTo>
                      <a:pt x="1430" y="2044"/>
                    </a:lnTo>
                    <a:lnTo>
                      <a:pt x="1465" y="2068"/>
                    </a:lnTo>
                    <a:lnTo>
                      <a:pt x="1508" y="2091"/>
                    </a:lnTo>
                    <a:lnTo>
                      <a:pt x="1557" y="2113"/>
                    </a:lnTo>
                    <a:lnTo>
                      <a:pt x="1611" y="2133"/>
                    </a:lnTo>
                    <a:lnTo>
                      <a:pt x="1672" y="2153"/>
                    </a:lnTo>
                    <a:lnTo>
                      <a:pt x="1737" y="2172"/>
                    </a:lnTo>
                    <a:lnTo>
                      <a:pt x="1807" y="2188"/>
                    </a:lnTo>
                    <a:lnTo>
                      <a:pt x="1883" y="2202"/>
                    </a:lnTo>
                    <a:lnTo>
                      <a:pt x="1961" y="2215"/>
                    </a:lnTo>
                    <a:lnTo>
                      <a:pt x="2045" y="2224"/>
                    </a:lnTo>
                    <a:lnTo>
                      <a:pt x="2132" y="2232"/>
                    </a:lnTo>
                    <a:lnTo>
                      <a:pt x="2223" y="2237"/>
                    </a:lnTo>
                    <a:lnTo>
                      <a:pt x="2317" y="2238"/>
                    </a:lnTo>
                    <a:lnTo>
                      <a:pt x="2410" y="2237"/>
                    </a:lnTo>
                    <a:lnTo>
                      <a:pt x="2501" y="2232"/>
                    </a:lnTo>
                    <a:lnTo>
                      <a:pt x="2589" y="2224"/>
                    </a:lnTo>
                    <a:lnTo>
                      <a:pt x="2672" y="2215"/>
                    </a:lnTo>
                    <a:lnTo>
                      <a:pt x="2751" y="2202"/>
                    </a:lnTo>
                    <a:lnTo>
                      <a:pt x="2826" y="2188"/>
                    </a:lnTo>
                    <a:lnTo>
                      <a:pt x="2897" y="2172"/>
                    </a:lnTo>
                    <a:lnTo>
                      <a:pt x="2962" y="2153"/>
                    </a:lnTo>
                    <a:lnTo>
                      <a:pt x="3022" y="2133"/>
                    </a:lnTo>
                    <a:lnTo>
                      <a:pt x="3076" y="2113"/>
                    </a:lnTo>
                    <a:lnTo>
                      <a:pt x="3126" y="2091"/>
                    </a:lnTo>
                    <a:lnTo>
                      <a:pt x="3168" y="2067"/>
                    </a:lnTo>
                    <a:lnTo>
                      <a:pt x="3204" y="2042"/>
                    </a:lnTo>
                    <a:lnTo>
                      <a:pt x="3234" y="2018"/>
                    </a:lnTo>
                    <a:lnTo>
                      <a:pt x="3240" y="2012"/>
                    </a:lnTo>
                    <a:lnTo>
                      <a:pt x="3255" y="1994"/>
                    </a:lnTo>
                    <a:lnTo>
                      <a:pt x="3259" y="1988"/>
                    </a:lnTo>
                    <a:lnTo>
                      <a:pt x="3263" y="1982"/>
                    </a:lnTo>
                    <a:lnTo>
                      <a:pt x="3266" y="1976"/>
                    </a:lnTo>
                    <a:lnTo>
                      <a:pt x="3269" y="1968"/>
                    </a:lnTo>
                    <a:lnTo>
                      <a:pt x="3271" y="1962"/>
                    </a:lnTo>
                    <a:lnTo>
                      <a:pt x="3275" y="1954"/>
                    </a:lnTo>
                    <a:lnTo>
                      <a:pt x="3276" y="1945"/>
                    </a:lnTo>
                    <a:lnTo>
                      <a:pt x="3277" y="1936"/>
                    </a:lnTo>
                    <a:lnTo>
                      <a:pt x="3277" y="1930"/>
                    </a:lnTo>
                    <a:lnTo>
                      <a:pt x="3276" y="1923"/>
                    </a:lnTo>
                    <a:lnTo>
                      <a:pt x="3276" y="1913"/>
                    </a:lnTo>
                    <a:lnTo>
                      <a:pt x="3277" y="1903"/>
                    </a:lnTo>
                    <a:lnTo>
                      <a:pt x="3277" y="1622"/>
                    </a:lnTo>
                    <a:lnTo>
                      <a:pt x="3275" y="1624"/>
                    </a:lnTo>
                    <a:lnTo>
                      <a:pt x="3242" y="1647"/>
                    </a:lnTo>
                    <a:lnTo>
                      <a:pt x="3238" y="1649"/>
                    </a:lnTo>
                    <a:lnTo>
                      <a:pt x="3234" y="1651"/>
                    </a:lnTo>
                    <a:lnTo>
                      <a:pt x="3202" y="1670"/>
                    </a:lnTo>
                    <a:lnTo>
                      <a:pt x="3194" y="1676"/>
                    </a:lnTo>
                    <a:lnTo>
                      <a:pt x="3153" y="1695"/>
                    </a:lnTo>
                    <a:lnTo>
                      <a:pt x="3149" y="1697"/>
                    </a:lnTo>
                    <a:lnTo>
                      <a:pt x="3146" y="1699"/>
                    </a:lnTo>
                    <a:lnTo>
                      <a:pt x="3107" y="1715"/>
                    </a:lnTo>
                    <a:lnTo>
                      <a:pt x="3095" y="1720"/>
                    </a:lnTo>
                    <a:lnTo>
                      <a:pt x="3047" y="1737"/>
                    </a:lnTo>
                    <a:lnTo>
                      <a:pt x="3045" y="1738"/>
                    </a:lnTo>
                    <a:lnTo>
                      <a:pt x="2997" y="1754"/>
                    </a:lnTo>
                    <a:lnTo>
                      <a:pt x="2989" y="1756"/>
                    </a:lnTo>
                    <a:lnTo>
                      <a:pt x="2983" y="1758"/>
                    </a:lnTo>
                    <a:lnTo>
                      <a:pt x="2934" y="1772"/>
                    </a:lnTo>
                    <a:lnTo>
                      <a:pt x="2932" y="1773"/>
                    </a:lnTo>
                    <a:lnTo>
                      <a:pt x="2930" y="1773"/>
                    </a:lnTo>
                    <a:lnTo>
                      <a:pt x="2874" y="1786"/>
                    </a:lnTo>
                    <a:lnTo>
                      <a:pt x="2867" y="1787"/>
                    </a:lnTo>
                    <a:lnTo>
                      <a:pt x="2859" y="1789"/>
                    </a:lnTo>
                    <a:lnTo>
                      <a:pt x="2810" y="1799"/>
                    </a:lnTo>
                    <a:lnTo>
                      <a:pt x="2806" y="1800"/>
                    </a:lnTo>
                    <a:lnTo>
                      <a:pt x="2801" y="1801"/>
                    </a:lnTo>
                    <a:lnTo>
                      <a:pt x="2742" y="1811"/>
                    </a:lnTo>
                    <a:lnTo>
                      <a:pt x="2734" y="1812"/>
                    </a:lnTo>
                    <a:lnTo>
                      <a:pt x="2727" y="1814"/>
                    </a:lnTo>
                    <a:lnTo>
                      <a:pt x="2678" y="1821"/>
                    </a:lnTo>
                    <a:lnTo>
                      <a:pt x="2664" y="1822"/>
                    </a:lnTo>
                    <a:lnTo>
                      <a:pt x="2603" y="1829"/>
                    </a:lnTo>
                    <a:lnTo>
                      <a:pt x="2597" y="1830"/>
                    </a:lnTo>
                    <a:lnTo>
                      <a:pt x="2591" y="1830"/>
                    </a:lnTo>
                    <a:lnTo>
                      <a:pt x="2538" y="1835"/>
                    </a:lnTo>
                    <a:lnTo>
                      <a:pt x="2531" y="1835"/>
                    </a:lnTo>
                    <a:lnTo>
                      <a:pt x="2524" y="1837"/>
                    </a:lnTo>
                    <a:lnTo>
                      <a:pt x="2461" y="1841"/>
                    </a:lnTo>
                    <a:lnTo>
                      <a:pt x="2456" y="1841"/>
                    </a:lnTo>
                    <a:lnTo>
                      <a:pt x="2451" y="1841"/>
                    </a:lnTo>
                    <a:lnTo>
                      <a:pt x="2397" y="1843"/>
                    </a:lnTo>
                    <a:lnTo>
                      <a:pt x="2380" y="1843"/>
                    </a:lnTo>
                    <a:lnTo>
                      <a:pt x="2316" y="1844"/>
                    </a:lnTo>
                    <a:lnTo>
                      <a:pt x="2253" y="1843"/>
                    </a:lnTo>
                    <a:lnTo>
                      <a:pt x="2236" y="1843"/>
                    </a:lnTo>
                    <a:lnTo>
                      <a:pt x="2182" y="1841"/>
                    </a:lnTo>
                    <a:lnTo>
                      <a:pt x="2177" y="1841"/>
                    </a:lnTo>
                    <a:lnTo>
                      <a:pt x="2172" y="1841"/>
                    </a:lnTo>
                    <a:lnTo>
                      <a:pt x="2110" y="1837"/>
                    </a:lnTo>
                    <a:lnTo>
                      <a:pt x="2102" y="1835"/>
                    </a:lnTo>
                    <a:lnTo>
                      <a:pt x="2095" y="1835"/>
                    </a:lnTo>
                    <a:lnTo>
                      <a:pt x="2042" y="1830"/>
                    </a:lnTo>
                    <a:lnTo>
                      <a:pt x="2036" y="1830"/>
                    </a:lnTo>
                    <a:lnTo>
                      <a:pt x="2030" y="1829"/>
                    </a:lnTo>
                    <a:lnTo>
                      <a:pt x="1969" y="1822"/>
                    </a:lnTo>
                    <a:lnTo>
                      <a:pt x="1955" y="1821"/>
                    </a:lnTo>
                    <a:lnTo>
                      <a:pt x="1906" y="1814"/>
                    </a:lnTo>
                    <a:lnTo>
                      <a:pt x="1898" y="1812"/>
                    </a:lnTo>
                    <a:lnTo>
                      <a:pt x="1891" y="1811"/>
                    </a:lnTo>
                    <a:lnTo>
                      <a:pt x="1832" y="1801"/>
                    </a:lnTo>
                    <a:lnTo>
                      <a:pt x="1827" y="1800"/>
                    </a:lnTo>
                    <a:lnTo>
                      <a:pt x="1823" y="1799"/>
                    </a:lnTo>
                    <a:lnTo>
                      <a:pt x="1774" y="1789"/>
                    </a:lnTo>
                    <a:lnTo>
                      <a:pt x="1766" y="1787"/>
                    </a:lnTo>
                    <a:lnTo>
                      <a:pt x="1759" y="1786"/>
                    </a:lnTo>
                    <a:lnTo>
                      <a:pt x="1703" y="1773"/>
                    </a:lnTo>
                    <a:lnTo>
                      <a:pt x="1701" y="1773"/>
                    </a:lnTo>
                    <a:lnTo>
                      <a:pt x="1699" y="1772"/>
                    </a:lnTo>
                    <a:lnTo>
                      <a:pt x="1650" y="1758"/>
                    </a:lnTo>
                    <a:lnTo>
                      <a:pt x="1644" y="1756"/>
                    </a:lnTo>
                    <a:lnTo>
                      <a:pt x="1636" y="1754"/>
                    </a:lnTo>
                    <a:lnTo>
                      <a:pt x="1588" y="1738"/>
                    </a:lnTo>
                    <a:lnTo>
                      <a:pt x="1586" y="1737"/>
                    </a:lnTo>
                    <a:lnTo>
                      <a:pt x="1538" y="1720"/>
                    </a:lnTo>
                    <a:lnTo>
                      <a:pt x="1526" y="1715"/>
                    </a:lnTo>
                    <a:lnTo>
                      <a:pt x="1487" y="1699"/>
                    </a:lnTo>
                    <a:lnTo>
                      <a:pt x="1484" y="1697"/>
                    </a:lnTo>
                    <a:lnTo>
                      <a:pt x="1481" y="1695"/>
                    </a:lnTo>
                    <a:lnTo>
                      <a:pt x="1439" y="1676"/>
                    </a:lnTo>
                    <a:lnTo>
                      <a:pt x="1431" y="1670"/>
                    </a:lnTo>
                    <a:lnTo>
                      <a:pt x="1399" y="1651"/>
                    </a:lnTo>
                    <a:lnTo>
                      <a:pt x="1395" y="1649"/>
                    </a:lnTo>
                    <a:lnTo>
                      <a:pt x="1391" y="1647"/>
                    </a:lnTo>
                    <a:lnTo>
                      <a:pt x="1358" y="1623"/>
                    </a:lnTo>
                    <a:lnTo>
                      <a:pt x="1357" y="1623"/>
                    </a:lnTo>
                    <a:lnTo>
                      <a:pt x="1356" y="1622"/>
                    </a:lnTo>
                    <a:close/>
                    <a:moveTo>
                      <a:pt x="260" y="1182"/>
                    </a:moveTo>
                    <a:lnTo>
                      <a:pt x="231" y="1185"/>
                    </a:lnTo>
                    <a:lnTo>
                      <a:pt x="202" y="1194"/>
                    </a:lnTo>
                    <a:lnTo>
                      <a:pt x="177" y="1207"/>
                    </a:lnTo>
                    <a:lnTo>
                      <a:pt x="156" y="1225"/>
                    </a:lnTo>
                    <a:lnTo>
                      <a:pt x="138" y="1247"/>
                    </a:lnTo>
                    <a:lnTo>
                      <a:pt x="125" y="1272"/>
                    </a:lnTo>
                    <a:lnTo>
                      <a:pt x="115" y="1299"/>
                    </a:lnTo>
                    <a:lnTo>
                      <a:pt x="113" y="1329"/>
                    </a:lnTo>
                    <a:lnTo>
                      <a:pt x="113" y="1992"/>
                    </a:lnTo>
                    <a:lnTo>
                      <a:pt x="115" y="2023"/>
                    </a:lnTo>
                    <a:lnTo>
                      <a:pt x="125" y="2050"/>
                    </a:lnTo>
                    <a:lnTo>
                      <a:pt x="138" y="2075"/>
                    </a:lnTo>
                    <a:lnTo>
                      <a:pt x="156" y="2097"/>
                    </a:lnTo>
                    <a:lnTo>
                      <a:pt x="177" y="2115"/>
                    </a:lnTo>
                    <a:lnTo>
                      <a:pt x="202" y="2128"/>
                    </a:lnTo>
                    <a:lnTo>
                      <a:pt x="231" y="2137"/>
                    </a:lnTo>
                    <a:lnTo>
                      <a:pt x="260" y="2140"/>
                    </a:lnTo>
                    <a:lnTo>
                      <a:pt x="1243" y="2140"/>
                    </a:lnTo>
                    <a:lnTo>
                      <a:pt x="1243" y="1407"/>
                    </a:lnTo>
                    <a:lnTo>
                      <a:pt x="1244" y="1395"/>
                    </a:lnTo>
                    <a:lnTo>
                      <a:pt x="1248" y="1384"/>
                    </a:lnTo>
                    <a:lnTo>
                      <a:pt x="1260" y="1350"/>
                    </a:lnTo>
                    <a:lnTo>
                      <a:pt x="1276" y="1319"/>
                    </a:lnTo>
                    <a:lnTo>
                      <a:pt x="1300" y="1289"/>
                    </a:lnTo>
                    <a:lnTo>
                      <a:pt x="1327" y="1259"/>
                    </a:lnTo>
                    <a:lnTo>
                      <a:pt x="1359" y="1232"/>
                    </a:lnTo>
                    <a:lnTo>
                      <a:pt x="1397" y="1206"/>
                    </a:lnTo>
                    <a:lnTo>
                      <a:pt x="1439" y="1182"/>
                    </a:lnTo>
                    <a:lnTo>
                      <a:pt x="260" y="1182"/>
                    </a:lnTo>
                    <a:close/>
                    <a:moveTo>
                      <a:pt x="2316" y="1127"/>
                    </a:moveTo>
                    <a:lnTo>
                      <a:pt x="2214" y="1129"/>
                    </a:lnTo>
                    <a:lnTo>
                      <a:pt x="2112" y="1134"/>
                    </a:lnTo>
                    <a:lnTo>
                      <a:pt x="2013" y="1143"/>
                    </a:lnTo>
                    <a:lnTo>
                      <a:pt x="1916" y="1156"/>
                    </a:lnTo>
                    <a:lnTo>
                      <a:pt x="1893" y="1160"/>
                    </a:lnTo>
                    <a:lnTo>
                      <a:pt x="1849" y="1167"/>
                    </a:lnTo>
                    <a:lnTo>
                      <a:pt x="1807" y="1177"/>
                    </a:lnTo>
                    <a:lnTo>
                      <a:pt x="1742" y="1191"/>
                    </a:lnTo>
                    <a:lnTo>
                      <a:pt x="1681" y="1207"/>
                    </a:lnTo>
                    <a:lnTo>
                      <a:pt x="1626" y="1225"/>
                    </a:lnTo>
                    <a:lnTo>
                      <a:pt x="1573" y="1244"/>
                    </a:lnTo>
                    <a:lnTo>
                      <a:pt x="1569" y="1246"/>
                    </a:lnTo>
                    <a:lnTo>
                      <a:pt x="1565" y="1248"/>
                    </a:lnTo>
                    <a:lnTo>
                      <a:pt x="1544" y="1256"/>
                    </a:lnTo>
                    <a:lnTo>
                      <a:pt x="1524" y="1266"/>
                    </a:lnTo>
                    <a:lnTo>
                      <a:pt x="1493" y="1281"/>
                    </a:lnTo>
                    <a:lnTo>
                      <a:pt x="1485" y="1286"/>
                    </a:lnTo>
                    <a:lnTo>
                      <a:pt x="1445" y="1311"/>
                    </a:lnTo>
                    <a:lnTo>
                      <a:pt x="1413" y="1335"/>
                    </a:lnTo>
                    <a:lnTo>
                      <a:pt x="1388" y="1359"/>
                    </a:lnTo>
                    <a:lnTo>
                      <a:pt x="1370" y="1383"/>
                    </a:lnTo>
                    <a:lnTo>
                      <a:pt x="1370" y="1384"/>
                    </a:lnTo>
                    <a:lnTo>
                      <a:pt x="1364" y="1395"/>
                    </a:lnTo>
                    <a:lnTo>
                      <a:pt x="1359" y="1407"/>
                    </a:lnTo>
                    <a:lnTo>
                      <a:pt x="1357" y="1417"/>
                    </a:lnTo>
                    <a:lnTo>
                      <a:pt x="1356" y="1429"/>
                    </a:lnTo>
                    <a:lnTo>
                      <a:pt x="1359" y="1453"/>
                    </a:lnTo>
                    <a:lnTo>
                      <a:pt x="1371" y="1477"/>
                    </a:lnTo>
                    <a:lnTo>
                      <a:pt x="1389" y="1501"/>
                    </a:lnTo>
                    <a:lnTo>
                      <a:pt x="1414" y="1524"/>
                    </a:lnTo>
                    <a:lnTo>
                      <a:pt x="1445" y="1548"/>
                    </a:lnTo>
                    <a:lnTo>
                      <a:pt x="1483" y="1570"/>
                    </a:lnTo>
                    <a:lnTo>
                      <a:pt x="1526" y="1593"/>
                    </a:lnTo>
                    <a:lnTo>
                      <a:pt x="1575" y="1614"/>
                    </a:lnTo>
                    <a:lnTo>
                      <a:pt x="1630" y="1634"/>
                    </a:lnTo>
                    <a:lnTo>
                      <a:pt x="1690" y="1653"/>
                    </a:lnTo>
                    <a:lnTo>
                      <a:pt x="1754" y="1669"/>
                    </a:lnTo>
                    <a:lnTo>
                      <a:pt x="1823" y="1685"/>
                    </a:lnTo>
                    <a:lnTo>
                      <a:pt x="1896" y="1699"/>
                    </a:lnTo>
                    <a:lnTo>
                      <a:pt x="1974" y="1709"/>
                    </a:lnTo>
                    <a:lnTo>
                      <a:pt x="2055" y="1718"/>
                    </a:lnTo>
                    <a:lnTo>
                      <a:pt x="2139" y="1726"/>
                    </a:lnTo>
                    <a:lnTo>
                      <a:pt x="2227" y="1730"/>
                    </a:lnTo>
                    <a:lnTo>
                      <a:pt x="2317" y="1731"/>
                    </a:lnTo>
                    <a:lnTo>
                      <a:pt x="2407" y="1730"/>
                    </a:lnTo>
                    <a:lnTo>
                      <a:pt x="2494" y="1726"/>
                    </a:lnTo>
                    <a:lnTo>
                      <a:pt x="2579" y="1718"/>
                    </a:lnTo>
                    <a:lnTo>
                      <a:pt x="2660" y="1709"/>
                    </a:lnTo>
                    <a:lnTo>
                      <a:pt x="2737" y="1699"/>
                    </a:lnTo>
                    <a:lnTo>
                      <a:pt x="2810" y="1685"/>
                    </a:lnTo>
                    <a:lnTo>
                      <a:pt x="2879" y="1669"/>
                    </a:lnTo>
                    <a:lnTo>
                      <a:pt x="2943" y="1653"/>
                    </a:lnTo>
                    <a:lnTo>
                      <a:pt x="3003" y="1634"/>
                    </a:lnTo>
                    <a:lnTo>
                      <a:pt x="3058" y="1614"/>
                    </a:lnTo>
                    <a:lnTo>
                      <a:pt x="3107" y="1593"/>
                    </a:lnTo>
                    <a:lnTo>
                      <a:pt x="3150" y="1570"/>
                    </a:lnTo>
                    <a:lnTo>
                      <a:pt x="3188" y="1548"/>
                    </a:lnTo>
                    <a:lnTo>
                      <a:pt x="3219" y="1524"/>
                    </a:lnTo>
                    <a:lnTo>
                      <a:pt x="3244" y="1501"/>
                    </a:lnTo>
                    <a:lnTo>
                      <a:pt x="3262" y="1477"/>
                    </a:lnTo>
                    <a:lnTo>
                      <a:pt x="3274" y="1453"/>
                    </a:lnTo>
                    <a:lnTo>
                      <a:pt x="3277" y="1429"/>
                    </a:lnTo>
                    <a:lnTo>
                      <a:pt x="3274" y="1405"/>
                    </a:lnTo>
                    <a:lnTo>
                      <a:pt x="3263" y="1382"/>
                    </a:lnTo>
                    <a:lnTo>
                      <a:pt x="3245" y="1358"/>
                    </a:lnTo>
                    <a:lnTo>
                      <a:pt x="3221" y="1335"/>
                    </a:lnTo>
                    <a:lnTo>
                      <a:pt x="3191" y="1312"/>
                    </a:lnTo>
                    <a:lnTo>
                      <a:pt x="3155" y="1289"/>
                    </a:lnTo>
                    <a:lnTo>
                      <a:pt x="3112" y="1268"/>
                    </a:lnTo>
                    <a:lnTo>
                      <a:pt x="3065" y="1247"/>
                    </a:lnTo>
                    <a:lnTo>
                      <a:pt x="3012" y="1227"/>
                    </a:lnTo>
                    <a:lnTo>
                      <a:pt x="2955" y="1208"/>
                    </a:lnTo>
                    <a:lnTo>
                      <a:pt x="2892" y="1191"/>
                    </a:lnTo>
                    <a:lnTo>
                      <a:pt x="2826" y="1176"/>
                    </a:lnTo>
                    <a:lnTo>
                      <a:pt x="2784" y="1167"/>
                    </a:lnTo>
                    <a:lnTo>
                      <a:pt x="2741" y="1160"/>
                    </a:lnTo>
                    <a:lnTo>
                      <a:pt x="2717" y="1156"/>
                    </a:lnTo>
                    <a:lnTo>
                      <a:pt x="2620" y="1143"/>
                    </a:lnTo>
                    <a:lnTo>
                      <a:pt x="2520" y="1134"/>
                    </a:lnTo>
                    <a:lnTo>
                      <a:pt x="2419" y="1129"/>
                    </a:lnTo>
                    <a:lnTo>
                      <a:pt x="2316" y="1127"/>
                    </a:lnTo>
                    <a:close/>
                    <a:moveTo>
                      <a:pt x="260" y="112"/>
                    </a:moveTo>
                    <a:lnTo>
                      <a:pt x="231" y="115"/>
                    </a:lnTo>
                    <a:lnTo>
                      <a:pt x="202" y="123"/>
                    </a:lnTo>
                    <a:lnTo>
                      <a:pt x="177" y="137"/>
                    </a:lnTo>
                    <a:lnTo>
                      <a:pt x="156" y="155"/>
                    </a:lnTo>
                    <a:lnTo>
                      <a:pt x="138" y="176"/>
                    </a:lnTo>
                    <a:lnTo>
                      <a:pt x="125" y="201"/>
                    </a:lnTo>
                    <a:lnTo>
                      <a:pt x="115" y="230"/>
                    </a:lnTo>
                    <a:lnTo>
                      <a:pt x="113" y="259"/>
                    </a:lnTo>
                    <a:lnTo>
                      <a:pt x="113" y="923"/>
                    </a:lnTo>
                    <a:lnTo>
                      <a:pt x="115" y="952"/>
                    </a:lnTo>
                    <a:lnTo>
                      <a:pt x="125" y="979"/>
                    </a:lnTo>
                    <a:lnTo>
                      <a:pt x="138" y="1004"/>
                    </a:lnTo>
                    <a:lnTo>
                      <a:pt x="156" y="1026"/>
                    </a:lnTo>
                    <a:lnTo>
                      <a:pt x="177" y="1044"/>
                    </a:lnTo>
                    <a:lnTo>
                      <a:pt x="202" y="1058"/>
                    </a:lnTo>
                    <a:lnTo>
                      <a:pt x="231" y="1066"/>
                    </a:lnTo>
                    <a:lnTo>
                      <a:pt x="260" y="1069"/>
                    </a:lnTo>
                    <a:lnTo>
                      <a:pt x="1765" y="1069"/>
                    </a:lnTo>
                    <a:lnTo>
                      <a:pt x="1771" y="1068"/>
                    </a:lnTo>
                    <a:lnTo>
                      <a:pt x="1776" y="1067"/>
                    </a:lnTo>
                    <a:lnTo>
                      <a:pt x="1831" y="1056"/>
                    </a:lnTo>
                    <a:lnTo>
                      <a:pt x="1889" y="1046"/>
                    </a:lnTo>
                    <a:lnTo>
                      <a:pt x="1895" y="1045"/>
                    </a:lnTo>
                    <a:lnTo>
                      <a:pt x="1901" y="1044"/>
                    </a:lnTo>
                    <a:lnTo>
                      <a:pt x="2002" y="1030"/>
                    </a:lnTo>
                    <a:lnTo>
                      <a:pt x="2106" y="1021"/>
                    </a:lnTo>
                    <a:lnTo>
                      <a:pt x="2211" y="1015"/>
                    </a:lnTo>
                    <a:lnTo>
                      <a:pt x="2317" y="1013"/>
                    </a:lnTo>
                    <a:lnTo>
                      <a:pt x="2422" y="1015"/>
                    </a:lnTo>
                    <a:lnTo>
                      <a:pt x="2527" y="1021"/>
                    </a:lnTo>
                    <a:lnTo>
                      <a:pt x="2631" y="1030"/>
                    </a:lnTo>
                    <a:lnTo>
                      <a:pt x="2732" y="1044"/>
                    </a:lnTo>
                    <a:lnTo>
                      <a:pt x="2739" y="1045"/>
                    </a:lnTo>
                    <a:lnTo>
                      <a:pt x="2744" y="1046"/>
                    </a:lnTo>
                    <a:lnTo>
                      <a:pt x="2802" y="1056"/>
                    </a:lnTo>
                    <a:lnTo>
                      <a:pt x="2858" y="1067"/>
                    </a:lnTo>
                    <a:lnTo>
                      <a:pt x="2863" y="1068"/>
                    </a:lnTo>
                    <a:lnTo>
                      <a:pt x="2869" y="1069"/>
                    </a:lnTo>
                    <a:lnTo>
                      <a:pt x="3130" y="1069"/>
                    </a:lnTo>
                    <a:lnTo>
                      <a:pt x="3159" y="1066"/>
                    </a:lnTo>
                    <a:lnTo>
                      <a:pt x="3188" y="1058"/>
                    </a:lnTo>
                    <a:lnTo>
                      <a:pt x="3213" y="1044"/>
                    </a:lnTo>
                    <a:lnTo>
                      <a:pt x="3234" y="1026"/>
                    </a:lnTo>
                    <a:lnTo>
                      <a:pt x="3252" y="1004"/>
                    </a:lnTo>
                    <a:lnTo>
                      <a:pt x="3265" y="979"/>
                    </a:lnTo>
                    <a:lnTo>
                      <a:pt x="3275" y="952"/>
                    </a:lnTo>
                    <a:lnTo>
                      <a:pt x="3277" y="923"/>
                    </a:lnTo>
                    <a:lnTo>
                      <a:pt x="3277" y="259"/>
                    </a:lnTo>
                    <a:lnTo>
                      <a:pt x="3275" y="230"/>
                    </a:lnTo>
                    <a:lnTo>
                      <a:pt x="3265" y="201"/>
                    </a:lnTo>
                    <a:lnTo>
                      <a:pt x="3252" y="176"/>
                    </a:lnTo>
                    <a:lnTo>
                      <a:pt x="3234" y="155"/>
                    </a:lnTo>
                    <a:lnTo>
                      <a:pt x="3213" y="137"/>
                    </a:lnTo>
                    <a:lnTo>
                      <a:pt x="3188" y="123"/>
                    </a:lnTo>
                    <a:lnTo>
                      <a:pt x="3159" y="115"/>
                    </a:lnTo>
                    <a:lnTo>
                      <a:pt x="3130" y="112"/>
                    </a:lnTo>
                    <a:lnTo>
                      <a:pt x="260" y="112"/>
                    </a:lnTo>
                    <a:close/>
                    <a:moveTo>
                      <a:pt x="260" y="0"/>
                    </a:moveTo>
                    <a:lnTo>
                      <a:pt x="3130" y="0"/>
                    </a:lnTo>
                    <a:lnTo>
                      <a:pt x="3169" y="2"/>
                    </a:lnTo>
                    <a:lnTo>
                      <a:pt x="3205" y="10"/>
                    </a:lnTo>
                    <a:lnTo>
                      <a:pt x="3240" y="24"/>
                    </a:lnTo>
                    <a:lnTo>
                      <a:pt x="3271" y="41"/>
                    </a:lnTo>
                    <a:lnTo>
                      <a:pt x="3301" y="62"/>
                    </a:lnTo>
                    <a:lnTo>
                      <a:pt x="3326" y="89"/>
                    </a:lnTo>
                    <a:lnTo>
                      <a:pt x="3348" y="118"/>
                    </a:lnTo>
                    <a:lnTo>
                      <a:pt x="3366" y="149"/>
                    </a:lnTo>
                    <a:lnTo>
                      <a:pt x="3380" y="184"/>
                    </a:lnTo>
                    <a:lnTo>
                      <a:pt x="3388" y="220"/>
                    </a:lnTo>
                    <a:lnTo>
                      <a:pt x="3390" y="259"/>
                    </a:lnTo>
                    <a:lnTo>
                      <a:pt x="3390" y="923"/>
                    </a:lnTo>
                    <a:lnTo>
                      <a:pt x="3387" y="964"/>
                    </a:lnTo>
                    <a:lnTo>
                      <a:pt x="3377" y="1002"/>
                    </a:lnTo>
                    <a:lnTo>
                      <a:pt x="3363" y="1038"/>
                    </a:lnTo>
                    <a:lnTo>
                      <a:pt x="3343" y="1071"/>
                    </a:lnTo>
                    <a:lnTo>
                      <a:pt x="3319" y="1102"/>
                    </a:lnTo>
                    <a:lnTo>
                      <a:pt x="3289" y="1128"/>
                    </a:lnTo>
                    <a:lnTo>
                      <a:pt x="3257" y="1149"/>
                    </a:lnTo>
                    <a:lnTo>
                      <a:pt x="3222" y="1165"/>
                    </a:lnTo>
                    <a:lnTo>
                      <a:pt x="3183" y="1177"/>
                    </a:lnTo>
                    <a:lnTo>
                      <a:pt x="3227" y="1201"/>
                    </a:lnTo>
                    <a:lnTo>
                      <a:pt x="3267" y="1227"/>
                    </a:lnTo>
                    <a:lnTo>
                      <a:pt x="3302" y="1255"/>
                    </a:lnTo>
                    <a:lnTo>
                      <a:pt x="3331" y="1286"/>
                    </a:lnTo>
                    <a:lnTo>
                      <a:pt x="3355" y="1317"/>
                    </a:lnTo>
                    <a:lnTo>
                      <a:pt x="3373" y="1349"/>
                    </a:lnTo>
                    <a:lnTo>
                      <a:pt x="3385" y="1384"/>
                    </a:lnTo>
                    <a:lnTo>
                      <a:pt x="3389" y="1395"/>
                    </a:lnTo>
                    <a:lnTo>
                      <a:pt x="3390" y="1407"/>
                    </a:lnTo>
                    <a:lnTo>
                      <a:pt x="3390" y="2971"/>
                    </a:lnTo>
                    <a:lnTo>
                      <a:pt x="3389" y="2983"/>
                    </a:lnTo>
                    <a:lnTo>
                      <a:pt x="3385" y="2996"/>
                    </a:lnTo>
                    <a:lnTo>
                      <a:pt x="3372" y="3029"/>
                    </a:lnTo>
                    <a:lnTo>
                      <a:pt x="3355" y="3062"/>
                    </a:lnTo>
                    <a:lnTo>
                      <a:pt x="3331" y="3092"/>
                    </a:lnTo>
                    <a:lnTo>
                      <a:pt x="3303" y="3121"/>
                    </a:lnTo>
                    <a:lnTo>
                      <a:pt x="3269" y="3149"/>
                    </a:lnTo>
                    <a:lnTo>
                      <a:pt x="3232" y="3175"/>
                    </a:lnTo>
                    <a:lnTo>
                      <a:pt x="3190" y="3199"/>
                    </a:lnTo>
                    <a:lnTo>
                      <a:pt x="3144" y="3222"/>
                    </a:lnTo>
                    <a:lnTo>
                      <a:pt x="3093" y="3243"/>
                    </a:lnTo>
                    <a:lnTo>
                      <a:pt x="3040" y="3261"/>
                    </a:lnTo>
                    <a:lnTo>
                      <a:pt x="2983" y="3279"/>
                    </a:lnTo>
                    <a:lnTo>
                      <a:pt x="2923" y="3296"/>
                    </a:lnTo>
                    <a:lnTo>
                      <a:pt x="2861" y="3311"/>
                    </a:lnTo>
                    <a:lnTo>
                      <a:pt x="2797" y="3323"/>
                    </a:lnTo>
                    <a:lnTo>
                      <a:pt x="2732" y="3334"/>
                    </a:lnTo>
                    <a:lnTo>
                      <a:pt x="2665" y="3343"/>
                    </a:lnTo>
                    <a:lnTo>
                      <a:pt x="2596" y="3351"/>
                    </a:lnTo>
                    <a:lnTo>
                      <a:pt x="2527" y="3357"/>
                    </a:lnTo>
                    <a:lnTo>
                      <a:pt x="2458" y="3361"/>
                    </a:lnTo>
                    <a:lnTo>
                      <a:pt x="2387" y="3364"/>
                    </a:lnTo>
                    <a:lnTo>
                      <a:pt x="2317" y="3365"/>
                    </a:lnTo>
                    <a:lnTo>
                      <a:pt x="2218" y="3363"/>
                    </a:lnTo>
                    <a:lnTo>
                      <a:pt x="2120" y="3358"/>
                    </a:lnTo>
                    <a:lnTo>
                      <a:pt x="2023" y="3349"/>
                    </a:lnTo>
                    <a:lnTo>
                      <a:pt x="1928" y="3338"/>
                    </a:lnTo>
                    <a:lnTo>
                      <a:pt x="1836" y="3322"/>
                    </a:lnTo>
                    <a:lnTo>
                      <a:pt x="260" y="3322"/>
                    </a:lnTo>
                    <a:lnTo>
                      <a:pt x="221" y="3320"/>
                    </a:lnTo>
                    <a:lnTo>
                      <a:pt x="185" y="3312"/>
                    </a:lnTo>
                    <a:lnTo>
                      <a:pt x="150" y="3298"/>
                    </a:lnTo>
                    <a:lnTo>
                      <a:pt x="119" y="3280"/>
                    </a:lnTo>
                    <a:lnTo>
                      <a:pt x="89" y="3258"/>
                    </a:lnTo>
                    <a:lnTo>
                      <a:pt x="64" y="3233"/>
                    </a:lnTo>
                    <a:lnTo>
                      <a:pt x="42" y="3204"/>
                    </a:lnTo>
                    <a:lnTo>
                      <a:pt x="24" y="3173"/>
                    </a:lnTo>
                    <a:lnTo>
                      <a:pt x="10" y="3138"/>
                    </a:lnTo>
                    <a:lnTo>
                      <a:pt x="2" y="3102"/>
                    </a:lnTo>
                    <a:lnTo>
                      <a:pt x="0" y="3063"/>
                    </a:lnTo>
                    <a:lnTo>
                      <a:pt x="0" y="2399"/>
                    </a:lnTo>
                    <a:lnTo>
                      <a:pt x="3" y="2358"/>
                    </a:lnTo>
                    <a:lnTo>
                      <a:pt x="13" y="2321"/>
                    </a:lnTo>
                    <a:lnTo>
                      <a:pt x="27" y="2284"/>
                    </a:lnTo>
                    <a:lnTo>
                      <a:pt x="47" y="2252"/>
                    </a:lnTo>
                    <a:lnTo>
                      <a:pt x="71" y="2221"/>
                    </a:lnTo>
                    <a:lnTo>
                      <a:pt x="100" y="2196"/>
                    </a:lnTo>
                    <a:lnTo>
                      <a:pt x="71" y="2170"/>
                    </a:lnTo>
                    <a:lnTo>
                      <a:pt x="47" y="2141"/>
                    </a:lnTo>
                    <a:lnTo>
                      <a:pt x="27" y="2107"/>
                    </a:lnTo>
                    <a:lnTo>
                      <a:pt x="13" y="2072"/>
                    </a:lnTo>
                    <a:lnTo>
                      <a:pt x="3" y="2033"/>
                    </a:lnTo>
                    <a:lnTo>
                      <a:pt x="0" y="1992"/>
                    </a:lnTo>
                    <a:lnTo>
                      <a:pt x="0" y="1329"/>
                    </a:lnTo>
                    <a:lnTo>
                      <a:pt x="3" y="1289"/>
                    </a:lnTo>
                    <a:lnTo>
                      <a:pt x="13" y="1250"/>
                    </a:lnTo>
                    <a:lnTo>
                      <a:pt x="27" y="1214"/>
                    </a:lnTo>
                    <a:lnTo>
                      <a:pt x="47" y="1181"/>
                    </a:lnTo>
                    <a:lnTo>
                      <a:pt x="71" y="1152"/>
                    </a:lnTo>
                    <a:lnTo>
                      <a:pt x="100" y="1126"/>
                    </a:lnTo>
                    <a:lnTo>
                      <a:pt x="71" y="1099"/>
                    </a:lnTo>
                    <a:lnTo>
                      <a:pt x="47" y="1070"/>
                    </a:lnTo>
                    <a:lnTo>
                      <a:pt x="27" y="1038"/>
                    </a:lnTo>
                    <a:lnTo>
                      <a:pt x="13" y="1001"/>
                    </a:lnTo>
                    <a:lnTo>
                      <a:pt x="3" y="963"/>
                    </a:lnTo>
                    <a:lnTo>
                      <a:pt x="0" y="923"/>
                    </a:lnTo>
                    <a:lnTo>
                      <a:pt x="0" y="259"/>
                    </a:lnTo>
                    <a:lnTo>
                      <a:pt x="2" y="220"/>
                    </a:lnTo>
                    <a:lnTo>
                      <a:pt x="10" y="184"/>
                    </a:lnTo>
                    <a:lnTo>
                      <a:pt x="24" y="149"/>
                    </a:lnTo>
                    <a:lnTo>
                      <a:pt x="42" y="118"/>
                    </a:lnTo>
                    <a:lnTo>
                      <a:pt x="64" y="89"/>
                    </a:lnTo>
                    <a:lnTo>
                      <a:pt x="89" y="62"/>
                    </a:lnTo>
                    <a:lnTo>
                      <a:pt x="119" y="41"/>
                    </a:lnTo>
                    <a:lnTo>
                      <a:pt x="150" y="24"/>
                    </a:lnTo>
                    <a:lnTo>
                      <a:pt x="185" y="10"/>
                    </a:lnTo>
                    <a:lnTo>
                      <a:pt x="221" y="2"/>
                    </a:lnTo>
                    <a:lnTo>
                      <a:pt x="26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92" name="Freeform 135"/>
            <p:cNvSpPr>
              <a:spLocks noChangeAspect="1" noEditPoints="1"/>
            </p:cNvSpPr>
            <p:nvPr/>
          </p:nvSpPr>
          <p:spPr bwMode="auto">
            <a:xfrm>
              <a:off x="9585608" y="4010476"/>
              <a:ext cx="720000" cy="612942"/>
            </a:xfrm>
            <a:custGeom>
              <a:avLst/>
              <a:gdLst>
                <a:gd name="T0" fmla="*/ 1830 w 3389"/>
                <a:gd name="T1" fmla="*/ 2747 h 3063"/>
                <a:gd name="T2" fmla="*/ 2471 w 3389"/>
                <a:gd name="T3" fmla="*/ 1021 h 3063"/>
                <a:gd name="T4" fmla="*/ 1685 w 3389"/>
                <a:gd name="T5" fmla="*/ 2814 h 3063"/>
                <a:gd name="T6" fmla="*/ 1032 w 3389"/>
                <a:gd name="T7" fmla="*/ 1021 h 3063"/>
                <a:gd name="T8" fmla="*/ 1524 w 3389"/>
                <a:gd name="T9" fmla="*/ 2704 h 3063"/>
                <a:gd name="T10" fmla="*/ 174 w 3389"/>
                <a:gd name="T11" fmla="*/ 1021 h 3063"/>
                <a:gd name="T12" fmla="*/ 158 w 3389"/>
                <a:gd name="T13" fmla="*/ 907 h 3063"/>
                <a:gd name="T14" fmla="*/ 608 w 3389"/>
                <a:gd name="T15" fmla="*/ 185 h 3063"/>
                <a:gd name="T16" fmla="*/ 2513 w 3389"/>
                <a:gd name="T17" fmla="*/ 907 h 3063"/>
                <a:gd name="T18" fmla="*/ 2781 w 3389"/>
                <a:gd name="T19" fmla="*/ 184 h 3063"/>
                <a:gd name="T20" fmla="*/ 1079 w 3389"/>
                <a:gd name="T21" fmla="*/ 907 h 3063"/>
                <a:gd name="T22" fmla="*/ 1694 w 3389"/>
                <a:gd name="T23" fmla="*/ 146 h 3063"/>
                <a:gd name="T24" fmla="*/ 2412 w 3389"/>
                <a:gd name="T25" fmla="*/ 854 h 3063"/>
                <a:gd name="T26" fmla="*/ 1813 w 3389"/>
                <a:gd name="T27" fmla="*/ 113 h 3063"/>
                <a:gd name="T28" fmla="*/ 973 w 3389"/>
                <a:gd name="T29" fmla="*/ 858 h 3063"/>
                <a:gd name="T30" fmla="*/ 702 w 3389"/>
                <a:gd name="T31" fmla="*/ 113 h 3063"/>
                <a:gd name="T32" fmla="*/ 2769 w 3389"/>
                <a:gd name="T33" fmla="*/ 0 h 3063"/>
                <a:gd name="T34" fmla="*/ 2786 w 3389"/>
                <a:gd name="T35" fmla="*/ 3 h 3063"/>
                <a:gd name="T36" fmla="*/ 2789 w 3389"/>
                <a:gd name="T37" fmla="*/ 4 h 3063"/>
                <a:gd name="T38" fmla="*/ 2799 w 3389"/>
                <a:gd name="T39" fmla="*/ 9 h 3063"/>
                <a:gd name="T40" fmla="*/ 2808 w 3389"/>
                <a:gd name="T41" fmla="*/ 15 h 3063"/>
                <a:gd name="T42" fmla="*/ 2816 w 3389"/>
                <a:gd name="T43" fmla="*/ 27 h 3063"/>
                <a:gd name="T44" fmla="*/ 3382 w 3389"/>
                <a:gd name="T45" fmla="*/ 935 h 3063"/>
                <a:gd name="T46" fmla="*/ 3383 w 3389"/>
                <a:gd name="T47" fmla="*/ 938 h 3063"/>
                <a:gd name="T48" fmla="*/ 3385 w 3389"/>
                <a:gd name="T49" fmla="*/ 943 h 3063"/>
                <a:gd name="T50" fmla="*/ 3388 w 3389"/>
                <a:gd name="T51" fmla="*/ 952 h 3063"/>
                <a:gd name="T52" fmla="*/ 3389 w 3389"/>
                <a:gd name="T53" fmla="*/ 959 h 3063"/>
                <a:gd name="T54" fmla="*/ 3389 w 3389"/>
                <a:gd name="T55" fmla="*/ 967 h 3063"/>
                <a:gd name="T56" fmla="*/ 3388 w 3389"/>
                <a:gd name="T57" fmla="*/ 974 h 3063"/>
                <a:gd name="T58" fmla="*/ 3386 w 3389"/>
                <a:gd name="T59" fmla="*/ 982 h 3063"/>
                <a:gd name="T60" fmla="*/ 3383 w 3389"/>
                <a:gd name="T61" fmla="*/ 992 h 3063"/>
                <a:gd name="T62" fmla="*/ 3380 w 3389"/>
                <a:gd name="T63" fmla="*/ 996 h 3063"/>
                <a:gd name="T64" fmla="*/ 3377 w 3389"/>
                <a:gd name="T65" fmla="*/ 1000 h 3063"/>
                <a:gd name="T66" fmla="*/ 1737 w 3389"/>
                <a:gd name="T67" fmla="*/ 3043 h 3063"/>
                <a:gd name="T68" fmla="*/ 1731 w 3389"/>
                <a:gd name="T69" fmla="*/ 3049 h 3063"/>
                <a:gd name="T70" fmla="*/ 1721 w 3389"/>
                <a:gd name="T71" fmla="*/ 3056 h 3063"/>
                <a:gd name="T72" fmla="*/ 1715 w 3389"/>
                <a:gd name="T73" fmla="*/ 3060 h 3063"/>
                <a:gd name="T74" fmla="*/ 1694 w 3389"/>
                <a:gd name="T75" fmla="*/ 3063 h 3063"/>
                <a:gd name="T76" fmla="*/ 1673 w 3389"/>
                <a:gd name="T77" fmla="*/ 3058 h 3063"/>
                <a:gd name="T78" fmla="*/ 1668 w 3389"/>
                <a:gd name="T79" fmla="*/ 3056 h 3063"/>
                <a:gd name="T80" fmla="*/ 1651 w 3389"/>
                <a:gd name="T81" fmla="*/ 3042 h 3063"/>
                <a:gd name="T82" fmla="*/ 1651 w 3389"/>
                <a:gd name="T83" fmla="*/ 3042 h 3063"/>
                <a:gd name="T84" fmla="*/ 1650 w 3389"/>
                <a:gd name="T85" fmla="*/ 3041 h 3063"/>
                <a:gd name="T86" fmla="*/ 12 w 3389"/>
                <a:gd name="T87" fmla="*/ 1000 h 3063"/>
                <a:gd name="T88" fmla="*/ 10 w 3389"/>
                <a:gd name="T89" fmla="*/ 996 h 3063"/>
                <a:gd name="T90" fmla="*/ 6 w 3389"/>
                <a:gd name="T91" fmla="*/ 992 h 3063"/>
                <a:gd name="T92" fmla="*/ 5 w 3389"/>
                <a:gd name="T93" fmla="*/ 989 h 3063"/>
                <a:gd name="T94" fmla="*/ 3 w 3389"/>
                <a:gd name="T95" fmla="*/ 982 h 3063"/>
                <a:gd name="T96" fmla="*/ 1 w 3389"/>
                <a:gd name="T97" fmla="*/ 974 h 3063"/>
                <a:gd name="T98" fmla="*/ 0 w 3389"/>
                <a:gd name="T99" fmla="*/ 967 h 3063"/>
                <a:gd name="T100" fmla="*/ 0 w 3389"/>
                <a:gd name="T101" fmla="*/ 959 h 3063"/>
                <a:gd name="T102" fmla="*/ 2 w 3389"/>
                <a:gd name="T103" fmla="*/ 952 h 3063"/>
                <a:gd name="T104" fmla="*/ 4 w 3389"/>
                <a:gd name="T105" fmla="*/ 943 h 3063"/>
                <a:gd name="T106" fmla="*/ 5 w 3389"/>
                <a:gd name="T107" fmla="*/ 939 h 3063"/>
                <a:gd name="T108" fmla="*/ 7 w 3389"/>
                <a:gd name="T109" fmla="*/ 937 h 3063"/>
                <a:gd name="T110" fmla="*/ 8 w 3389"/>
                <a:gd name="T111" fmla="*/ 934 h 3063"/>
                <a:gd name="T112" fmla="*/ 577 w 3389"/>
                <a:gd name="T113" fmla="*/ 20 h 3063"/>
                <a:gd name="T114" fmla="*/ 583 w 3389"/>
                <a:gd name="T115" fmla="*/ 14 h 3063"/>
                <a:gd name="T116" fmla="*/ 594 w 3389"/>
                <a:gd name="T117" fmla="*/ 7 h 3063"/>
                <a:gd name="T118" fmla="*/ 601 w 3389"/>
                <a:gd name="T119" fmla="*/ 4 h 3063"/>
                <a:gd name="T120" fmla="*/ 604 w 3389"/>
                <a:gd name="T121" fmla="*/ 3 h 3063"/>
                <a:gd name="T122" fmla="*/ 622 w 3389"/>
                <a:gd name="T123" fmla="*/ 0 h 30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89" h="3063">
                  <a:moveTo>
                    <a:pt x="2471" y="1021"/>
                  </a:moveTo>
                  <a:lnTo>
                    <a:pt x="1830" y="2747"/>
                  </a:lnTo>
                  <a:lnTo>
                    <a:pt x="3215" y="1021"/>
                  </a:lnTo>
                  <a:lnTo>
                    <a:pt x="2471" y="1021"/>
                  </a:lnTo>
                  <a:close/>
                  <a:moveTo>
                    <a:pt x="1032" y="1021"/>
                  </a:moveTo>
                  <a:lnTo>
                    <a:pt x="1685" y="2814"/>
                  </a:lnTo>
                  <a:lnTo>
                    <a:pt x="2350" y="1021"/>
                  </a:lnTo>
                  <a:lnTo>
                    <a:pt x="1032" y="1021"/>
                  </a:lnTo>
                  <a:close/>
                  <a:moveTo>
                    <a:pt x="174" y="1021"/>
                  </a:moveTo>
                  <a:lnTo>
                    <a:pt x="1524" y="2704"/>
                  </a:lnTo>
                  <a:lnTo>
                    <a:pt x="912" y="1021"/>
                  </a:lnTo>
                  <a:lnTo>
                    <a:pt x="174" y="1021"/>
                  </a:lnTo>
                  <a:close/>
                  <a:moveTo>
                    <a:pt x="608" y="185"/>
                  </a:moveTo>
                  <a:lnTo>
                    <a:pt x="158" y="907"/>
                  </a:lnTo>
                  <a:lnTo>
                    <a:pt x="871" y="907"/>
                  </a:lnTo>
                  <a:lnTo>
                    <a:pt x="608" y="185"/>
                  </a:lnTo>
                  <a:close/>
                  <a:moveTo>
                    <a:pt x="2781" y="184"/>
                  </a:moveTo>
                  <a:lnTo>
                    <a:pt x="2513" y="907"/>
                  </a:lnTo>
                  <a:lnTo>
                    <a:pt x="3231" y="907"/>
                  </a:lnTo>
                  <a:lnTo>
                    <a:pt x="2781" y="184"/>
                  </a:lnTo>
                  <a:close/>
                  <a:moveTo>
                    <a:pt x="1694" y="146"/>
                  </a:moveTo>
                  <a:lnTo>
                    <a:pt x="1079" y="907"/>
                  </a:lnTo>
                  <a:lnTo>
                    <a:pt x="2310" y="907"/>
                  </a:lnTo>
                  <a:lnTo>
                    <a:pt x="1694" y="146"/>
                  </a:lnTo>
                  <a:close/>
                  <a:moveTo>
                    <a:pt x="1813" y="113"/>
                  </a:moveTo>
                  <a:lnTo>
                    <a:pt x="2412" y="854"/>
                  </a:lnTo>
                  <a:lnTo>
                    <a:pt x="2686" y="113"/>
                  </a:lnTo>
                  <a:lnTo>
                    <a:pt x="1813" y="113"/>
                  </a:lnTo>
                  <a:close/>
                  <a:moveTo>
                    <a:pt x="702" y="113"/>
                  </a:moveTo>
                  <a:lnTo>
                    <a:pt x="973" y="858"/>
                  </a:lnTo>
                  <a:lnTo>
                    <a:pt x="1576" y="113"/>
                  </a:lnTo>
                  <a:lnTo>
                    <a:pt x="702" y="113"/>
                  </a:lnTo>
                  <a:close/>
                  <a:moveTo>
                    <a:pt x="622" y="0"/>
                  </a:moveTo>
                  <a:lnTo>
                    <a:pt x="2769" y="0"/>
                  </a:lnTo>
                  <a:lnTo>
                    <a:pt x="2777" y="1"/>
                  </a:lnTo>
                  <a:lnTo>
                    <a:pt x="2786" y="3"/>
                  </a:lnTo>
                  <a:lnTo>
                    <a:pt x="2788" y="4"/>
                  </a:lnTo>
                  <a:lnTo>
                    <a:pt x="2789" y="4"/>
                  </a:lnTo>
                  <a:lnTo>
                    <a:pt x="2790" y="5"/>
                  </a:lnTo>
                  <a:lnTo>
                    <a:pt x="2799" y="9"/>
                  </a:lnTo>
                  <a:lnTo>
                    <a:pt x="2807" y="15"/>
                  </a:lnTo>
                  <a:lnTo>
                    <a:pt x="2808" y="15"/>
                  </a:lnTo>
                  <a:lnTo>
                    <a:pt x="2812" y="20"/>
                  </a:lnTo>
                  <a:lnTo>
                    <a:pt x="2816" y="27"/>
                  </a:lnTo>
                  <a:lnTo>
                    <a:pt x="3381" y="934"/>
                  </a:lnTo>
                  <a:lnTo>
                    <a:pt x="3382" y="935"/>
                  </a:lnTo>
                  <a:lnTo>
                    <a:pt x="3383" y="937"/>
                  </a:lnTo>
                  <a:lnTo>
                    <a:pt x="3383" y="938"/>
                  </a:lnTo>
                  <a:lnTo>
                    <a:pt x="3384" y="939"/>
                  </a:lnTo>
                  <a:lnTo>
                    <a:pt x="3385" y="943"/>
                  </a:lnTo>
                  <a:lnTo>
                    <a:pt x="3387" y="948"/>
                  </a:lnTo>
                  <a:lnTo>
                    <a:pt x="3388" y="952"/>
                  </a:lnTo>
                  <a:lnTo>
                    <a:pt x="3388" y="955"/>
                  </a:lnTo>
                  <a:lnTo>
                    <a:pt x="3389" y="959"/>
                  </a:lnTo>
                  <a:lnTo>
                    <a:pt x="3389" y="963"/>
                  </a:lnTo>
                  <a:lnTo>
                    <a:pt x="3389" y="967"/>
                  </a:lnTo>
                  <a:lnTo>
                    <a:pt x="3389" y="970"/>
                  </a:lnTo>
                  <a:lnTo>
                    <a:pt x="3388" y="974"/>
                  </a:lnTo>
                  <a:lnTo>
                    <a:pt x="3388" y="978"/>
                  </a:lnTo>
                  <a:lnTo>
                    <a:pt x="3386" y="982"/>
                  </a:lnTo>
                  <a:lnTo>
                    <a:pt x="3384" y="989"/>
                  </a:lnTo>
                  <a:lnTo>
                    <a:pt x="3383" y="992"/>
                  </a:lnTo>
                  <a:lnTo>
                    <a:pt x="3381" y="994"/>
                  </a:lnTo>
                  <a:lnTo>
                    <a:pt x="3380" y="996"/>
                  </a:lnTo>
                  <a:lnTo>
                    <a:pt x="3379" y="998"/>
                  </a:lnTo>
                  <a:lnTo>
                    <a:pt x="3377" y="1000"/>
                  </a:lnTo>
                  <a:lnTo>
                    <a:pt x="1738" y="3042"/>
                  </a:lnTo>
                  <a:lnTo>
                    <a:pt x="1737" y="3043"/>
                  </a:lnTo>
                  <a:lnTo>
                    <a:pt x="1736" y="3044"/>
                  </a:lnTo>
                  <a:lnTo>
                    <a:pt x="1731" y="3049"/>
                  </a:lnTo>
                  <a:lnTo>
                    <a:pt x="1724" y="3054"/>
                  </a:lnTo>
                  <a:lnTo>
                    <a:pt x="1721" y="3056"/>
                  </a:lnTo>
                  <a:lnTo>
                    <a:pt x="1717" y="3058"/>
                  </a:lnTo>
                  <a:lnTo>
                    <a:pt x="1715" y="3060"/>
                  </a:lnTo>
                  <a:lnTo>
                    <a:pt x="1704" y="3062"/>
                  </a:lnTo>
                  <a:lnTo>
                    <a:pt x="1694" y="3063"/>
                  </a:lnTo>
                  <a:lnTo>
                    <a:pt x="1684" y="3062"/>
                  </a:lnTo>
                  <a:lnTo>
                    <a:pt x="1673" y="3058"/>
                  </a:lnTo>
                  <a:lnTo>
                    <a:pt x="1670" y="3057"/>
                  </a:lnTo>
                  <a:lnTo>
                    <a:pt x="1668" y="3056"/>
                  </a:lnTo>
                  <a:lnTo>
                    <a:pt x="1659" y="3049"/>
                  </a:lnTo>
                  <a:lnTo>
                    <a:pt x="1651" y="3042"/>
                  </a:lnTo>
                  <a:lnTo>
                    <a:pt x="1651" y="3042"/>
                  </a:lnTo>
                  <a:lnTo>
                    <a:pt x="1651" y="3042"/>
                  </a:lnTo>
                  <a:lnTo>
                    <a:pt x="1650" y="3041"/>
                  </a:lnTo>
                  <a:lnTo>
                    <a:pt x="1650" y="3041"/>
                  </a:lnTo>
                  <a:lnTo>
                    <a:pt x="1650" y="3041"/>
                  </a:lnTo>
                  <a:lnTo>
                    <a:pt x="12" y="1000"/>
                  </a:lnTo>
                  <a:lnTo>
                    <a:pt x="11" y="998"/>
                  </a:lnTo>
                  <a:lnTo>
                    <a:pt x="10" y="996"/>
                  </a:lnTo>
                  <a:lnTo>
                    <a:pt x="8" y="994"/>
                  </a:lnTo>
                  <a:lnTo>
                    <a:pt x="6" y="992"/>
                  </a:lnTo>
                  <a:lnTo>
                    <a:pt x="6" y="990"/>
                  </a:lnTo>
                  <a:lnTo>
                    <a:pt x="5" y="989"/>
                  </a:lnTo>
                  <a:lnTo>
                    <a:pt x="4" y="986"/>
                  </a:lnTo>
                  <a:lnTo>
                    <a:pt x="3" y="982"/>
                  </a:lnTo>
                  <a:lnTo>
                    <a:pt x="2" y="978"/>
                  </a:lnTo>
                  <a:lnTo>
                    <a:pt x="1" y="974"/>
                  </a:lnTo>
                  <a:lnTo>
                    <a:pt x="0" y="970"/>
                  </a:lnTo>
                  <a:lnTo>
                    <a:pt x="0" y="967"/>
                  </a:lnTo>
                  <a:lnTo>
                    <a:pt x="0" y="963"/>
                  </a:lnTo>
                  <a:lnTo>
                    <a:pt x="0" y="959"/>
                  </a:lnTo>
                  <a:lnTo>
                    <a:pt x="1" y="955"/>
                  </a:lnTo>
                  <a:lnTo>
                    <a:pt x="2" y="952"/>
                  </a:lnTo>
                  <a:lnTo>
                    <a:pt x="3" y="948"/>
                  </a:lnTo>
                  <a:lnTo>
                    <a:pt x="4" y="943"/>
                  </a:lnTo>
                  <a:lnTo>
                    <a:pt x="5" y="941"/>
                  </a:lnTo>
                  <a:lnTo>
                    <a:pt x="5" y="939"/>
                  </a:lnTo>
                  <a:lnTo>
                    <a:pt x="6" y="938"/>
                  </a:lnTo>
                  <a:lnTo>
                    <a:pt x="7" y="937"/>
                  </a:lnTo>
                  <a:lnTo>
                    <a:pt x="7" y="935"/>
                  </a:lnTo>
                  <a:lnTo>
                    <a:pt x="8" y="934"/>
                  </a:lnTo>
                  <a:lnTo>
                    <a:pt x="573" y="27"/>
                  </a:lnTo>
                  <a:lnTo>
                    <a:pt x="577" y="20"/>
                  </a:lnTo>
                  <a:lnTo>
                    <a:pt x="582" y="15"/>
                  </a:lnTo>
                  <a:lnTo>
                    <a:pt x="583" y="14"/>
                  </a:lnTo>
                  <a:lnTo>
                    <a:pt x="589" y="10"/>
                  </a:lnTo>
                  <a:lnTo>
                    <a:pt x="594" y="7"/>
                  </a:lnTo>
                  <a:lnTo>
                    <a:pt x="600" y="5"/>
                  </a:lnTo>
                  <a:lnTo>
                    <a:pt x="601" y="4"/>
                  </a:lnTo>
                  <a:lnTo>
                    <a:pt x="602" y="3"/>
                  </a:lnTo>
                  <a:lnTo>
                    <a:pt x="604" y="3"/>
                  </a:lnTo>
                  <a:lnTo>
                    <a:pt x="612" y="1"/>
                  </a:lnTo>
                  <a:lnTo>
                    <a:pt x="622" y="0"/>
                  </a:lnTo>
                  <a:close/>
                </a:path>
              </a:pathLst>
            </a:custGeom>
            <a:solidFill>
              <a:srgbClr val="00589B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93" name="Group 181"/>
            <p:cNvGrpSpPr>
              <a:grpSpLocks noChangeAspect="1"/>
            </p:cNvGrpSpPr>
            <p:nvPr/>
          </p:nvGrpSpPr>
          <p:grpSpPr>
            <a:xfrm>
              <a:off x="5752281" y="3933654"/>
              <a:ext cx="720000" cy="648000"/>
              <a:chOff x="9097963" y="2722563"/>
              <a:chExt cx="539750" cy="485775"/>
            </a:xfrm>
            <a:solidFill>
              <a:srgbClr val="00B1D2"/>
            </a:solidFill>
          </p:grpSpPr>
          <p:sp>
            <p:nvSpPr>
              <p:cNvPr id="112" name="Freeform 96"/>
              <p:cNvSpPr>
                <a:spLocks noEditPoints="1"/>
              </p:cNvSpPr>
              <p:nvPr/>
            </p:nvSpPr>
            <p:spPr bwMode="auto">
              <a:xfrm>
                <a:off x="9097963" y="2722563"/>
                <a:ext cx="107950" cy="485775"/>
              </a:xfrm>
              <a:custGeom>
                <a:avLst/>
                <a:gdLst>
                  <a:gd name="T0" fmla="*/ 113 w 680"/>
                  <a:gd name="T1" fmla="*/ 2155 h 3063"/>
                  <a:gd name="T2" fmla="*/ 113 w 680"/>
                  <a:gd name="T3" fmla="*/ 2722 h 3063"/>
                  <a:gd name="T4" fmla="*/ 567 w 680"/>
                  <a:gd name="T5" fmla="*/ 2722 h 3063"/>
                  <a:gd name="T6" fmla="*/ 567 w 680"/>
                  <a:gd name="T7" fmla="*/ 2155 h 3063"/>
                  <a:gd name="T8" fmla="*/ 113 w 680"/>
                  <a:gd name="T9" fmla="*/ 2155 h 3063"/>
                  <a:gd name="T10" fmla="*/ 340 w 680"/>
                  <a:gd name="T11" fmla="*/ 0 h 3063"/>
                  <a:gd name="T12" fmla="*/ 358 w 680"/>
                  <a:gd name="T13" fmla="*/ 3 h 3063"/>
                  <a:gd name="T14" fmla="*/ 374 w 680"/>
                  <a:gd name="T15" fmla="*/ 11 h 3063"/>
                  <a:gd name="T16" fmla="*/ 385 w 680"/>
                  <a:gd name="T17" fmla="*/ 23 h 3063"/>
                  <a:gd name="T18" fmla="*/ 394 w 680"/>
                  <a:gd name="T19" fmla="*/ 39 h 3063"/>
                  <a:gd name="T20" fmla="*/ 397 w 680"/>
                  <a:gd name="T21" fmla="*/ 56 h 3063"/>
                  <a:gd name="T22" fmla="*/ 397 w 680"/>
                  <a:gd name="T23" fmla="*/ 2042 h 3063"/>
                  <a:gd name="T24" fmla="*/ 680 w 680"/>
                  <a:gd name="T25" fmla="*/ 2042 h 3063"/>
                  <a:gd name="T26" fmla="*/ 680 w 680"/>
                  <a:gd name="T27" fmla="*/ 2836 h 3063"/>
                  <a:gd name="T28" fmla="*/ 397 w 680"/>
                  <a:gd name="T29" fmla="*/ 2836 h 3063"/>
                  <a:gd name="T30" fmla="*/ 397 w 680"/>
                  <a:gd name="T31" fmla="*/ 3006 h 3063"/>
                  <a:gd name="T32" fmla="*/ 394 w 680"/>
                  <a:gd name="T33" fmla="*/ 3024 h 3063"/>
                  <a:gd name="T34" fmla="*/ 385 w 680"/>
                  <a:gd name="T35" fmla="*/ 3040 h 3063"/>
                  <a:gd name="T36" fmla="*/ 374 w 680"/>
                  <a:gd name="T37" fmla="*/ 3053 h 3063"/>
                  <a:gd name="T38" fmla="*/ 358 w 680"/>
                  <a:gd name="T39" fmla="*/ 3060 h 3063"/>
                  <a:gd name="T40" fmla="*/ 340 w 680"/>
                  <a:gd name="T41" fmla="*/ 3063 h 3063"/>
                  <a:gd name="T42" fmla="*/ 322 w 680"/>
                  <a:gd name="T43" fmla="*/ 3060 h 3063"/>
                  <a:gd name="T44" fmla="*/ 307 w 680"/>
                  <a:gd name="T45" fmla="*/ 3053 h 3063"/>
                  <a:gd name="T46" fmla="*/ 295 w 680"/>
                  <a:gd name="T47" fmla="*/ 3040 h 3063"/>
                  <a:gd name="T48" fmla="*/ 286 w 680"/>
                  <a:gd name="T49" fmla="*/ 3024 h 3063"/>
                  <a:gd name="T50" fmla="*/ 283 w 680"/>
                  <a:gd name="T51" fmla="*/ 3006 h 3063"/>
                  <a:gd name="T52" fmla="*/ 283 w 680"/>
                  <a:gd name="T53" fmla="*/ 2836 h 3063"/>
                  <a:gd name="T54" fmla="*/ 0 w 680"/>
                  <a:gd name="T55" fmla="*/ 2836 h 3063"/>
                  <a:gd name="T56" fmla="*/ 0 w 680"/>
                  <a:gd name="T57" fmla="*/ 2042 h 3063"/>
                  <a:gd name="T58" fmla="*/ 283 w 680"/>
                  <a:gd name="T59" fmla="*/ 2042 h 3063"/>
                  <a:gd name="T60" fmla="*/ 283 w 680"/>
                  <a:gd name="T61" fmla="*/ 56 h 3063"/>
                  <a:gd name="T62" fmla="*/ 286 w 680"/>
                  <a:gd name="T63" fmla="*/ 39 h 3063"/>
                  <a:gd name="T64" fmla="*/ 295 w 680"/>
                  <a:gd name="T65" fmla="*/ 23 h 3063"/>
                  <a:gd name="T66" fmla="*/ 307 w 680"/>
                  <a:gd name="T67" fmla="*/ 11 h 3063"/>
                  <a:gd name="T68" fmla="*/ 322 w 680"/>
                  <a:gd name="T69" fmla="*/ 3 h 3063"/>
                  <a:gd name="T70" fmla="*/ 340 w 680"/>
                  <a:gd name="T71" fmla="*/ 0 h 30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80" h="3063">
                    <a:moveTo>
                      <a:pt x="113" y="2155"/>
                    </a:moveTo>
                    <a:lnTo>
                      <a:pt x="113" y="2722"/>
                    </a:lnTo>
                    <a:lnTo>
                      <a:pt x="567" y="2722"/>
                    </a:lnTo>
                    <a:lnTo>
                      <a:pt x="567" y="2155"/>
                    </a:lnTo>
                    <a:lnTo>
                      <a:pt x="113" y="2155"/>
                    </a:lnTo>
                    <a:close/>
                    <a:moveTo>
                      <a:pt x="340" y="0"/>
                    </a:moveTo>
                    <a:lnTo>
                      <a:pt x="358" y="3"/>
                    </a:lnTo>
                    <a:lnTo>
                      <a:pt x="374" y="11"/>
                    </a:lnTo>
                    <a:lnTo>
                      <a:pt x="385" y="23"/>
                    </a:lnTo>
                    <a:lnTo>
                      <a:pt x="394" y="39"/>
                    </a:lnTo>
                    <a:lnTo>
                      <a:pt x="397" y="56"/>
                    </a:lnTo>
                    <a:lnTo>
                      <a:pt x="397" y="2042"/>
                    </a:lnTo>
                    <a:lnTo>
                      <a:pt x="680" y="2042"/>
                    </a:lnTo>
                    <a:lnTo>
                      <a:pt x="680" y="2836"/>
                    </a:lnTo>
                    <a:lnTo>
                      <a:pt x="397" y="2836"/>
                    </a:lnTo>
                    <a:lnTo>
                      <a:pt x="397" y="3006"/>
                    </a:lnTo>
                    <a:lnTo>
                      <a:pt x="394" y="3024"/>
                    </a:lnTo>
                    <a:lnTo>
                      <a:pt x="385" y="3040"/>
                    </a:lnTo>
                    <a:lnTo>
                      <a:pt x="374" y="3053"/>
                    </a:lnTo>
                    <a:lnTo>
                      <a:pt x="358" y="3060"/>
                    </a:lnTo>
                    <a:lnTo>
                      <a:pt x="340" y="3063"/>
                    </a:lnTo>
                    <a:lnTo>
                      <a:pt x="322" y="3060"/>
                    </a:lnTo>
                    <a:lnTo>
                      <a:pt x="307" y="3053"/>
                    </a:lnTo>
                    <a:lnTo>
                      <a:pt x="295" y="3040"/>
                    </a:lnTo>
                    <a:lnTo>
                      <a:pt x="286" y="3024"/>
                    </a:lnTo>
                    <a:lnTo>
                      <a:pt x="283" y="3006"/>
                    </a:lnTo>
                    <a:lnTo>
                      <a:pt x="283" y="2836"/>
                    </a:lnTo>
                    <a:lnTo>
                      <a:pt x="0" y="2836"/>
                    </a:lnTo>
                    <a:lnTo>
                      <a:pt x="0" y="2042"/>
                    </a:lnTo>
                    <a:lnTo>
                      <a:pt x="283" y="2042"/>
                    </a:lnTo>
                    <a:lnTo>
                      <a:pt x="283" y="56"/>
                    </a:lnTo>
                    <a:lnTo>
                      <a:pt x="286" y="39"/>
                    </a:lnTo>
                    <a:lnTo>
                      <a:pt x="295" y="23"/>
                    </a:lnTo>
                    <a:lnTo>
                      <a:pt x="307" y="11"/>
                    </a:lnTo>
                    <a:lnTo>
                      <a:pt x="322" y="3"/>
                    </a:lnTo>
                    <a:lnTo>
                      <a:pt x="34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97"/>
              <p:cNvSpPr>
                <a:spLocks noEditPoints="1"/>
              </p:cNvSpPr>
              <p:nvPr/>
            </p:nvSpPr>
            <p:spPr bwMode="auto">
              <a:xfrm>
                <a:off x="9242426" y="2722563"/>
                <a:ext cx="107950" cy="485775"/>
              </a:xfrm>
              <a:custGeom>
                <a:avLst/>
                <a:gdLst>
                  <a:gd name="T0" fmla="*/ 113 w 680"/>
                  <a:gd name="T1" fmla="*/ 1588 h 3063"/>
                  <a:gd name="T2" fmla="*/ 113 w 680"/>
                  <a:gd name="T3" fmla="*/ 2155 h 3063"/>
                  <a:gd name="T4" fmla="*/ 566 w 680"/>
                  <a:gd name="T5" fmla="*/ 2155 h 3063"/>
                  <a:gd name="T6" fmla="*/ 566 w 680"/>
                  <a:gd name="T7" fmla="*/ 1588 h 3063"/>
                  <a:gd name="T8" fmla="*/ 113 w 680"/>
                  <a:gd name="T9" fmla="*/ 1588 h 3063"/>
                  <a:gd name="T10" fmla="*/ 340 w 680"/>
                  <a:gd name="T11" fmla="*/ 0 h 3063"/>
                  <a:gd name="T12" fmla="*/ 357 w 680"/>
                  <a:gd name="T13" fmla="*/ 3 h 3063"/>
                  <a:gd name="T14" fmla="*/ 373 w 680"/>
                  <a:gd name="T15" fmla="*/ 11 h 3063"/>
                  <a:gd name="T16" fmla="*/ 385 w 680"/>
                  <a:gd name="T17" fmla="*/ 23 h 3063"/>
                  <a:gd name="T18" fmla="*/ 393 w 680"/>
                  <a:gd name="T19" fmla="*/ 39 h 3063"/>
                  <a:gd name="T20" fmla="*/ 396 w 680"/>
                  <a:gd name="T21" fmla="*/ 56 h 3063"/>
                  <a:gd name="T22" fmla="*/ 396 w 680"/>
                  <a:gd name="T23" fmla="*/ 1475 h 3063"/>
                  <a:gd name="T24" fmla="*/ 680 w 680"/>
                  <a:gd name="T25" fmla="*/ 1475 h 3063"/>
                  <a:gd name="T26" fmla="*/ 680 w 680"/>
                  <a:gd name="T27" fmla="*/ 2269 h 3063"/>
                  <a:gd name="T28" fmla="*/ 396 w 680"/>
                  <a:gd name="T29" fmla="*/ 2269 h 3063"/>
                  <a:gd name="T30" fmla="*/ 396 w 680"/>
                  <a:gd name="T31" fmla="*/ 3006 h 3063"/>
                  <a:gd name="T32" fmla="*/ 393 w 680"/>
                  <a:gd name="T33" fmla="*/ 3024 h 3063"/>
                  <a:gd name="T34" fmla="*/ 385 w 680"/>
                  <a:gd name="T35" fmla="*/ 3040 h 3063"/>
                  <a:gd name="T36" fmla="*/ 373 w 680"/>
                  <a:gd name="T37" fmla="*/ 3053 h 3063"/>
                  <a:gd name="T38" fmla="*/ 357 w 680"/>
                  <a:gd name="T39" fmla="*/ 3060 h 3063"/>
                  <a:gd name="T40" fmla="*/ 340 w 680"/>
                  <a:gd name="T41" fmla="*/ 3063 h 3063"/>
                  <a:gd name="T42" fmla="*/ 322 w 680"/>
                  <a:gd name="T43" fmla="*/ 3060 h 3063"/>
                  <a:gd name="T44" fmla="*/ 307 w 680"/>
                  <a:gd name="T45" fmla="*/ 3053 h 3063"/>
                  <a:gd name="T46" fmla="*/ 294 w 680"/>
                  <a:gd name="T47" fmla="*/ 3040 h 3063"/>
                  <a:gd name="T48" fmla="*/ 286 w 680"/>
                  <a:gd name="T49" fmla="*/ 3024 h 3063"/>
                  <a:gd name="T50" fmla="*/ 283 w 680"/>
                  <a:gd name="T51" fmla="*/ 3006 h 3063"/>
                  <a:gd name="T52" fmla="*/ 283 w 680"/>
                  <a:gd name="T53" fmla="*/ 2269 h 3063"/>
                  <a:gd name="T54" fmla="*/ 0 w 680"/>
                  <a:gd name="T55" fmla="*/ 2269 h 3063"/>
                  <a:gd name="T56" fmla="*/ 0 w 680"/>
                  <a:gd name="T57" fmla="*/ 1475 h 3063"/>
                  <a:gd name="T58" fmla="*/ 283 w 680"/>
                  <a:gd name="T59" fmla="*/ 1475 h 3063"/>
                  <a:gd name="T60" fmla="*/ 283 w 680"/>
                  <a:gd name="T61" fmla="*/ 56 h 3063"/>
                  <a:gd name="T62" fmla="*/ 286 w 680"/>
                  <a:gd name="T63" fmla="*/ 39 h 3063"/>
                  <a:gd name="T64" fmla="*/ 294 w 680"/>
                  <a:gd name="T65" fmla="*/ 23 h 3063"/>
                  <a:gd name="T66" fmla="*/ 307 w 680"/>
                  <a:gd name="T67" fmla="*/ 11 h 3063"/>
                  <a:gd name="T68" fmla="*/ 322 w 680"/>
                  <a:gd name="T69" fmla="*/ 3 h 3063"/>
                  <a:gd name="T70" fmla="*/ 340 w 680"/>
                  <a:gd name="T71" fmla="*/ 0 h 30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80" h="3063">
                    <a:moveTo>
                      <a:pt x="113" y="1588"/>
                    </a:moveTo>
                    <a:lnTo>
                      <a:pt x="113" y="2155"/>
                    </a:lnTo>
                    <a:lnTo>
                      <a:pt x="566" y="2155"/>
                    </a:lnTo>
                    <a:lnTo>
                      <a:pt x="566" y="1588"/>
                    </a:lnTo>
                    <a:lnTo>
                      <a:pt x="113" y="1588"/>
                    </a:lnTo>
                    <a:close/>
                    <a:moveTo>
                      <a:pt x="340" y="0"/>
                    </a:moveTo>
                    <a:lnTo>
                      <a:pt x="357" y="3"/>
                    </a:lnTo>
                    <a:lnTo>
                      <a:pt x="373" y="11"/>
                    </a:lnTo>
                    <a:lnTo>
                      <a:pt x="385" y="23"/>
                    </a:lnTo>
                    <a:lnTo>
                      <a:pt x="393" y="39"/>
                    </a:lnTo>
                    <a:lnTo>
                      <a:pt x="396" y="56"/>
                    </a:lnTo>
                    <a:lnTo>
                      <a:pt x="396" y="1475"/>
                    </a:lnTo>
                    <a:lnTo>
                      <a:pt x="680" y="1475"/>
                    </a:lnTo>
                    <a:lnTo>
                      <a:pt x="680" y="2269"/>
                    </a:lnTo>
                    <a:lnTo>
                      <a:pt x="396" y="2269"/>
                    </a:lnTo>
                    <a:lnTo>
                      <a:pt x="396" y="3006"/>
                    </a:lnTo>
                    <a:lnTo>
                      <a:pt x="393" y="3024"/>
                    </a:lnTo>
                    <a:lnTo>
                      <a:pt x="385" y="3040"/>
                    </a:lnTo>
                    <a:lnTo>
                      <a:pt x="373" y="3053"/>
                    </a:lnTo>
                    <a:lnTo>
                      <a:pt x="357" y="3060"/>
                    </a:lnTo>
                    <a:lnTo>
                      <a:pt x="340" y="3063"/>
                    </a:lnTo>
                    <a:lnTo>
                      <a:pt x="322" y="3060"/>
                    </a:lnTo>
                    <a:lnTo>
                      <a:pt x="307" y="3053"/>
                    </a:lnTo>
                    <a:lnTo>
                      <a:pt x="294" y="3040"/>
                    </a:lnTo>
                    <a:lnTo>
                      <a:pt x="286" y="3024"/>
                    </a:lnTo>
                    <a:lnTo>
                      <a:pt x="283" y="3006"/>
                    </a:lnTo>
                    <a:lnTo>
                      <a:pt x="283" y="2269"/>
                    </a:lnTo>
                    <a:lnTo>
                      <a:pt x="0" y="2269"/>
                    </a:lnTo>
                    <a:lnTo>
                      <a:pt x="0" y="1475"/>
                    </a:lnTo>
                    <a:lnTo>
                      <a:pt x="283" y="1475"/>
                    </a:lnTo>
                    <a:lnTo>
                      <a:pt x="283" y="56"/>
                    </a:lnTo>
                    <a:lnTo>
                      <a:pt x="286" y="39"/>
                    </a:lnTo>
                    <a:lnTo>
                      <a:pt x="294" y="23"/>
                    </a:lnTo>
                    <a:lnTo>
                      <a:pt x="307" y="11"/>
                    </a:lnTo>
                    <a:lnTo>
                      <a:pt x="322" y="3"/>
                    </a:lnTo>
                    <a:lnTo>
                      <a:pt x="34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98"/>
              <p:cNvSpPr>
                <a:spLocks noEditPoints="1"/>
              </p:cNvSpPr>
              <p:nvPr/>
            </p:nvSpPr>
            <p:spPr bwMode="auto">
              <a:xfrm>
                <a:off x="9385301" y="2722563"/>
                <a:ext cx="107950" cy="485775"/>
              </a:xfrm>
              <a:custGeom>
                <a:avLst/>
                <a:gdLst>
                  <a:gd name="T0" fmla="*/ 114 w 680"/>
                  <a:gd name="T1" fmla="*/ 1021 h 3063"/>
                  <a:gd name="T2" fmla="*/ 114 w 680"/>
                  <a:gd name="T3" fmla="*/ 1588 h 3063"/>
                  <a:gd name="T4" fmla="*/ 567 w 680"/>
                  <a:gd name="T5" fmla="*/ 1588 h 3063"/>
                  <a:gd name="T6" fmla="*/ 567 w 680"/>
                  <a:gd name="T7" fmla="*/ 1021 h 3063"/>
                  <a:gd name="T8" fmla="*/ 114 w 680"/>
                  <a:gd name="T9" fmla="*/ 1021 h 3063"/>
                  <a:gd name="T10" fmla="*/ 340 w 680"/>
                  <a:gd name="T11" fmla="*/ 0 h 3063"/>
                  <a:gd name="T12" fmla="*/ 358 w 680"/>
                  <a:gd name="T13" fmla="*/ 3 h 3063"/>
                  <a:gd name="T14" fmla="*/ 373 w 680"/>
                  <a:gd name="T15" fmla="*/ 11 h 3063"/>
                  <a:gd name="T16" fmla="*/ 386 w 680"/>
                  <a:gd name="T17" fmla="*/ 23 h 3063"/>
                  <a:gd name="T18" fmla="*/ 394 w 680"/>
                  <a:gd name="T19" fmla="*/ 39 h 3063"/>
                  <a:gd name="T20" fmla="*/ 397 w 680"/>
                  <a:gd name="T21" fmla="*/ 56 h 3063"/>
                  <a:gd name="T22" fmla="*/ 397 w 680"/>
                  <a:gd name="T23" fmla="*/ 907 h 3063"/>
                  <a:gd name="T24" fmla="*/ 680 w 680"/>
                  <a:gd name="T25" fmla="*/ 907 h 3063"/>
                  <a:gd name="T26" fmla="*/ 680 w 680"/>
                  <a:gd name="T27" fmla="*/ 1701 h 3063"/>
                  <a:gd name="T28" fmla="*/ 397 w 680"/>
                  <a:gd name="T29" fmla="*/ 1701 h 3063"/>
                  <a:gd name="T30" fmla="*/ 397 w 680"/>
                  <a:gd name="T31" fmla="*/ 3006 h 3063"/>
                  <a:gd name="T32" fmla="*/ 394 w 680"/>
                  <a:gd name="T33" fmla="*/ 3024 h 3063"/>
                  <a:gd name="T34" fmla="*/ 386 w 680"/>
                  <a:gd name="T35" fmla="*/ 3040 h 3063"/>
                  <a:gd name="T36" fmla="*/ 373 w 680"/>
                  <a:gd name="T37" fmla="*/ 3053 h 3063"/>
                  <a:gd name="T38" fmla="*/ 358 w 680"/>
                  <a:gd name="T39" fmla="*/ 3060 h 3063"/>
                  <a:gd name="T40" fmla="*/ 340 w 680"/>
                  <a:gd name="T41" fmla="*/ 3063 h 3063"/>
                  <a:gd name="T42" fmla="*/ 323 w 680"/>
                  <a:gd name="T43" fmla="*/ 3060 h 3063"/>
                  <a:gd name="T44" fmla="*/ 307 w 680"/>
                  <a:gd name="T45" fmla="*/ 3053 h 3063"/>
                  <a:gd name="T46" fmla="*/ 295 w 680"/>
                  <a:gd name="T47" fmla="*/ 3040 h 3063"/>
                  <a:gd name="T48" fmla="*/ 287 w 680"/>
                  <a:gd name="T49" fmla="*/ 3024 h 3063"/>
                  <a:gd name="T50" fmla="*/ 284 w 680"/>
                  <a:gd name="T51" fmla="*/ 3006 h 3063"/>
                  <a:gd name="T52" fmla="*/ 284 w 680"/>
                  <a:gd name="T53" fmla="*/ 1701 h 3063"/>
                  <a:gd name="T54" fmla="*/ 0 w 680"/>
                  <a:gd name="T55" fmla="*/ 1701 h 3063"/>
                  <a:gd name="T56" fmla="*/ 0 w 680"/>
                  <a:gd name="T57" fmla="*/ 907 h 3063"/>
                  <a:gd name="T58" fmla="*/ 284 w 680"/>
                  <a:gd name="T59" fmla="*/ 907 h 3063"/>
                  <a:gd name="T60" fmla="*/ 284 w 680"/>
                  <a:gd name="T61" fmla="*/ 56 h 3063"/>
                  <a:gd name="T62" fmla="*/ 287 w 680"/>
                  <a:gd name="T63" fmla="*/ 39 h 3063"/>
                  <a:gd name="T64" fmla="*/ 295 w 680"/>
                  <a:gd name="T65" fmla="*/ 23 h 3063"/>
                  <a:gd name="T66" fmla="*/ 307 w 680"/>
                  <a:gd name="T67" fmla="*/ 11 h 3063"/>
                  <a:gd name="T68" fmla="*/ 323 w 680"/>
                  <a:gd name="T69" fmla="*/ 3 h 3063"/>
                  <a:gd name="T70" fmla="*/ 340 w 680"/>
                  <a:gd name="T71" fmla="*/ 0 h 30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80" h="3063">
                    <a:moveTo>
                      <a:pt x="114" y="1021"/>
                    </a:moveTo>
                    <a:lnTo>
                      <a:pt x="114" y="1588"/>
                    </a:lnTo>
                    <a:lnTo>
                      <a:pt x="567" y="1588"/>
                    </a:lnTo>
                    <a:lnTo>
                      <a:pt x="567" y="1021"/>
                    </a:lnTo>
                    <a:lnTo>
                      <a:pt x="114" y="1021"/>
                    </a:lnTo>
                    <a:close/>
                    <a:moveTo>
                      <a:pt x="340" y="0"/>
                    </a:moveTo>
                    <a:lnTo>
                      <a:pt x="358" y="3"/>
                    </a:lnTo>
                    <a:lnTo>
                      <a:pt x="373" y="11"/>
                    </a:lnTo>
                    <a:lnTo>
                      <a:pt x="386" y="23"/>
                    </a:lnTo>
                    <a:lnTo>
                      <a:pt x="394" y="39"/>
                    </a:lnTo>
                    <a:lnTo>
                      <a:pt x="397" y="56"/>
                    </a:lnTo>
                    <a:lnTo>
                      <a:pt x="397" y="907"/>
                    </a:lnTo>
                    <a:lnTo>
                      <a:pt x="680" y="907"/>
                    </a:lnTo>
                    <a:lnTo>
                      <a:pt x="680" y="1701"/>
                    </a:lnTo>
                    <a:lnTo>
                      <a:pt x="397" y="1701"/>
                    </a:lnTo>
                    <a:lnTo>
                      <a:pt x="397" y="3006"/>
                    </a:lnTo>
                    <a:lnTo>
                      <a:pt x="394" y="3024"/>
                    </a:lnTo>
                    <a:lnTo>
                      <a:pt x="386" y="3040"/>
                    </a:lnTo>
                    <a:lnTo>
                      <a:pt x="373" y="3053"/>
                    </a:lnTo>
                    <a:lnTo>
                      <a:pt x="358" y="3060"/>
                    </a:lnTo>
                    <a:lnTo>
                      <a:pt x="340" y="3063"/>
                    </a:lnTo>
                    <a:lnTo>
                      <a:pt x="323" y="3060"/>
                    </a:lnTo>
                    <a:lnTo>
                      <a:pt x="307" y="3053"/>
                    </a:lnTo>
                    <a:lnTo>
                      <a:pt x="295" y="3040"/>
                    </a:lnTo>
                    <a:lnTo>
                      <a:pt x="287" y="3024"/>
                    </a:lnTo>
                    <a:lnTo>
                      <a:pt x="284" y="3006"/>
                    </a:lnTo>
                    <a:lnTo>
                      <a:pt x="284" y="1701"/>
                    </a:lnTo>
                    <a:lnTo>
                      <a:pt x="0" y="1701"/>
                    </a:lnTo>
                    <a:lnTo>
                      <a:pt x="0" y="907"/>
                    </a:lnTo>
                    <a:lnTo>
                      <a:pt x="284" y="907"/>
                    </a:lnTo>
                    <a:lnTo>
                      <a:pt x="284" y="56"/>
                    </a:lnTo>
                    <a:lnTo>
                      <a:pt x="287" y="39"/>
                    </a:lnTo>
                    <a:lnTo>
                      <a:pt x="295" y="23"/>
                    </a:lnTo>
                    <a:lnTo>
                      <a:pt x="307" y="11"/>
                    </a:lnTo>
                    <a:lnTo>
                      <a:pt x="323" y="3"/>
                    </a:lnTo>
                    <a:lnTo>
                      <a:pt x="34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99"/>
              <p:cNvSpPr>
                <a:spLocks noEditPoints="1"/>
              </p:cNvSpPr>
              <p:nvPr/>
            </p:nvSpPr>
            <p:spPr bwMode="auto">
              <a:xfrm>
                <a:off x="9529763" y="2722563"/>
                <a:ext cx="107950" cy="485775"/>
              </a:xfrm>
              <a:custGeom>
                <a:avLst/>
                <a:gdLst>
                  <a:gd name="T0" fmla="*/ 113 w 680"/>
                  <a:gd name="T1" fmla="*/ 340 h 3063"/>
                  <a:gd name="T2" fmla="*/ 113 w 680"/>
                  <a:gd name="T3" fmla="*/ 907 h 3063"/>
                  <a:gd name="T4" fmla="*/ 567 w 680"/>
                  <a:gd name="T5" fmla="*/ 907 h 3063"/>
                  <a:gd name="T6" fmla="*/ 567 w 680"/>
                  <a:gd name="T7" fmla="*/ 340 h 3063"/>
                  <a:gd name="T8" fmla="*/ 113 w 680"/>
                  <a:gd name="T9" fmla="*/ 340 h 3063"/>
                  <a:gd name="T10" fmla="*/ 340 w 680"/>
                  <a:gd name="T11" fmla="*/ 0 h 3063"/>
                  <a:gd name="T12" fmla="*/ 358 w 680"/>
                  <a:gd name="T13" fmla="*/ 3 h 3063"/>
                  <a:gd name="T14" fmla="*/ 373 w 680"/>
                  <a:gd name="T15" fmla="*/ 11 h 3063"/>
                  <a:gd name="T16" fmla="*/ 385 w 680"/>
                  <a:gd name="T17" fmla="*/ 23 h 3063"/>
                  <a:gd name="T18" fmla="*/ 394 w 680"/>
                  <a:gd name="T19" fmla="*/ 39 h 3063"/>
                  <a:gd name="T20" fmla="*/ 397 w 680"/>
                  <a:gd name="T21" fmla="*/ 56 h 3063"/>
                  <a:gd name="T22" fmla="*/ 397 w 680"/>
                  <a:gd name="T23" fmla="*/ 227 h 3063"/>
                  <a:gd name="T24" fmla="*/ 680 w 680"/>
                  <a:gd name="T25" fmla="*/ 227 h 3063"/>
                  <a:gd name="T26" fmla="*/ 680 w 680"/>
                  <a:gd name="T27" fmla="*/ 1021 h 3063"/>
                  <a:gd name="T28" fmla="*/ 397 w 680"/>
                  <a:gd name="T29" fmla="*/ 1021 h 3063"/>
                  <a:gd name="T30" fmla="*/ 397 w 680"/>
                  <a:gd name="T31" fmla="*/ 3006 h 3063"/>
                  <a:gd name="T32" fmla="*/ 394 w 680"/>
                  <a:gd name="T33" fmla="*/ 3024 h 3063"/>
                  <a:gd name="T34" fmla="*/ 385 w 680"/>
                  <a:gd name="T35" fmla="*/ 3040 h 3063"/>
                  <a:gd name="T36" fmla="*/ 373 w 680"/>
                  <a:gd name="T37" fmla="*/ 3053 h 3063"/>
                  <a:gd name="T38" fmla="*/ 358 w 680"/>
                  <a:gd name="T39" fmla="*/ 3060 h 3063"/>
                  <a:gd name="T40" fmla="*/ 340 w 680"/>
                  <a:gd name="T41" fmla="*/ 3063 h 3063"/>
                  <a:gd name="T42" fmla="*/ 322 w 680"/>
                  <a:gd name="T43" fmla="*/ 3060 h 3063"/>
                  <a:gd name="T44" fmla="*/ 306 w 680"/>
                  <a:gd name="T45" fmla="*/ 3053 h 3063"/>
                  <a:gd name="T46" fmla="*/ 295 w 680"/>
                  <a:gd name="T47" fmla="*/ 3040 h 3063"/>
                  <a:gd name="T48" fmla="*/ 286 w 680"/>
                  <a:gd name="T49" fmla="*/ 3024 h 3063"/>
                  <a:gd name="T50" fmla="*/ 283 w 680"/>
                  <a:gd name="T51" fmla="*/ 3006 h 3063"/>
                  <a:gd name="T52" fmla="*/ 283 w 680"/>
                  <a:gd name="T53" fmla="*/ 1021 h 3063"/>
                  <a:gd name="T54" fmla="*/ 0 w 680"/>
                  <a:gd name="T55" fmla="*/ 1021 h 3063"/>
                  <a:gd name="T56" fmla="*/ 0 w 680"/>
                  <a:gd name="T57" fmla="*/ 227 h 3063"/>
                  <a:gd name="T58" fmla="*/ 283 w 680"/>
                  <a:gd name="T59" fmla="*/ 227 h 3063"/>
                  <a:gd name="T60" fmla="*/ 283 w 680"/>
                  <a:gd name="T61" fmla="*/ 56 h 3063"/>
                  <a:gd name="T62" fmla="*/ 286 w 680"/>
                  <a:gd name="T63" fmla="*/ 39 h 3063"/>
                  <a:gd name="T64" fmla="*/ 295 w 680"/>
                  <a:gd name="T65" fmla="*/ 23 h 3063"/>
                  <a:gd name="T66" fmla="*/ 306 w 680"/>
                  <a:gd name="T67" fmla="*/ 11 h 3063"/>
                  <a:gd name="T68" fmla="*/ 322 w 680"/>
                  <a:gd name="T69" fmla="*/ 3 h 3063"/>
                  <a:gd name="T70" fmla="*/ 340 w 680"/>
                  <a:gd name="T71" fmla="*/ 0 h 30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80" h="3063">
                    <a:moveTo>
                      <a:pt x="113" y="340"/>
                    </a:moveTo>
                    <a:lnTo>
                      <a:pt x="113" y="907"/>
                    </a:lnTo>
                    <a:lnTo>
                      <a:pt x="567" y="907"/>
                    </a:lnTo>
                    <a:lnTo>
                      <a:pt x="567" y="340"/>
                    </a:lnTo>
                    <a:lnTo>
                      <a:pt x="113" y="340"/>
                    </a:lnTo>
                    <a:close/>
                    <a:moveTo>
                      <a:pt x="340" y="0"/>
                    </a:moveTo>
                    <a:lnTo>
                      <a:pt x="358" y="3"/>
                    </a:lnTo>
                    <a:lnTo>
                      <a:pt x="373" y="11"/>
                    </a:lnTo>
                    <a:lnTo>
                      <a:pt x="385" y="23"/>
                    </a:lnTo>
                    <a:lnTo>
                      <a:pt x="394" y="39"/>
                    </a:lnTo>
                    <a:lnTo>
                      <a:pt x="397" y="56"/>
                    </a:lnTo>
                    <a:lnTo>
                      <a:pt x="397" y="227"/>
                    </a:lnTo>
                    <a:lnTo>
                      <a:pt x="680" y="227"/>
                    </a:lnTo>
                    <a:lnTo>
                      <a:pt x="680" y="1021"/>
                    </a:lnTo>
                    <a:lnTo>
                      <a:pt x="397" y="1021"/>
                    </a:lnTo>
                    <a:lnTo>
                      <a:pt x="397" y="3006"/>
                    </a:lnTo>
                    <a:lnTo>
                      <a:pt x="394" y="3024"/>
                    </a:lnTo>
                    <a:lnTo>
                      <a:pt x="385" y="3040"/>
                    </a:lnTo>
                    <a:lnTo>
                      <a:pt x="373" y="3053"/>
                    </a:lnTo>
                    <a:lnTo>
                      <a:pt x="358" y="3060"/>
                    </a:lnTo>
                    <a:lnTo>
                      <a:pt x="340" y="3063"/>
                    </a:lnTo>
                    <a:lnTo>
                      <a:pt x="322" y="3060"/>
                    </a:lnTo>
                    <a:lnTo>
                      <a:pt x="306" y="3053"/>
                    </a:lnTo>
                    <a:lnTo>
                      <a:pt x="295" y="3040"/>
                    </a:lnTo>
                    <a:lnTo>
                      <a:pt x="286" y="3024"/>
                    </a:lnTo>
                    <a:lnTo>
                      <a:pt x="283" y="3006"/>
                    </a:lnTo>
                    <a:lnTo>
                      <a:pt x="283" y="1021"/>
                    </a:lnTo>
                    <a:lnTo>
                      <a:pt x="0" y="1021"/>
                    </a:lnTo>
                    <a:lnTo>
                      <a:pt x="0" y="227"/>
                    </a:lnTo>
                    <a:lnTo>
                      <a:pt x="283" y="227"/>
                    </a:lnTo>
                    <a:lnTo>
                      <a:pt x="283" y="56"/>
                    </a:lnTo>
                    <a:lnTo>
                      <a:pt x="286" y="39"/>
                    </a:lnTo>
                    <a:lnTo>
                      <a:pt x="295" y="23"/>
                    </a:lnTo>
                    <a:lnTo>
                      <a:pt x="306" y="11"/>
                    </a:lnTo>
                    <a:lnTo>
                      <a:pt x="322" y="3"/>
                    </a:lnTo>
                    <a:lnTo>
                      <a:pt x="34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100"/>
              <p:cNvSpPr>
                <a:spLocks/>
              </p:cNvSpPr>
              <p:nvPr/>
            </p:nvSpPr>
            <p:spPr bwMode="auto">
              <a:xfrm>
                <a:off x="9277351" y="2992438"/>
                <a:ext cx="36513" cy="17462"/>
              </a:xfrm>
              <a:custGeom>
                <a:avLst/>
                <a:gdLst>
                  <a:gd name="T0" fmla="*/ 57 w 227"/>
                  <a:gd name="T1" fmla="*/ 0 h 114"/>
                  <a:gd name="T2" fmla="*/ 170 w 227"/>
                  <a:gd name="T3" fmla="*/ 0 h 114"/>
                  <a:gd name="T4" fmla="*/ 188 w 227"/>
                  <a:gd name="T5" fmla="*/ 4 h 114"/>
                  <a:gd name="T6" fmla="*/ 203 w 227"/>
                  <a:gd name="T7" fmla="*/ 12 h 114"/>
                  <a:gd name="T8" fmla="*/ 216 w 227"/>
                  <a:gd name="T9" fmla="*/ 24 h 114"/>
                  <a:gd name="T10" fmla="*/ 224 w 227"/>
                  <a:gd name="T11" fmla="*/ 40 h 114"/>
                  <a:gd name="T12" fmla="*/ 227 w 227"/>
                  <a:gd name="T13" fmla="*/ 57 h 114"/>
                  <a:gd name="T14" fmla="*/ 224 w 227"/>
                  <a:gd name="T15" fmla="*/ 76 h 114"/>
                  <a:gd name="T16" fmla="*/ 216 w 227"/>
                  <a:gd name="T17" fmla="*/ 91 h 114"/>
                  <a:gd name="T18" fmla="*/ 203 w 227"/>
                  <a:gd name="T19" fmla="*/ 104 h 114"/>
                  <a:gd name="T20" fmla="*/ 188 w 227"/>
                  <a:gd name="T21" fmla="*/ 111 h 114"/>
                  <a:gd name="T22" fmla="*/ 170 w 227"/>
                  <a:gd name="T23" fmla="*/ 114 h 114"/>
                  <a:gd name="T24" fmla="*/ 57 w 227"/>
                  <a:gd name="T25" fmla="*/ 114 h 114"/>
                  <a:gd name="T26" fmla="*/ 39 w 227"/>
                  <a:gd name="T27" fmla="*/ 111 h 114"/>
                  <a:gd name="T28" fmla="*/ 24 w 227"/>
                  <a:gd name="T29" fmla="*/ 104 h 114"/>
                  <a:gd name="T30" fmla="*/ 12 w 227"/>
                  <a:gd name="T31" fmla="*/ 91 h 114"/>
                  <a:gd name="T32" fmla="*/ 3 w 227"/>
                  <a:gd name="T33" fmla="*/ 76 h 114"/>
                  <a:gd name="T34" fmla="*/ 0 w 227"/>
                  <a:gd name="T35" fmla="*/ 57 h 114"/>
                  <a:gd name="T36" fmla="*/ 3 w 227"/>
                  <a:gd name="T37" fmla="*/ 40 h 114"/>
                  <a:gd name="T38" fmla="*/ 12 w 227"/>
                  <a:gd name="T39" fmla="*/ 24 h 114"/>
                  <a:gd name="T40" fmla="*/ 24 w 227"/>
                  <a:gd name="T41" fmla="*/ 12 h 114"/>
                  <a:gd name="T42" fmla="*/ 39 w 227"/>
                  <a:gd name="T43" fmla="*/ 4 h 114"/>
                  <a:gd name="T44" fmla="*/ 57 w 227"/>
                  <a:gd name="T45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27" h="114">
                    <a:moveTo>
                      <a:pt x="57" y="0"/>
                    </a:moveTo>
                    <a:lnTo>
                      <a:pt x="170" y="0"/>
                    </a:lnTo>
                    <a:lnTo>
                      <a:pt x="188" y="4"/>
                    </a:lnTo>
                    <a:lnTo>
                      <a:pt x="203" y="12"/>
                    </a:lnTo>
                    <a:lnTo>
                      <a:pt x="216" y="24"/>
                    </a:lnTo>
                    <a:lnTo>
                      <a:pt x="224" y="40"/>
                    </a:lnTo>
                    <a:lnTo>
                      <a:pt x="227" y="57"/>
                    </a:lnTo>
                    <a:lnTo>
                      <a:pt x="224" y="76"/>
                    </a:lnTo>
                    <a:lnTo>
                      <a:pt x="216" y="91"/>
                    </a:lnTo>
                    <a:lnTo>
                      <a:pt x="203" y="104"/>
                    </a:lnTo>
                    <a:lnTo>
                      <a:pt x="188" y="111"/>
                    </a:lnTo>
                    <a:lnTo>
                      <a:pt x="170" y="114"/>
                    </a:lnTo>
                    <a:lnTo>
                      <a:pt x="57" y="114"/>
                    </a:lnTo>
                    <a:lnTo>
                      <a:pt x="39" y="111"/>
                    </a:lnTo>
                    <a:lnTo>
                      <a:pt x="24" y="104"/>
                    </a:lnTo>
                    <a:lnTo>
                      <a:pt x="12" y="91"/>
                    </a:lnTo>
                    <a:lnTo>
                      <a:pt x="3" y="76"/>
                    </a:lnTo>
                    <a:lnTo>
                      <a:pt x="0" y="57"/>
                    </a:lnTo>
                    <a:lnTo>
                      <a:pt x="3" y="40"/>
                    </a:lnTo>
                    <a:lnTo>
                      <a:pt x="12" y="24"/>
                    </a:lnTo>
                    <a:lnTo>
                      <a:pt x="24" y="12"/>
                    </a:lnTo>
                    <a:lnTo>
                      <a:pt x="39" y="4"/>
                    </a:lnTo>
                    <a:lnTo>
                      <a:pt x="5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101"/>
              <p:cNvSpPr>
                <a:spLocks/>
              </p:cNvSpPr>
              <p:nvPr/>
            </p:nvSpPr>
            <p:spPr bwMode="auto">
              <a:xfrm>
                <a:off x="9421813" y="2938463"/>
                <a:ext cx="36513" cy="17462"/>
              </a:xfrm>
              <a:custGeom>
                <a:avLst/>
                <a:gdLst>
                  <a:gd name="T0" fmla="*/ 57 w 227"/>
                  <a:gd name="T1" fmla="*/ 0 h 114"/>
                  <a:gd name="T2" fmla="*/ 170 w 227"/>
                  <a:gd name="T3" fmla="*/ 0 h 114"/>
                  <a:gd name="T4" fmla="*/ 188 w 227"/>
                  <a:gd name="T5" fmla="*/ 3 h 114"/>
                  <a:gd name="T6" fmla="*/ 203 w 227"/>
                  <a:gd name="T7" fmla="*/ 11 h 114"/>
                  <a:gd name="T8" fmla="*/ 215 w 227"/>
                  <a:gd name="T9" fmla="*/ 24 h 114"/>
                  <a:gd name="T10" fmla="*/ 224 w 227"/>
                  <a:gd name="T11" fmla="*/ 39 h 114"/>
                  <a:gd name="T12" fmla="*/ 227 w 227"/>
                  <a:gd name="T13" fmla="*/ 57 h 114"/>
                  <a:gd name="T14" fmla="*/ 224 w 227"/>
                  <a:gd name="T15" fmla="*/ 74 h 114"/>
                  <a:gd name="T16" fmla="*/ 215 w 227"/>
                  <a:gd name="T17" fmla="*/ 91 h 114"/>
                  <a:gd name="T18" fmla="*/ 203 w 227"/>
                  <a:gd name="T19" fmla="*/ 103 h 114"/>
                  <a:gd name="T20" fmla="*/ 188 w 227"/>
                  <a:gd name="T21" fmla="*/ 110 h 114"/>
                  <a:gd name="T22" fmla="*/ 170 w 227"/>
                  <a:gd name="T23" fmla="*/ 114 h 114"/>
                  <a:gd name="T24" fmla="*/ 57 w 227"/>
                  <a:gd name="T25" fmla="*/ 114 h 114"/>
                  <a:gd name="T26" fmla="*/ 39 w 227"/>
                  <a:gd name="T27" fmla="*/ 110 h 114"/>
                  <a:gd name="T28" fmla="*/ 24 w 227"/>
                  <a:gd name="T29" fmla="*/ 103 h 114"/>
                  <a:gd name="T30" fmla="*/ 11 w 227"/>
                  <a:gd name="T31" fmla="*/ 91 h 114"/>
                  <a:gd name="T32" fmla="*/ 3 w 227"/>
                  <a:gd name="T33" fmla="*/ 74 h 114"/>
                  <a:gd name="T34" fmla="*/ 0 w 227"/>
                  <a:gd name="T35" fmla="*/ 57 h 114"/>
                  <a:gd name="T36" fmla="*/ 3 w 227"/>
                  <a:gd name="T37" fmla="*/ 39 h 114"/>
                  <a:gd name="T38" fmla="*/ 11 w 227"/>
                  <a:gd name="T39" fmla="*/ 24 h 114"/>
                  <a:gd name="T40" fmla="*/ 24 w 227"/>
                  <a:gd name="T41" fmla="*/ 11 h 114"/>
                  <a:gd name="T42" fmla="*/ 39 w 227"/>
                  <a:gd name="T43" fmla="*/ 3 h 114"/>
                  <a:gd name="T44" fmla="*/ 57 w 227"/>
                  <a:gd name="T45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27" h="114">
                    <a:moveTo>
                      <a:pt x="57" y="0"/>
                    </a:moveTo>
                    <a:lnTo>
                      <a:pt x="170" y="0"/>
                    </a:lnTo>
                    <a:lnTo>
                      <a:pt x="188" y="3"/>
                    </a:lnTo>
                    <a:lnTo>
                      <a:pt x="203" y="11"/>
                    </a:lnTo>
                    <a:lnTo>
                      <a:pt x="215" y="24"/>
                    </a:lnTo>
                    <a:lnTo>
                      <a:pt x="224" y="39"/>
                    </a:lnTo>
                    <a:lnTo>
                      <a:pt x="227" y="57"/>
                    </a:lnTo>
                    <a:lnTo>
                      <a:pt x="224" y="74"/>
                    </a:lnTo>
                    <a:lnTo>
                      <a:pt x="215" y="91"/>
                    </a:lnTo>
                    <a:lnTo>
                      <a:pt x="203" y="103"/>
                    </a:lnTo>
                    <a:lnTo>
                      <a:pt x="188" y="110"/>
                    </a:lnTo>
                    <a:lnTo>
                      <a:pt x="170" y="114"/>
                    </a:lnTo>
                    <a:lnTo>
                      <a:pt x="57" y="114"/>
                    </a:lnTo>
                    <a:lnTo>
                      <a:pt x="39" y="110"/>
                    </a:lnTo>
                    <a:lnTo>
                      <a:pt x="24" y="103"/>
                    </a:lnTo>
                    <a:lnTo>
                      <a:pt x="11" y="91"/>
                    </a:lnTo>
                    <a:lnTo>
                      <a:pt x="3" y="74"/>
                    </a:lnTo>
                    <a:lnTo>
                      <a:pt x="0" y="57"/>
                    </a:lnTo>
                    <a:lnTo>
                      <a:pt x="3" y="39"/>
                    </a:lnTo>
                    <a:lnTo>
                      <a:pt x="11" y="24"/>
                    </a:lnTo>
                    <a:lnTo>
                      <a:pt x="24" y="11"/>
                    </a:lnTo>
                    <a:lnTo>
                      <a:pt x="39" y="3"/>
                    </a:lnTo>
                    <a:lnTo>
                      <a:pt x="5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102"/>
              <p:cNvSpPr>
                <a:spLocks/>
              </p:cNvSpPr>
              <p:nvPr/>
            </p:nvSpPr>
            <p:spPr bwMode="auto">
              <a:xfrm>
                <a:off x="9421813" y="2901950"/>
                <a:ext cx="36513" cy="17462"/>
              </a:xfrm>
              <a:custGeom>
                <a:avLst/>
                <a:gdLst>
                  <a:gd name="T0" fmla="*/ 57 w 227"/>
                  <a:gd name="T1" fmla="*/ 0 h 114"/>
                  <a:gd name="T2" fmla="*/ 170 w 227"/>
                  <a:gd name="T3" fmla="*/ 0 h 114"/>
                  <a:gd name="T4" fmla="*/ 188 w 227"/>
                  <a:gd name="T5" fmla="*/ 3 h 114"/>
                  <a:gd name="T6" fmla="*/ 203 w 227"/>
                  <a:gd name="T7" fmla="*/ 12 h 114"/>
                  <a:gd name="T8" fmla="*/ 215 w 227"/>
                  <a:gd name="T9" fmla="*/ 24 h 114"/>
                  <a:gd name="T10" fmla="*/ 224 w 227"/>
                  <a:gd name="T11" fmla="*/ 39 h 114"/>
                  <a:gd name="T12" fmla="*/ 227 w 227"/>
                  <a:gd name="T13" fmla="*/ 57 h 114"/>
                  <a:gd name="T14" fmla="*/ 224 w 227"/>
                  <a:gd name="T15" fmla="*/ 75 h 114"/>
                  <a:gd name="T16" fmla="*/ 215 w 227"/>
                  <a:gd name="T17" fmla="*/ 91 h 114"/>
                  <a:gd name="T18" fmla="*/ 203 w 227"/>
                  <a:gd name="T19" fmla="*/ 103 h 114"/>
                  <a:gd name="T20" fmla="*/ 188 w 227"/>
                  <a:gd name="T21" fmla="*/ 111 h 114"/>
                  <a:gd name="T22" fmla="*/ 170 w 227"/>
                  <a:gd name="T23" fmla="*/ 114 h 114"/>
                  <a:gd name="T24" fmla="*/ 57 w 227"/>
                  <a:gd name="T25" fmla="*/ 114 h 114"/>
                  <a:gd name="T26" fmla="*/ 39 w 227"/>
                  <a:gd name="T27" fmla="*/ 111 h 114"/>
                  <a:gd name="T28" fmla="*/ 24 w 227"/>
                  <a:gd name="T29" fmla="*/ 103 h 114"/>
                  <a:gd name="T30" fmla="*/ 11 w 227"/>
                  <a:gd name="T31" fmla="*/ 91 h 114"/>
                  <a:gd name="T32" fmla="*/ 3 w 227"/>
                  <a:gd name="T33" fmla="*/ 75 h 114"/>
                  <a:gd name="T34" fmla="*/ 0 w 227"/>
                  <a:gd name="T35" fmla="*/ 57 h 114"/>
                  <a:gd name="T36" fmla="*/ 3 w 227"/>
                  <a:gd name="T37" fmla="*/ 39 h 114"/>
                  <a:gd name="T38" fmla="*/ 11 w 227"/>
                  <a:gd name="T39" fmla="*/ 24 h 114"/>
                  <a:gd name="T40" fmla="*/ 24 w 227"/>
                  <a:gd name="T41" fmla="*/ 12 h 114"/>
                  <a:gd name="T42" fmla="*/ 39 w 227"/>
                  <a:gd name="T43" fmla="*/ 3 h 114"/>
                  <a:gd name="T44" fmla="*/ 57 w 227"/>
                  <a:gd name="T45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27" h="114">
                    <a:moveTo>
                      <a:pt x="57" y="0"/>
                    </a:moveTo>
                    <a:lnTo>
                      <a:pt x="170" y="0"/>
                    </a:lnTo>
                    <a:lnTo>
                      <a:pt x="188" y="3"/>
                    </a:lnTo>
                    <a:lnTo>
                      <a:pt x="203" y="12"/>
                    </a:lnTo>
                    <a:lnTo>
                      <a:pt x="215" y="24"/>
                    </a:lnTo>
                    <a:lnTo>
                      <a:pt x="224" y="39"/>
                    </a:lnTo>
                    <a:lnTo>
                      <a:pt x="227" y="57"/>
                    </a:lnTo>
                    <a:lnTo>
                      <a:pt x="224" y="75"/>
                    </a:lnTo>
                    <a:lnTo>
                      <a:pt x="215" y="91"/>
                    </a:lnTo>
                    <a:lnTo>
                      <a:pt x="203" y="103"/>
                    </a:lnTo>
                    <a:lnTo>
                      <a:pt x="188" y="111"/>
                    </a:lnTo>
                    <a:lnTo>
                      <a:pt x="170" y="114"/>
                    </a:lnTo>
                    <a:lnTo>
                      <a:pt x="57" y="114"/>
                    </a:lnTo>
                    <a:lnTo>
                      <a:pt x="39" y="111"/>
                    </a:lnTo>
                    <a:lnTo>
                      <a:pt x="24" y="103"/>
                    </a:lnTo>
                    <a:lnTo>
                      <a:pt x="11" y="91"/>
                    </a:lnTo>
                    <a:lnTo>
                      <a:pt x="3" y="75"/>
                    </a:lnTo>
                    <a:lnTo>
                      <a:pt x="0" y="57"/>
                    </a:lnTo>
                    <a:lnTo>
                      <a:pt x="3" y="39"/>
                    </a:lnTo>
                    <a:lnTo>
                      <a:pt x="11" y="24"/>
                    </a:lnTo>
                    <a:lnTo>
                      <a:pt x="24" y="12"/>
                    </a:lnTo>
                    <a:lnTo>
                      <a:pt x="39" y="3"/>
                    </a:lnTo>
                    <a:lnTo>
                      <a:pt x="5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103"/>
              <p:cNvSpPr>
                <a:spLocks/>
              </p:cNvSpPr>
              <p:nvPr/>
            </p:nvSpPr>
            <p:spPr bwMode="auto">
              <a:xfrm>
                <a:off x="9566276" y="2830513"/>
                <a:ext cx="34925" cy="17462"/>
              </a:xfrm>
              <a:custGeom>
                <a:avLst/>
                <a:gdLst>
                  <a:gd name="T0" fmla="*/ 56 w 226"/>
                  <a:gd name="T1" fmla="*/ 0 h 114"/>
                  <a:gd name="T2" fmla="*/ 170 w 226"/>
                  <a:gd name="T3" fmla="*/ 0 h 114"/>
                  <a:gd name="T4" fmla="*/ 187 w 226"/>
                  <a:gd name="T5" fmla="*/ 3 h 114"/>
                  <a:gd name="T6" fmla="*/ 203 w 226"/>
                  <a:gd name="T7" fmla="*/ 12 h 114"/>
                  <a:gd name="T8" fmla="*/ 215 w 226"/>
                  <a:gd name="T9" fmla="*/ 24 h 114"/>
                  <a:gd name="T10" fmla="*/ 223 w 226"/>
                  <a:gd name="T11" fmla="*/ 40 h 114"/>
                  <a:gd name="T12" fmla="*/ 226 w 226"/>
                  <a:gd name="T13" fmla="*/ 57 h 114"/>
                  <a:gd name="T14" fmla="*/ 223 w 226"/>
                  <a:gd name="T15" fmla="*/ 75 h 114"/>
                  <a:gd name="T16" fmla="*/ 215 w 226"/>
                  <a:gd name="T17" fmla="*/ 91 h 114"/>
                  <a:gd name="T18" fmla="*/ 203 w 226"/>
                  <a:gd name="T19" fmla="*/ 104 h 114"/>
                  <a:gd name="T20" fmla="*/ 187 w 226"/>
                  <a:gd name="T21" fmla="*/ 111 h 114"/>
                  <a:gd name="T22" fmla="*/ 170 w 226"/>
                  <a:gd name="T23" fmla="*/ 114 h 114"/>
                  <a:gd name="T24" fmla="*/ 56 w 226"/>
                  <a:gd name="T25" fmla="*/ 114 h 114"/>
                  <a:gd name="T26" fmla="*/ 39 w 226"/>
                  <a:gd name="T27" fmla="*/ 111 h 114"/>
                  <a:gd name="T28" fmla="*/ 23 w 226"/>
                  <a:gd name="T29" fmla="*/ 104 h 114"/>
                  <a:gd name="T30" fmla="*/ 11 w 226"/>
                  <a:gd name="T31" fmla="*/ 91 h 114"/>
                  <a:gd name="T32" fmla="*/ 3 w 226"/>
                  <a:gd name="T33" fmla="*/ 75 h 114"/>
                  <a:gd name="T34" fmla="*/ 0 w 226"/>
                  <a:gd name="T35" fmla="*/ 57 h 114"/>
                  <a:gd name="T36" fmla="*/ 3 w 226"/>
                  <a:gd name="T37" fmla="*/ 40 h 114"/>
                  <a:gd name="T38" fmla="*/ 11 w 226"/>
                  <a:gd name="T39" fmla="*/ 24 h 114"/>
                  <a:gd name="T40" fmla="*/ 23 w 226"/>
                  <a:gd name="T41" fmla="*/ 12 h 114"/>
                  <a:gd name="T42" fmla="*/ 39 w 226"/>
                  <a:gd name="T43" fmla="*/ 3 h 114"/>
                  <a:gd name="T44" fmla="*/ 56 w 226"/>
                  <a:gd name="T45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26" h="114">
                    <a:moveTo>
                      <a:pt x="56" y="0"/>
                    </a:moveTo>
                    <a:lnTo>
                      <a:pt x="170" y="0"/>
                    </a:lnTo>
                    <a:lnTo>
                      <a:pt x="187" y="3"/>
                    </a:lnTo>
                    <a:lnTo>
                      <a:pt x="203" y="12"/>
                    </a:lnTo>
                    <a:lnTo>
                      <a:pt x="215" y="24"/>
                    </a:lnTo>
                    <a:lnTo>
                      <a:pt x="223" y="40"/>
                    </a:lnTo>
                    <a:lnTo>
                      <a:pt x="226" y="57"/>
                    </a:lnTo>
                    <a:lnTo>
                      <a:pt x="223" y="75"/>
                    </a:lnTo>
                    <a:lnTo>
                      <a:pt x="215" y="91"/>
                    </a:lnTo>
                    <a:lnTo>
                      <a:pt x="203" y="104"/>
                    </a:lnTo>
                    <a:lnTo>
                      <a:pt x="187" y="111"/>
                    </a:lnTo>
                    <a:lnTo>
                      <a:pt x="170" y="114"/>
                    </a:lnTo>
                    <a:lnTo>
                      <a:pt x="56" y="114"/>
                    </a:lnTo>
                    <a:lnTo>
                      <a:pt x="39" y="111"/>
                    </a:lnTo>
                    <a:lnTo>
                      <a:pt x="23" y="104"/>
                    </a:lnTo>
                    <a:lnTo>
                      <a:pt x="11" y="91"/>
                    </a:lnTo>
                    <a:lnTo>
                      <a:pt x="3" y="75"/>
                    </a:lnTo>
                    <a:lnTo>
                      <a:pt x="0" y="57"/>
                    </a:lnTo>
                    <a:lnTo>
                      <a:pt x="3" y="40"/>
                    </a:lnTo>
                    <a:lnTo>
                      <a:pt x="11" y="24"/>
                    </a:lnTo>
                    <a:lnTo>
                      <a:pt x="23" y="12"/>
                    </a:lnTo>
                    <a:lnTo>
                      <a:pt x="39" y="3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104"/>
              <p:cNvSpPr>
                <a:spLocks/>
              </p:cNvSpPr>
              <p:nvPr/>
            </p:nvSpPr>
            <p:spPr bwMode="auto">
              <a:xfrm>
                <a:off x="9566276" y="2794000"/>
                <a:ext cx="34925" cy="17462"/>
              </a:xfrm>
              <a:custGeom>
                <a:avLst/>
                <a:gdLst>
                  <a:gd name="T0" fmla="*/ 56 w 226"/>
                  <a:gd name="T1" fmla="*/ 0 h 114"/>
                  <a:gd name="T2" fmla="*/ 170 w 226"/>
                  <a:gd name="T3" fmla="*/ 0 h 114"/>
                  <a:gd name="T4" fmla="*/ 187 w 226"/>
                  <a:gd name="T5" fmla="*/ 4 h 114"/>
                  <a:gd name="T6" fmla="*/ 203 w 226"/>
                  <a:gd name="T7" fmla="*/ 12 h 114"/>
                  <a:gd name="T8" fmla="*/ 215 w 226"/>
                  <a:gd name="T9" fmla="*/ 24 h 114"/>
                  <a:gd name="T10" fmla="*/ 223 w 226"/>
                  <a:gd name="T11" fmla="*/ 40 h 114"/>
                  <a:gd name="T12" fmla="*/ 226 w 226"/>
                  <a:gd name="T13" fmla="*/ 57 h 114"/>
                  <a:gd name="T14" fmla="*/ 223 w 226"/>
                  <a:gd name="T15" fmla="*/ 75 h 114"/>
                  <a:gd name="T16" fmla="*/ 215 w 226"/>
                  <a:gd name="T17" fmla="*/ 91 h 114"/>
                  <a:gd name="T18" fmla="*/ 203 w 226"/>
                  <a:gd name="T19" fmla="*/ 103 h 114"/>
                  <a:gd name="T20" fmla="*/ 187 w 226"/>
                  <a:gd name="T21" fmla="*/ 111 h 114"/>
                  <a:gd name="T22" fmla="*/ 170 w 226"/>
                  <a:gd name="T23" fmla="*/ 114 h 114"/>
                  <a:gd name="T24" fmla="*/ 56 w 226"/>
                  <a:gd name="T25" fmla="*/ 114 h 114"/>
                  <a:gd name="T26" fmla="*/ 39 w 226"/>
                  <a:gd name="T27" fmla="*/ 111 h 114"/>
                  <a:gd name="T28" fmla="*/ 23 w 226"/>
                  <a:gd name="T29" fmla="*/ 103 h 114"/>
                  <a:gd name="T30" fmla="*/ 11 w 226"/>
                  <a:gd name="T31" fmla="*/ 91 h 114"/>
                  <a:gd name="T32" fmla="*/ 3 w 226"/>
                  <a:gd name="T33" fmla="*/ 75 h 114"/>
                  <a:gd name="T34" fmla="*/ 0 w 226"/>
                  <a:gd name="T35" fmla="*/ 57 h 114"/>
                  <a:gd name="T36" fmla="*/ 3 w 226"/>
                  <a:gd name="T37" fmla="*/ 40 h 114"/>
                  <a:gd name="T38" fmla="*/ 11 w 226"/>
                  <a:gd name="T39" fmla="*/ 24 h 114"/>
                  <a:gd name="T40" fmla="*/ 23 w 226"/>
                  <a:gd name="T41" fmla="*/ 12 h 114"/>
                  <a:gd name="T42" fmla="*/ 39 w 226"/>
                  <a:gd name="T43" fmla="*/ 4 h 114"/>
                  <a:gd name="T44" fmla="*/ 56 w 226"/>
                  <a:gd name="T45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26" h="114">
                    <a:moveTo>
                      <a:pt x="56" y="0"/>
                    </a:moveTo>
                    <a:lnTo>
                      <a:pt x="170" y="0"/>
                    </a:lnTo>
                    <a:lnTo>
                      <a:pt x="187" y="4"/>
                    </a:lnTo>
                    <a:lnTo>
                      <a:pt x="203" y="12"/>
                    </a:lnTo>
                    <a:lnTo>
                      <a:pt x="215" y="24"/>
                    </a:lnTo>
                    <a:lnTo>
                      <a:pt x="223" y="40"/>
                    </a:lnTo>
                    <a:lnTo>
                      <a:pt x="226" y="57"/>
                    </a:lnTo>
                    <a:lnTo>
                      <a:pt x="223" y="75"/>
                    </a:lnTo>
                    <a:lnTo>
                      <a:pt x="215" y="91"/>
                    </a:lnTo>
                    <a:lnTo>
                      <a:pt x="203" y="103"/>
                    </a:lnTo>
                    <a:lnTo>
                      <a:pt x="187" y="111"/>
                    </a:lnTo>
                    <a:lnTo>
                      <a:pt x="170" y="114"/>
                    </a:lnTo>
                    <a:lnTo>
                      <a:pt x="56" y="114"/>
                    </a:lnTo>
                    <a:lnTo>
                      <a:pt x="39" y="111"/>
                    </a:lnTo>
                    <a:lnTo>
                      <a:pt x="23" y="103"/>
                    </a:lnTo>
                    <a:lnTo>
                      <a:pt x="11" y="91"/>
                    </a:lnTo>
                    <a:lnTo>
                      <a:pt x="3" y="75"/>
                    </a:lnTo>
                    <a:lnTo>
                      <a:pt x="0" y="57"/>
                    </a:lnTo>
                    <a:lnTo>
                      <a:pt x="3" y="40"/>
                    </a:lnTo>
                    <a:lnTo>
                      <a:pt x="11" y="24"/>
                    </a:lnTo>
                    <a:lnTo>
                      <a:pt x="23" y="12"/>
                    </a:lnTo>
                    <a:lnTo>
                      <a:pt x="39" y="4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105"/>
              <p:cNvSpPr>
                <a:spLocks/>
              </p:cNvSpPr>
              <p:nvPr/>
            </p:nvSpPr>
            <p:spPr bwMode="auto">
              <a:xfrm>
                <a:off x="9277351" y="3027363"/>
                <a:ext cx="36513" cy="19050"/>
              </a:xfrm>
              <a:custGeom>
                <a:avLst/>
                <a:gdLst>
                  <a:gd name="T0" fmla="*/ 57 w 227"/>
                  <a:gd name="T1" fmla="*/ 0 h 114"/>
                  <a:gd name="T2" fmla="*/ 170 w 227"/>
                  <a:gd name="T3" fmla="*/ 0 h 114"/>
                  <a:gd name="T4" fmla="*/ 188 w 227"/>
                  <a:gd name="T5" fmla="*/ 3 h 114"/>
                  <a:gd name="T6" fmla="*/ 203 w 227"/>
                  <a:gd name="T7" fmla="*/ 12 h 114"/>
                  <a:gd name="T8" fmla="*/ 216 w 227"/>
                  <a:gd name="T9" fmla="*/ 24 h 114"/>
                  <a:gd name="T10" fmla="*/ 224 w 227"/>
                  <a:gd name="T11" fmla="*/ 40 h 114"/>
                  <a:gd name="T12" fmla="*/ 227 w 227"/>
                  <a:gd name="T13" fmla="*/ 57 h 114"/>
                  <a:gd name="T14" fmla="*/ 224 w 227"/>
                  <a:gd name="T15" fmla="*/ 75 h 114"/>
                  <a:gd name="T16" fmla="*/ 216 w 227"/>
                  <a:gd name="T17" fmla="*/ 91 h 114"/>
                  <a:gd name="T18" fmla="*/ 203 w 227"/>
                  <a:gd name="T19" fmla="*/ 103 h 114"/>
                  <a:gd name="T20" fmla="*/ 188 w 227"/>
                  <a:gd name="T21" fmla="*/ 111 h 114"/>
                  <a:gd name="T22" fmla="*/ 170 w 227"/>
                  <a:gd name="T23" fmla="*/ 114 h 114"/>
                  <a:gd name="T24" fmla="*/ 57 w 227"/>
                  <a:gd name="T25" fmla="*/ 114 h 114"/>
                  <a:gd name="T26" fmla="*/ 39 w 227"/>
                  <a:gd name="T27" fmla="*/ 111 h 114"/>
                  <a:gd name="T28" fmla="*/ 24 w 227"/>
                  <a:gd name="T29" fmla="*/ 103 h 114"/>
                  <a:gd name="T30" fmla="*/ 12 w 227"/>
                  <a:gd name="T31" fmla="*/ 91 h 114"/>
                  <a:gd name="T32" fmla="*/ 3 w 227"/>
                  <a:gd name="T33" fmla="*/ 75 h 114"/>
                  <a:gd name="T34" fmla="*/ 0 w 227"/>
                  <a:gd name="T35" fmla="*/ 57 h 114"/>
                  <a:gd name="T36" fmla="*/ 3 w 227"/>
                  <a:gd name="T37" fmla="*/ 40 h 114"/>
                  <a:gd name="T38" fmla="*/ 12 w 227"/>
                  <a:gd name="T39" fmla="*/ 24 h 114"/>
                  <a:gd name="T40" fmla="*/ 24 w 227"/>
                  <a:gd name="T41" fmla="*/ 12 h 114"/>
                  <a:gd name="T42" fmla="*/ 39 w 227"/>
                  <a:gd name="T43" fmla="*/ 3 h 114"/>
                  <a:gd name="T44" fmla="*/ 57 w 227"/>
                  <a:gd name="T45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27" h="114">
                    <a:moveTo>
                      <a:pt x="57" y="0"/>
                    </a:moveTo>
                    <a:lnTo>
                      <a:pt x="170" y="0"/>
                    </a:lnTo>
                    <a:lnTo>
                      <a:pt x="188" y="3"/>
                    </a:lnTo>
                    <a:lnTo>
                      <a:pt x="203" y="12"/>
                    </a:lnTo>
                    <a:lnTo>
                      <a:pt x="216" y="24"/>
                    </a:lnTo>
                    <a:lnTo>
                      <a:pt x="224" y="40"/>
                    </a:lnTo>
                    <a:lnTo>
                      <a:pt x="227" y="57"/>
                    </a:lnTo>
                    <a:lnTo>
                      <a:pt x="224" y="75"/>
                    </a:lnTo>
                    <a:lnTo>
                      <a:pt x="216" y="91"/>
                    </a:lnTo>
                    <a:lnTo>
                      <a:pt x="203" y="103"/>
                    </a:lnTo>
                    <a:lnTo>
                      <a:pt x="188" y="111"/>
                    </a:lnTo>
                    <a:lnTo>
                      <a:pt x="170" y="114"/>
                    </a:lnTo>
                    <a:lnTo>
                      <a:pt x="57" y="114"/>
                    </a:lnTo>
                    <a:lnTo>
                      <a:pt x="39" y="111"/>
                    </a:lnTo>
                    <a:lnTo>
                      <a:pt x="24" y="103"/>
                    </a:lnTo>
                    <a:lnTo>
                      <a:pt x="12" y="91"/>
                    </a:lnTo>
                    <a:lnTo>
                      <a:pt x="3" y="75"/>
                    </a:lnTo>
                    <a:lnTo>
                      <a:pt x="0" y="57"/>
                    </a:lnTo>
                    <a:lnTo>
                      <a:pt x="3" y="40"/>
                    </a:lnTo>
                    <a:lnTo>
                      <a:pt x="12" y="24"/>
                    </a:lnTo>
                    <a:lnTo>
                      <a:pt x="24" y="12"/>
                    </a:lnTo>
                    <a:lnTo>
                      <a:pt x="39" y="3"/>
                    </a:lnTo>
                    <a:lnTo>
                      <a:pt x="5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106"/>
              <p:cNvSpPr>
                <a:spLocks/>
              </p:cNvSpPr>
              <p:nvPr/>
            </p:nvSpPr>
            <p:spPr bwMode="auto">
              <a:xfrm>
                <a:off x="9134476" y="3081338"/>
                <a:ext cx="34925" cy="19050"/>
              </a:xfrm>
              <a:custGeom>
                <a:avLst/>
                <a:gdLst>
                  <a:gd name="T0" fmla="*/ 56 w 226"/>
                  <a:gd name="T1" fmla="*/ 0 h 113"/>
                  <a:gd name="T2" fmla="*/ 170 w 226"/>
                  <a:gd name="T3" fmla="*/ 0 h 113"/>
                  <a:gd name="T4" fmla="*/ 187 w 226"/>
                  <a:gd name="T5" fmla="*/ 3 h 113"/>
                  <a:gd name="T6" fmla="*/ 203 w 226"/>
                  <a:gd name="T7" fmla="*/ 11 h 113"/>
                  <a:gd name="T8" fmla="*/ 215 w 226"/>
                  <a:gd name="T9" fmla="*/ 23 h 113"/>
                  <a:gd name="T10" fmla="*/ 223 w 226"/>
                  <a:gd name="T11" fmla="*/ 39 h 113"/>
                  <a:gd name="T12" fmla="*/ 226 w 226"/>
                  <a:gd name="T13" fmla="*/ 56 h 113"/>
                  <a:gd name="T14" fmla="*/ 223 w 226"/>
                  <a:gd name="T15" fmla="*/ 75 h 113"/>
                  <a:gd name="T16" fmla="*/ 215 w 226"/>
                  <a:gd name="T17" fmla="*/ 90 h 113"/>
                  <a:gd name="T18" fmla="*/ 203 w 226"/>
                  <a:gd name="T19" fmla="*/ 103 h 113"/>
                  <a:gd name="T20" fmla="*/ 187 w 226"/>
                  <a:gd name="T21" fmla="*/ 110 h 113"/>
                  <a:gd name="T22" fmla="*/ 170 w 226"/>
                  <a:gd name="T23" fmla="*/ 113 h 113"/>
                  <a:gd name="T24" fmla="*/ 56 w 226"/>
                  <a:gd name="T25" fmla="*/ 113 h 113"/>
                  <a:gd name="T26" fmla="*/ 39 w 226"/>
                  <a:gd name="T27" fmla="*/ 110 h 113"/>
                  <a:gd name="T28" fmla="*/ 23 w 226"/>
                  <a:gd name="T29" fmla="*/ 103 h 113"/>
                  <a:gd name="T30" fmla="*/ 11 w 226"/>
                  <a:gd name="T31" fmla="*/ 90 h 113"/>
                  <a:gd name="T32" fmla="*/ 3 w 226"/>
                  <a:gd name="T33" fmla="*/ 75 h 113"/>
                  <a:gd name="T34" fmla="*/ 0 w 226"/>
                  <a:gd name="T35" fmla="*/ 56 h 113"/>
                  <a:gd name="T36" fmla="*/ 3 w 226"/>
                  <a:gd name="T37" fmla="*/ 39 h 113"/>
                  <a:gd name="T38" fmla="*/ 11 w 226"/>
                  <a:gd name="T39" fmla="*/ 23 h 113"/>
                  <a:gd name="T40" fmla="*/ 23 w 226"/>
                  <a:gd name="T41" fmla="*/ 11 h 113"/>
                  <a:gd name="T42" fmla="*/ 39 w 226"/>
                  <a:gd name="T43" fmla="*/ 3 h 113"/>
                  <a:gd name="T44" fmla="*/ 56 w 226"/>
                  <a:gd name="T45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26" h="113">
                    <a:moveTo>
                      <a:pt x="56" y="0"/>
                    </a:moveTo>
                    <a:lnTo>
                      <a:pt x="170" y="0"/>
                    </a:lnTo>
                    <a:lnTo>
                      <a:pt x="187" y="3"/>
                    </a:lnTo>
                    <a:lnTo>
                      <a:pt x="203" y="11"/>
                    </a:lnTo>
                    <a:lnTo>
                      <a:pt x="215" y="23"/>
                    </a:lnTo>
                    <a:lnTo>
                      <a:pt x="223" y="39"/>
                    </a:lnTo>
                    <a:lnTo>
                      <a:pt x="226" y="56"/>
                    </a:lnTo>
                    <a:lnTo>
                      <a:pt x="223" y="75"/>
                    </a:lnTo>
                    <a:lnTo>
                      <a:pt x="215" y="90"/>
                    </a:lnTo>
                    <a:lnTo>
                      <a:pt x="203" y="103"/>
                    </a:lnTo>
                    <a:lnTo>
                      <a:pt x="187" y="110"/>
                    </a:lnTo>
                    <a:lnTo>
                      <a:pt x="170" y="113"/>
                    </a:lnTo>
                    <a:lnTo>
                      <a:pt x="56" y="113"/>
                    </a:lnTo>
                    <a:lnTo>
                      <a:pt x="39" y="110"/>
                    </a:lnTo>
                    <a:lnTo>
                      <a:pt x="23" y="103"/>
                    </a:lnTo>
                    <a:lnTo>
                      <a:pt x="11" y="90"/>
                    </a:lnTo>
                    <a:lnTo>
                      <a:pt x="3" y="75"/>
                    </a:lnTo>
                    <a:lnTo>
                      <a:pt x="0" y="56"/>
                    </a:lnTo>
                    <a:lnTo>
                      <a:pt x="3" y="39"/>
                    </a:lnTo>
                    <a:lnTo>
                      <a:pt x="11" y="23"/>
                    </a:lnTo>
                    <a:lnTo>
                      <a:pt x="23" y="11"/>
                    </a:lnTo>
                    <a:lnTo>
                      <a:pt x="39" y="3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107"/>
              <p:cNvSpPr>
                <a:spLocks/>
              </p:cNvSpPr>
              <p:nvPr/>
            </p:nvSpPr>
            <p:spPr bwMode="auto">
              <a:xfrm>
                <a:off x="9134476" y="3117850"/>
                <a:ext cx="34925" cy="19050"/>
              </a:xfrm>
              <a:custGeom>
                <a:avLst/>
                <a:gdLst>
                  <a:gd name="T0" fmla="*/ 56 w 226"/>
                  <a:gd name="T1" fmla="*/ 0 h 113"/>
                  <a:gd name="T2" fmla="*/ 170 w 226"/>
                  <a:gd name="T3" fmla="*/ 0 h 113"/>
                  <a:gd name="T4" fmla="*/ 187 w 226"/>
                  <a:gd name="T5" fmla="*/ 3 h 113"/>
                  <a:gd name="T6" fmla="*/ 203 w 226"/>
                  <a:gd name="T7" fmla="*/ 11 h 113"/>
                  <a:gd name="T8" fmla="*/ 215 w 226"/>
                  <a:gd name="T9" fmla="*/ 23 h 113"/>
                  <a:gd name="T10" fmla="*/ 223 w 226"/>
                  <a:gd name="T11" fmla="*/ 39 h 113"/>
                  <a:gd name="T12" fmla="*/ 226 w 226"/>
                  <a:gd name="T13" fmla="*/ 56 h 113"/>
                  <a:gd name="T14" fmla="*/ 223 w 226"/>
                  <a:gd name="T15" fmla="*/ 74 h 113"/>
                  <a:gd name="T16" fmla="*/ 215 w 226"/>
                  <a:gd name="T17" fmla="*/ 90 h 113"/>
                  <a:gd name="T18" fmla="*/ 203 w 226"/>
                  <a:gd name="T19" fmla="*/ 103 h 113"/>
                  <a:gd name="T20" fmla="*/ 187 w 226"/>
                  <a:gd name="T21" fmla="*/ 110 h 113"/>
                  <a:gd name="T22" fmla="*/ 170 w 226"/>
                  <a:gd name="T23" fmla="*/ 113 h 113"/>
                  <a:gd name="T24" fmla="*/ 56 w 226"/>
                  <a:gd name="T25" fmla="*/ 113 h 113"/>
                  <a:gd name="T26" fmla="*/ 39 w 226"/>
                  <a:gd name="T27" fmla="*/ 110 h 113"/>
                  <a:gd name="T28" fmla="*/ 23 w 226"/>
                  <a:gd name="T29" fmla="*/ 103 h 113"/>
                  <a:gd name="T30" fmla="*/ 11 w 226"/>
                  <a:gd name="T31" fmla="*/ 90 h 113"/>
                  <a:gd name="T32" fmla="*/ 3 w 226"/>
                  <a:gd name="T33" fmla="*/ 74 h 113"/>
                  <a:gd name="T34" fmla="*/ 0 w 226"/>
                  <a:gd name="T35" fmla="*/ 56 h 113"/>
                  <a:gd name="T36" fmla="*/ 3 w 226"/>
                  <a:gd name="T37" fmla="*/ 39 h 113"/>
                  <a:gd name="T38" fmla="*/ 11 w 226"/>
                  <a:gd name="T39" fmla="*/ 23 h 113"/>
                  <a:gd name="T40" fmla="*/ 23 w 226"/>
                  <a:gd name="T41" fmla="*/ 11 h 113"/>
                  <a:gd name="T42" fmla="*/ 39 w 226"/>
                  <a:gd name="T43" fmla="*/ 3 h 113"/>
                  <a:gd name="T44" fmla="*/ 56 w 226"/>
                  <a:gd name="T45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26" h="113">
                    <a:moveTo>
                      <a:pt x="56" y="0"/>
                    </a:moveTo>
                    <a:lnTo>
                      <a:pt x="170" y="0"/>
                    </a:lnTo>
                    <a:lnTo>
                      <a:pt x="187" y="3"/>
                    </a:lnTo>
                    <a:lnTo>
                      <a:pt x="203" y="11"/>
                    </a:lnTo>
                    <a:lnTo>
                      <a:pt x="215" y="23"/>
                    </a:lnTo>
                    <a:lnTo>
                      <a:pt x="223" y="39"/>
                    </a:lnTo>
                    <a:lnTo>
                      <a:pt x="226" y="56"/>
                    </a:lnTo>
                    <a:lnTo>
                      <a:pt x="223" y="74"/>
                    </a:lnTo>
                    <a:lnTo>
                      <a:pt x="215" y="90"/>
                    </a:lnTo>
                    <a:lnTo>
                      <a:pt x="203" y="103"/>
                    </a:lnTo>
                    <a:lnTo>
                      <a:pt x="187" y="110"/>
                    </a:lnTo>
                    <a:lnTo>
                      <a:pt x="170" y="113"/>
                    </a:lnTo>
                    <a:lnTo>
                      <a:pt x="56" y="113"/>
                    </a:lnTo>
                    <a:lnTo>
                      <a:pt x="39" y="110"/>
                    </a:lnTo>
                    <a:lnTo>
                      <a:pt x="23" y="103"/>
                    </a:lnTo>
                    <a:lnTo>
                      <a:pt x="11" y="90"/>
                    </a:lnTo>
                    <a:lnTo>
                      <a:pt x="3" y="74"/>
                    </a:lnTo>
                    <a:lnTo>
                      <a:pt x="0" y="56"/>
                    </a:lnTo>
                    <a:lnTo>
                      <a:pt x="3" y="39"/>
                    </a:lnTo>
                    <a:lnTo>
                      <a:pt x="11" y="23"/>
                    </a:lnTo>
                    <a:lnTo>
                      <a:pt x="23" y="11"/>
                    </a:lnTo>
                    <a:lnTo>
                      <a:pt x="39" y="3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94" name="Text Box 27"/>
            <p:cNvSpPr txBox="1">
              <a:spLocks/>
            </p:cNvSpPr>
            <p:nvPr/>
          </p:nvSpPr>
          <p:spPr bwMode="auto">
            <a:xfrm>
              <a:off x="5082259" y="1716971"/>
              <a:ext cx="2070000" cy="15766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175" cap="flat" cmpd="sng">
                  <a:solidFill>
                    <a:srgbClr val="000000"/>
                  </a:solidFill>
                  <a:prstDash val="solid"/>
                  <a:miter lim="40000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27093" tIns="27093" rIns="27093" bIns="27093"/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algn="ctr">
                <a:defRPr sz="1800">
                  <a:solidFill>
                    <a:srgbClr val="007CB8"/>
                  </a:solidFill>
                  <a:latin typeface="Source Sans Pro SemiBold" panose="020B0603030403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ru-RU" altLang="ru-RU" sz="1400" dirty="0" smtClean="0">
                  <a:solidFill>
                    <a:srgbClr val="00B1D2"/>
                  </a:solidFill>
                  <a:sym typeface="Arial" panose="020B0604020202020204" pitchFamily="34" charset="0"/>
                </a:rPr>
                <a:t>3. </a:t>
              </a:r>
              <a:r>
                <a:rPr lang="en-US" altLang="ru-RU" sz="1400" dirty="0" smtClean="0">
                  <a:solidFill>
                    <a:srgbClr val="00B1D2"/>
                  </a:solidFill>
                  <a:sym typeface="Arial" panose="020B0604020202020204" pitchFamily="34" charset="0"/>
                </a:rPr>
                <a:t>We structured information on IFIs and development agencies’ approaches and </a:t>
              </a:r>
              <a:br>
                <a:rPr lang="en-US" altLang="ru-RU" sz="1400" dirty="0" smtClean="0">
                  <a:solidFill>
                    <a:srgbClr val="00B1D2"/>
                  </a:solidFill>
                  <a:sym typeface="Arial" panose="020B0604020202020204" pitchFamily="34" charset="0"/>
                </a:rPr>
              </a:br>
              <a:r>
                <a:rPr lang="en-US" altLang="ru-RU" sz="1400" dirty="0" smtClean="0">
                  <a:solidFill>
                    <a:srgbClr val="00B1D2"/>
                  </a:solidFill>
                  <a:sym typeface="Arial" panose="020B0604020202020204" pitchFamily="34" charset="0"/>
                </a:rPr>
                <a:t>tools for TA.</a:t>
              </a:r>
              <a:endParaRPr lang="ru-RU" altLang="ru-RU" sz="1400" dirty="0">
                <a:solidFill>
                  <a:srgbClr val="00B1D2"/>
                </a:solidFill>
                <a:sym typeface="Arial" panose="020B0604020202020204" pitchFamily="34" charset="0"/>
              </a:endParaRPr>
            </a:p>
          </p:txBody>
        </p:sp>
        <p:grpSp>
          <p:nvGrpSpPr>
            <p:cNvPr id="95" name="Group 1403"/>
            <p:cNvGrpSpPr>
              <a:grpSpLocks noChangeAspect="1"/>
            </p:cNvGrpSpPr>
            <p:nvPr/>
          </p:nvGrpSpPr>
          <p:grpSpPr>
            <a:xfrm>
              <a:off x="3817208" y="2810886"/>
              <a:ext cx="720000" cy="720000"/>
              <a:chOff x="7223125" y="5014913"/>
              <a:chExt cx="536575" cy="536575"/>
            </a:xfrm>
            <a:solidFill>
              <a:srgbClr val="919BC9"/>
            </a:solidFill>
          </p:grpSpPr>
          <p:sp>
            <p:nvSpPr>
              <p:cNvPr id="96" name="Freeform 818"/>
              <p:cNvSpPr>
                <a:spLocks noEditPoints="1"/>
              </p:cNvSpPr>
              <p:nvPr/>
            </p:nvSpPr>
            <p:spPr bwMode="auto">
              <a:xfrm>
                <a:off x="7223125" y="5014913"/>
                <a:ext cx="536575" cy="536575"/>
              </a:xfrm>
              <a:custGeom>
                <a:avLst/>
                <a:gdLst>
                  <a:gd name="T0" fmla="*/ 113 w 3380"/>
                  <a:gd name="T1" fmla="*/ 2479 h 3380"/>
                  <a:gd name="T2" fmla="*/ 3267 w 3380"/>
                  <a:gd name="T3" fmla="*/ 338 h 3380"/>
                  <a:gd name="T4" fmla="*/ 1690 w 3380"/>
                  <a:gd name="T5" fmla="*/ 0 h 3380"/>
                  <a:gd name="T6" fmla="*/ 1723 w 3380"/>
                  <a:gd name="T7" fmla="*/ 11 h 3380"/>
                  <a:gd name="T8" fmla="*/ 1743 w 3380"/>
                  <a:gd name="T9" fmla="*/ 39 h 3380"/>
                  <a:gd name="T10" fmla="*/ 1746 w 3380"/>
                  <a:gd name="T11" fmla="*/ 225 h 3380"/>
                  <a:gd name="T12" fmla="*/ 3380 w 3380"/>
                  <a:gd name="T13" fmla="*/ 2591 h 3380"/>
                  <a:gd name="T14" fmla="*/ 2519 w 3380"/>
                  <a:gd name="T15" fmla="*/ 3284 h 3380"/>
                  <a:gd name="T16" fmla="*/ 2533 w 3380"/>
                  <a:gd name="T17" fmla="*/ 3309 h 3380"/>
                  <a:gd name="T18" fmla="*/ 2533 w 3380"/>
                  <a:gd name="T19" fmla="*/ 3338 h 3380"/>
                  <a:gd name="T20" fmla="*/ 2519 w 3380"/>
                  <a:gd name="T21" fmla="*/ 3364 h 3380"/>
                  <a:gd name="T22" fmla="*/ 2493 w 3380"/>
                  <a:gd name="T23" fmla="*/ 3378 h 3380"/>
                  <a:gd name="T24" fmla="*/ 2464 w 3380"/>
                  <a:gd name="T25" fmla="*/ 3378 h 3380"/>
                  <a:gd name="T26" fmla="*/ 2439 w 3380"/>
                  <a:gd name="T27" fmla="*/ 3364 h 3380"/>
                  <a:gd name="T28" fmla="*/ 1746 w 3380"/>
                  <a:gd name="T29" fmla="*/ 3211 h 3380"/>
                  <a:gd name="T30" fmla="*/ 1735 w 3380"/>
                  <a:gd name="T31" fmla="*/ 3244 h 3380"/>
                  <a:gd name="T32" fmla="*/ 1707 w 3380"/>
                  <a:gd name="T33" fmla="*/ 3264 h 3380"/>
                  <a:gd name="T34" fmla="*/ 1673 w 3380"/>
                  <a:gd name="T35" fmla="*/ 3264 h 3380"/>
                  <a:gd name="T36" fmla="*/ 1645 w 3380"/>
                  <a:gd name="T37" fmla="*/ 3244 h 3380"/>
                  <a:gd name="T38" fmla="*/ 1634 w 3380"/>
                  <a:gd name="T39" fmla="*/ 3211 h 3380"/>
                  <a:gd name="T40" fmla="*/ 941 w 3380"/>
                  <a:gd name="T41" fmla="*/ 3364 h 3380"/>
                  <a:gd name="T42" fmla="*/ 916 w 3380"/>
                  <a:gd name="T43" fmla="*/ 3378 h 3380"/>
                  <a:gd name="T44" fmla="*/ 887 w 3380"/>
                  <a:gd name="T45" fmla="*/ 3378 h 3380"/>
                  <a:gd name="T46" fmla="*/ 861 w 3380"/>
                  <a:gd name="T47" fmla="*/ 3364 h 3380"/>
                  <a:gd name="T48" fmla="*/ 847 w 3380"/>
                  <a:gd name="T49" fmla="*/ 3338 h 3380"/>
                  <a:gd name="T50" fmla="*/ 847 w 3380"/>
                  <a:gd name="T51" fmla="*/ 3309 h 3380"/>
                  <a:gd name="T52" fmla="*/ 861 w 3380"/>
                  <a:gd name="T53" fmla="*/ 3284 h 3380"/>
                  <a:gd name="T54" fmla="*/ 0 w 3380"/>
                  <a:gd name="T55" fmla="*/ 2591 h 3380"/>
                  <a:gd name="T56" fmla="*/ 1634 w 3380"/>
                  <a:gd name="T57" fmla="*/ 225 h 3380"/>
                  <a:gd name="T58" fmla="*/ 1637 w 3380"/>
                  <a:gd name="T59" fmla="*/ 39 h 3380"/>
                  <a:gd name="T60" fmla="*/ 1657 w 3380"/>
                  <a:gd name="T61" fmla="*/ 11 h 3380"/>
                  <a:gd name="T62" fmla="*/ 1690 w 3380"/>
                  <a:gd name="T63" fmla="*/ 0 h 3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380" h="3380">
                    <a:moveTo>
                      <a:pt x="113" y="338"/>
                    </a:moveTo>
                    <a:lnTo>
                      <a:pt x="113" y="2479"/>
                    </a:lnTo>
                    <a:lnTo>
                      <a:pt x="3267" y="2479"/>
                    </a:lnTo>
                    <a:lnTo>
                      <a:pt x="3267" y="338"/>
                    </a:lnTo>
                    <a:lnTo>
                      <a:pt x="113" y="338"/>
                    </a:lnTo>
                    <a:close/>
                    <a:moveTo>
                      <a:pt x="1690" y="0"/>
                    </a:moveTo>
                    <a:lnTo>
                      <a:pt x="1707" y="3"/>
                    </a:lnTo>
                    <a:lnTo>
                      <a:pt x="1723" y="11"/>
                    </a:lnTo>
                    <a:lnTo>
                      <a:pt x="1735" y="24"/>
                    </a:lnTo>
                    <a:lnTo>
                      <a:pt x="1743" y="39"/>
                    </a:lnTo>
                    <a:lnTo>
                      <a:pt x="1746" y="56"/>
                    </a:lnTo>
                    <a:lnTo>
                      <a:pt x="1746" y="225"/>
                    </a:lnTo>
                    <a:lnTo>
                      <a:pt x="3380" y="225"/>
                    </a:lnTo>
                    <a:lnTo>
                      <a:pt x="3380" y="2591"/>
                    </a:lnTo>
                    <a:lnTo>
                      <a:pt x="1826" y="2591"/>
                    </a:lnTo>
                    <a:lnTo>
                      <a:pt x="2519" y="3284"/>
                    </a:lnTo>
                    <a:lnTo>
                      <a:pt x="2528" y="3296"/>
                    </a:lnTo>
                    <a:lnTo>
                      <a:pt x="2533" y="3309"/>
                    </a:lnTo>
                    <a:lnTo>
                      <a:pt x="2535" y="3324"/>
                    </a:lnTo>
                    <a:lnTo>
                      <a:pt x="2533" y="3338"/>
                    </a:lnTo>
                    <a:lnTo>
                      <a:pt x="2528" y="3351"/>
                    </a:lnTo>
                    <a:lnTo>
                      <a:pt x="2519" y="3364"/>
                    </a:lnTo>
                    <a:lnTo>
                      <a:pt x="2506" y="3373"/>
                    </a:lnTo>
                    <a:lnTo>
                      <a:pt x="2493" y="3378"/>
                    </a:lnTo>
                    <a:lnTo>
                      <a:pt x="2479" y="3380"/>
                    </a:lnTo>
                    <a:lnTo>
                      <a:pt x="2464" y="3378"/>
                    </a:lnTo>
                    <a:lnTo>
                      <a:pt x="2451" y="3373"/>
                    </a:lnTo>
                    <a:lnTo>
                      <a:pt x="2439" y="3364"/>
                    </a:lnTo>
                    <a:lnTo>
                      <a:pt x="1746" y="2671"/>
                    </a:lnTo>
                    <a:lnTo>
                      <a:pt x="1746" y="3211"/>
                    </a:lnTo>
                    <a:lnTo>
                      <a:pt x="1743" y="3228"/>
                    </a:lnTo>
                    <a:lnTo>
                      <a:pt x="1735" y="3244"/>
                    </a:lnTo>
                    <a:lnTo>
                      <a:pt x="1723" y="3256"/>
                    </a:lnTo>
                    <a:lnTo>
                      <a:pt x="1707" y="3264"/>
                    </a:lnTo>
                    <a:lnTo>
                      <a:pt x="1690" y="3267"/>
                    </a:lnTo>
                    <a:lnTo>
                      <a:pt x="1673" y="3264"/>
                    </a:lnTo>
                    <a:lnTo>
                      <a:pt x="1657" y="3256"/>
                    </a:lnTo>
                    <a:lnTo>
                      <a:pt x="1645" y="3244"/>
                    </a:lnTo>
                    <a:lnTo>
                      <a:pt x="1637" y="3228"/>
                    </a:lnTo>
                    <a:lnTo>
                      <a:pt x="1634" y="3211"/>
                    </a:lnTo>
                    <a:lnTo>
                      <a:pt x="1634" y="2671"/>
                    </a:lnTo>
                    <a:lnTo>
                      <a:pt x="941" y="3364"/>
                    </a:lnTo>
                    <a:lnTo>
                      <a:pt x="929" y="3373"/>
                    </a:lnTo>
                    <a:lnTo>
                      <a:pt x="916" y="3378"/>
                    </a:lnTo>
                    <a:lnTo>
                      <a:pt x="901" y="3380"/>
                    </a:lnTo>
                    <a:lnTo>
                      <a:pt x="887" y="3378"/>
                    </a:lnTo>
                    <a:lnTo>
                      <a:pt x="874" y="3373"/>
                    </a:lnTo>
                    <a:lnTo>
                      <a:pt x="861" y="3364"/>
                    </a:lnTo>
                    <a:lnTo>
                      <a:pt x="852" y="3351"/>
                    </a:lnTo>
                    <a:lnTo>
                      <a:pt x="847" y="3338"/>
                    </a:lnTo>
                    <a:lnTo>
                      <a:pt x="845" y="3324"/>
                    </a:lnTo>
                    <a:lnTo>
                      <a:pt x="847" y="3309"/>
                    </a:lnTo>
                    <a:lnTo>
                      <a:pt x="852" y="3296"/>
                    </a:lnTo>
                    <a:lnTo>
                      <a:pt x="861" y="3284"/>
                    </a:lnTo>
                    <a:lnTo>
                      <a:pt x="1554" y="2591"/>
                    </a:lnTo>
                    <a:lnTo>
                      <a:pt x="0" y="2591"/>
                    </a:lnTo>
                    <a:lnTo>
                      <a:pt x="0" y="225"/>
                    </a:lnTo>
                    <a:lnTo>
                      <a:pt x="1634" y="225"/>
                    </a:lnTo>
                    <a:lnTo>
                      <a:pt x="1634" y="56"/>
                    </a:lnTo>
                    <a:lnTo>
                      <a:pt x="1637" y="39"/>
                    </a:lnTo>
                    <a:lnTo>
                      <a:pt x="1645" y="24"/>
                    </a:lnTo>
                    <a:lnTo>
                      <a:pt x="1657" y="11"/>
                    </a:lnTo>
                    <a:lnTo>
                      <a:pt x="1673" y="3"/>
                    </a:lnTo>
                    <a:lnTo>
                      <a:pt x="1690" y="0"/>
                    </a:lnTo>
                    <a:close/>
                  </a:path>
                </a:pathLst>
              </a:custGeom>
              <a:grpFill/>
              <a:ln w="0">
                <a:solidFill>
                  <a:srgbClr val="919BC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819"/>
              <p:cNvSpPr>
                <a:spLocks/>
              </p:cNvSpPr>
              <p:nvPr/>
            </p:nvSpPr>
            <p:spPr bwMode="auto">
              <a:xfrm>
                <a:off x="7527925" y="5354638"/>
                <a:ext cx="150813" cy="17463"/>
              </a:xfrm>
              <a:custGeom>
                <a:avLst/>
                <a:gdLst>
                  <a:gd name="T0" fmla="*/ 57 w 958"/>
                  <a:gd name="T1" fmla="*/ 0 h 112"/>
                  <a:gd name="T2" fmla="*/ 902 w 958"/>
                  <a:gd name="T3" fmla="*/ 0 h 112"/>
                  <a:gd name="T4" fmla="*/ 919 w 958"/>
                  <a:gd name="T5" fmla="*/ 3 h 112"/>
                  <a:gd name="T6" fmla="*/ 934 w 958"/>
                  <a:gd name="T7" fmla="*/ 11 h 112"/>
                  <a:gd name="T8" fmla="*/ 947 w 958"/>
                  <a:gd name="T9" fmla="*/ 22 h 112"/>
                  <a:gd name="T10" fmla="*/ 955 w 958"/>
                  <a:gd name="T11" fmla="*/ 39 h 112"/>
                  <a:gd name="T12" fmla="*/ 958 w 958"/>
                  <a:gd name="T13" fmla="*/ 56 h 112"/>
                  <a:gd name="T14" fmla="*/ 955 w 958"/>
                  <a:gd name="T15" fmla="*/ 73 h 112"/>
                  <a:gd name="T16" fmla="*/ 947 w 958"/>
                  <a:gd name="T17" fmla="*/ 89 h 112"/>
                  <a:gd name="T18" fmla="*/ 934 w 958"/>
                  <a:gd name="T19" fmla="*/ 101 h 112"/>
                  <a:gd name="T20" fmla="*/ 919 w 958"/>
                  <a:gd name="T21" fmla="*/ 109 h 112"/>
                  <a:gd name="T22" fmla="*/ 902 w 958"/>
                  <a:gd name="T23" fmla="*/ 112 h 112"/>
                  <a:gd name="T24" fmla="*/ 57 w 958"/>
                  <a:gd name="T25" fmla="*/ 112 h 112"/>
                  <a:gd name="T26" fmla="*/ 39 w 958"/>
                  <a:gd name="T27" fmla="*/ 109 h 112"/>
                  <a:gd name="T28" fmla="*/ 24 w 958"/>
                  <a:gd name="T29" fmla="*/ 101 h 112"/>
                  <a:gd name="T30" fmla="*/ 12 w 958"/>
                  <a:gd name="T31" fmla="*/ 89 h 112"/>
                  <a:gd name="T32" fmla="*/ 3 w 958"/>
                  <a:gd name="T33" fmla="*/ 73 h 112"/>
                  <a:gd name="T34" fmla="*/ 0 w 958"/>
                  <a:gd name="T35" fmla="*/ 56 h 112"/>
                  <a:gd name="T36" fmla="*/ 3 w 958"/>
                  <a:gd name="T37" fmla="*/ 39 h 112"/>
                  <a:gd name="T38" fmla="*/ 12 w 958"/>
                  <a:gd name="T39" fmla="*/ 22 h 112"/>
                  <a:gd name="T40" fmla="*/ 24 w 958"/>
                  <a:gd name="T41" fmla="*/ 11 h 112"/>
                  <a:gd name="T42" fmla="*/ 39 w 958"/>
                  <a:gd name="T43" fmla="*/ 3 h 112"/>
                  <a:gd name="T44" fmla="*/ 57 w 958"/>
                  <a:gd name="T45" fmla="*/ 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958" h="112">
                    <a:moveTo>
                      <a:pt x="57" y="0"/>
                    </a:moveTo>
                    <a:lnTo>
                      <a:pt x="902" y="0"/>
                    </a:lnTo>
                    <a:lnTo>
                      <a:pt x="919" y="3"/>
                    </a:lnTo>
                    <a:lnTo>
                      <a:pt x="934" y="11"/>
                    </a:lnTo>
                    <a:lnTo>
                      <a:pt x="947" y="22"/>
                    </a:lnTo>
                    <a:lnTo>
                      <a:pt x="955" y="39"/>
                    </a:lnTo>
                    <a:lnTo>
                      <a:pt x="958" y="56"/>
                    </a:lnTo>
                    <a:lnTo>
                      <a:pt x="955" y="73"/>
                    </a:lnTo>
                    <a:lnTo>
                      <a:pt x="947" y="89"/>
                    </a:lnTo>
                    <a:lnTo>
                      <a:pt x="934" y="101"/>
                    </a:lnTo>
                    <a:lnTo>
                      <a:pt x="919" y="109"/>
                    </a:lnTo>
                    <a:lnTo>
                      <a:pt x="902" y="112"/>
                    </a:lnTo>
                    <a:lnTo>
                      <a:pt x="57" y="112"/>
                    </a:lnTo>
                    <a:lnTo>
                      <a:pt x="39" y="109"/>
                    </a:lnTo>
                    <a:lnTo>
                      <a:pt x="24" y="101"/>
                    </a:lnTo>
                    <a:lnTo>
                      <a:pt x="12" y="89"/>
                    </a:lnTo>
                    <a:lnTo>
                      <a:pt x="3" y="73"/>
                    </a:lnTo>
                    <a:lnTo>
                      <a:pt x="0" y="56"/>
                    </a:lnTo>
                    <a:lnTo>
                      <a:pt x="3" y="39"/>
                    </a:lnTo>
                    <a:lnTo>
                      <a:pt x="12" y="22"/>
                    </a:lnTo>
                    <a:lnTo>
                      <a:pt x="24" y="11"/>
                    </a:lnTo>
                    <a:lnTo>
                      <a:pt x="39" y="3"/>
                    </a:lnTo>
                    <a:lnTo>
                      <a:pt x="57" y="0"/>
                    </a:lnTo>
                    <a:close/>
                  </a:path>
                </a:pathLst>
              </a:custGeom>
              <a:grpFill/>
              <a:ln w="0">
                <a:solidFill>
                  <a:srgbClr val="919BC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820"/>
              <p:cNvSpPr>
                <a:spLocks/>
              </p:cNvSpPr>
              <p:nvPr/>
            </p:nvSpPr>
            <p:spPr bwMode="auto">
              <a:xfrm>
                <a:off x="7304088" y="5292726"/>
                <a:ext cx="106363" cy="17463"/>
              </a:xfrm>
              <a:custGeom>
                <a:avLst/>
                <a:gdLst>
                  <a:gd name="T0" fmla="*/ 56 w 676"/>
                  <a:gd name="T1" fmla="*/ 0 h 113"/>
                  <a:gd name="T2" fmla="*/ 620 w 676"/>
                  <a:gd name="T3" fmla="*/ 0 h 113"/>
                  <a:gd name="T4" fmla="*/ 637 w 676"/>
                  <a:gd name="T5" fmla="*/ 3 h 113"/>
                  <a:gd name="T6" fmla="*/ 652 w 676"/>
                  <a:gd name="T7" fmla="*/ 12 h 113"/>
                  <a:gd name="T8" fmla="*/ 665 w 676"/>
                  <a:gd name="T9" fmla="*/ 24 h 113"/>
                  <a:gd name="T10" fmla="*/ 673 w 676"/>
                  <a:gd name="T11" fmla="*/ 39 h 113"/>
                  <a:gd name="T12" fmla="*/ 676 w 676"/>
                  <a:gd name="T13" fmla="*/ 57 h 113"/>
                  <a:gd name="T14" fmla="*/ 673 w 676"/>
                  <a:gd name="T15" fmla="*/ 74 h 113"/>
                  <a:gd name="T16" fmla="*/ 665 w 676"/>
                  <a:gd name="T17" fmla="*/ 89 h 113"/>
                  <a:gd name="T18" fmla="*/ 652 w 676"/>
                  <a:gd name="T19" fmla="*/ 102 h 113"/>
                  <a:gd name="T20" fmla="*/ 637 w 676"/>
                  <a:gd name="T21" fmla="*/ 110 h 113"/>
                  <a:gd name="T22" fmla="*/ 620 w 676"/>
                  <a:gd name="T23" fmla="*/ 113 h 113"/>
                  <a:gd name="T24" fmla="*/ 56 w 676"/>
                  <a:gd name="T25" fmla="*/ 113 h 113"/>
                  <a:gd name="T26" fmla="*/ 39 w 676"/>
                  <a:gd name="T27" fmla="*/ 110 h 113"/>
                  <a:gd name="T28" fmla="*/ 24 w 676"/>
                  <a:gd name="T29" fmla="*/ 102 h 113"/>
                  <a:gd name="T30" fmla="*/ 11 w 676"/>
                  <a:gd name="T31" fmla="*/ 89 h 113"/>
                  <a:gd name="T32" fmla="*/ 3 w 676"/>
                  <a:gd name="T33" fmla="*/ 74 h 113"/>
                  <a:gd name="T34" fmla="*/ 0 w 676"/>
                  <a:gd name="T35" fmla="*/ 57 h 113"/>
                  <a:gd name="T36" fmla="*/ 3 w 676"/>
                  <a:gd name="T37" fmla="*/ 39 h 113"/>
                  <a:gd name="T38" fmla="*/ 11 w 676"/>
                  <a:gd name="T39" fmla="*/ 24 h 113"/>
                  <a:gd name="T40" fmla="*/ 24 w 676"/>
                  <a:gd name="T41" fmla="*/ 12 h 113"/>
                  <a:gd name="T42" fmla="*/ 39 w 676"/>
                  <a:gd name="T43" fmla="*/ 3 h 113"/>
                  <a:gd name="T44" fmla="*/ 56 w 676"/>
                  <a:gd name="T45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76" h="113">
                    <a:moveTo>
                      <a:pt x="56" y="0"/>
                    </a:moveTo>
                    <a:lnTo>
                      <a:pt x="620" y="0"/>
                    </a:lnTo>
                    <a:lnTo>
                      <a:pt x="637" y="3"/>
                    </a:lnTo>
                    <a:lnTo>
                      <a:pt x="652" y="12"/>
                    </a:lnTo>
                    <a:lnTo>
                      <a:pt x="665" y="24"/>
                    </a:lnTo>
                    <a:lnTo>
                      <a:pt x="673" y="39"/>
                    </a:lnTo>
                    <a:lnTo>
                      <a:pt x="676" y="57"/>
                    </a:lnTo>
                    <a:lnTo>
                      <a:pt x="673" y="74"/>
                    </a:lnTo>
                    <a:lnTo>
                      <a:pt x="665" y="89"/>
                    </a:lnTo>
                    <a:lnTo>
                      <a:pt x="652" y="102"/>
                    </a:lnTo>
                    <a:lnTo>
                      <a:pt x="637" y="110"/>
                    </a:lnTo>
                    <a:lnTo>
                      <a:pt x="620" y="113"/>
                    </a:lnTo>
                    <a:lnTo>
                      <a:pt x="56" y="113"/>
                    </a:lnTo>
                    <a:lnTo>
                      <a:pt x="39" y="110"/>
                    </a:lnTo>
                    <a:lnTo>
                      <a:pt x="24" y="102"/>
                    </a:lnTo>
                    <a:lnTo>
                      <a:pt x="11" y="89"/>
                    </a:lnTo>
                    <a:lnTo>
                      <a:pt x="3" y="74"/>
                    </a:lnTo>
                    <a:lnTo>
                      <a:pt x="0" y="57"/>
                    </a:lnTo>
                    <a:lnTo>
                      <a:pt x="3" y="39"/>
                    </a:lnTo>
                    <a:lnTo>
                      <a:pt x="11" y="24"/>
                    </a:lnTo>
                    <a:lnTo>
                      <a:pt x="24" y="12"/>
                    </a:lnTo>
                    <a:lnTo>
                      <a:pt x="39" y="3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 w="0">
                <a:solidFill>
                  <a:srgbClr val="919BC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821"/>
              <p:cNvSpPr>
                <a:spLocks/>
              </p:cNvSpPr>
              <p:nvPr/>
            </p:nvSpPr>
            <p:spPr bwMode="auto">
              <a:xfrm>
                <a:off x="7481888" y="5292726"/>
                <a:ext cx="152400" cy="17463"/>
              </a:xfrm>
              <a:custGeom>
                <a:avLst/>
                <a:gdLst>
                  <a:gd name="T0" fmla="*/ 56 w 957"/>
                  <a:gd name="T1" fmla="*/ 0 h 113"/>
                  <a:gd name="T2" fmla="*/ 901 w 957"/>
                  <a:gd name="T3" fmla="*/ 0 h 113"/>
                  <a:gd name="T4" fmla="*/ 918 w 957"/>
                  <a:gd name="T5" fmla="*/ 3 h 113"/>
                  <a:gd name="T6" fmla="*/ 934 w 957"/>
                  <a:gd name="T7" fmla="*/ 12 h 113"/>
                  <a:gd name="T8" fmla="*/ 946 w 957"/>
                  <a:gd name="T9" fmla="*/ 24 h 113"/>
                  <a:gd name="T10" fmla="*/ 954 w 957"/>
                  <a:gd name="T11" fmla="*/ 39 h 113"/>
                  <a:gd name="T12" fmla="*/ 957 w 957"/>
                  <a:gd name="T13" fmla="*/ 57 h 113"/>
                  <a:gd name="T14" fmla="*/ 954 w 957"/>
                  <a:gd name="T15" fmla="*/ 74 h 113"/>
                  <a:gd name="T16" fmla="*/ 946 w 957"/>
                  <a:gd name="T17" fmla="*/ 89 h 113"/>
                  <a:gd name="T18" fmla="*/ 934 w 957"/>
                  <a:gd name="T19" fmla="*/ 102 h 113"/>
                  <a:gd name="T20" fmla="*/ 918 w 957"/>
                  <a:gd name="T21" fmla="*/ 110 h 113"/>
                  <a:gd name="T22" fmla="*/ 901 w 957"/>
                  <a:gd name="T23" fmla="*/ 113 h 113"/>
                  <a:gd name="T24" fmla="*/ 56 w 957"/>
                  <a:gd name="T25" fmla="*/ 113 h 113"/>
                  <a:gd name="T26" fmla="*/ 39 w 957"/>
                  <a:gd name="T27" fmla="*/ 110 h 113"/>
                  <a:gd name="T28" fmla="*/ 23 w 957"/>
                  <a:gd name="T29" fmla="*/ 102 h 113"/>
                  <a:gd name="T30" fmla="*/ 11 w 957"/>
                  <a:gd name="T31" fmla="*/ 89 h 113"/>
                  <a:gd name="T32" fmla="*/ 3 w 957"/>
                  <a:gd name="T33" fmla="*/ 74 h 113"/>
                  <a:gd name="T34" fmla="*/ 0 w 957"/>
                  <a:gd name="T35" fmla="*/ 57 h 113"/>
                  <a:gd name="T36" fmla="*/ 3 w 957"/>
                  <a:gd name="T37" fmla="*/ 39 h 113"/>
                  <a:gd name="T38" fmla="*/ 11 w 957"/>
                  <a:gd name="T39" fmla="*/ 24 h 113"/>
                  <a:gd name="T40" fmla="*/ 23 w 957"/>
                  <a:gd name="T41" fmla="*/ 12 h 113"/>
                  <a:gd name="T42" fmla="*/ 39 w 957"/>
                  <a:gd name="T43" fmla="*/ 3 h 113"/>
                  <a:gd name="T44" fmla="*/ 56 w 957"/>
                  <a:gd name="T45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957" h="113">
                    <a:moveTo>
                      <a:pt x="56" y="0"/>
                    </a:moveTo>
                    <a:lnTo>
                      <a:pt x="901" y="0"/>
                    </a:lnTo>
                    <a:lnTo>
                      <a:pt x="918" y="3"/>
                    </a:lnTo>
                    <a:lnTo>
                      <a:pt x="934" y="12"/>
                    </a:lnTo>
                    <a:lnTo>
                      <a:pt x="946" y="24"/>
                    </a:lnTo>
                    <a:lnTo>
                      <a:pt x="954" y="39"/>
                    </a:lnTo>
                    <a:lnTo>
                      <a:pt x="957" y="57"/>
                    </a:lnTo>
                    <a:lnTo>
                      <a:pt x="954" y="74"/>
                    </a:lnTo>
                    <a:lnTo>
                      <a:pt x="946" y="89"/>
                    </a:lnTo>
                    <a:lnTo>
                      <a:pt x="934" y="102"/>
                    </a:lnTo>
                    <a:lnTo>
                      <a:pt x="918" y="110"/>
                    </a:lnTo>
                    <a:lnTo>
                      <a:pt x="901" y="113"/>
                    </a:lnTo>
                    <a:lnTo>
                      <a:pt x="56" y="113"/>
                    </a:lnTo>
                    <a:lnTo>
                      <a:pt x="39" y="110"/>
                    </a:lnTo>
                    <a:lnTo>
                      <a:pt x="23" y="102"/>
                    </a:lnTo>
                    <a:lnTo>
                      <a:pt x="11" y="89"/>
                    </a:lnTo>
                    <a:lnTo>
                      <a:pt x="3" y="74"/>
                    </a:lnTo>
                    <a:lnTo>
                      <a:pt x="0" y="57"/>
                    </a:lnTo>
                    <a:lnTo>
                      <a:pt x="3" y="39"/>
                    </a:lnTo>
                    <a:lnTo>
                      <a:pt x="11" y="24"/>
                    </a:lnTo>
                    <a:lnTo>
                      <a:pt x="23" y="12"/>
                    </a:lnTo>
                    <a:lnTo>
                      <a:pt x="39" y="3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 w="0">
                <a:solidFill>
                  <a:srgbClr val="919BC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822"/>
              <p:cNvSpPr>
                <a:spLocks/>
              </p:cNvSpPr>
              <p:nvPr/>
            </p:nvSpPr>
            <p:spPr bwMode="auto">
              <a:xfrm>
                <a:off x="7437438" y="5292726"/>
                <a:ext cx="17463" cy="17463"/>
              </a:xfrm>
              <a:custGeom>
                <a:avLst/>
                <a:gdLst>
                  <a:gd name="T0" fmla="*/ 56 w 113"/>
                  <a:gd name="T1" fmla="*/ 0 h 112"/>
                  <a:gd name="T2" fmla="*/ 71 w 113"/>
                  <a:gd name="T3" fmla="*/ 1 h 112"/>
                  <a:gd name="T4" fmla="*/ 85 w 113"/>
                  <a:gd name="T5" fmla="*/ 7 h 112"/>
                  <a:gd name="T6" fmla="*/ 96 w 113"/>
                  <a:gd name="T7" fmla="*/ 16 h 112"/>
                  <a:gd name="T8" fmla="*/ 105 w 113"/>
                  <a:gd name="T9" fmla="*/ 27 h 112"/>
                  <a:gd name="T10" fmla="*/ 111 w 113"/>
                  <a:gd name="T11" fmla="*/ 40 h 112"/>
                  <a:gd name="T12" fmla="*/ 113 w 113"/>
                  <a:gd name="T13" fmla="*/ 56 h 112"/>
                  <a:gd name="T14" fmla="*/ 111 w 113"/>
                  <a:gd name="T15" fmla="*/ 70 h 112"/>
                  <a:gd name="T16" fmla="*/ 105 w 113"/>
                  <a:gd name="T17" fmla="*/ 84 h 112"/>
                  <a:gd name="T18" fmla="*/ 96 w 113"/>
                  <a:gd name="T19" fmla="*/ 96 h 112"/>
                  <a:gd name="T20" fmla="*/ 84 w 113"/>
                  <a:gd name="T21" fmla="*/ 105 h 112"/>
                  <a:gd name="T22" fmla="*/ 71 w 113"/>
                  <a:gd name="T23" fmla="*/ 110 h 112"/>
                  <a:gd name="T24" fmla="*/ 56 w 113"/>
                  <a:gd name="T25" fmla="*/ 112 h 112"/>
                  <a:gd name="T26" fmla="*/ 42 w 113"/>
                  <a:gd name="T27" fmla="*/ 110 h 112"/>
                  <a:gd name="T28" fmla="*/ 29 w 113"/>
                  <a:gd name="T29" fmla="*/ 105 h 112"/>
                  <a:gd name="T30" fmla="*/ 16 w 113"/>
                  <a:gd name="T31" fmla="*/ 96 h 112"/>
                  <a:gd name="T32" fmla="*/ 7 w 113"/>
                  <a:gd name="T33" fmla="*/ 83 h 112"/>
                  <a:gd name="T34" fmla="*/ 2 w 113"/>
                  <a:gd name="T35" fmla="*/ 70 h 112"/>
                  <a:gd name="T36" fmla="*/ 0 w 113"/>
                  <a:gd name="T37" fmla="*/ 56 h 112"/>
                  <a:gd name="T38" fmla="*/ 2 w 113"/>
                  <a:gd name="T39" fmla="*/ 41 h 112"/>
                  <a:gd name="T40" fmla="*/ 7 w 113"/>
                  <a:gd name="T41" fmla="*/ 28 h 112"/>
                  <a:gd name="T42" fmla="*/ 16 w 113"/>
                  <a:gd name="T43" fmla="*/ 16 h 112"/>
                  <a:gd name="T44" fmla="*/ 28 w 113"/>
                  <a:gd name="T45" fmla="*/ 7 h 112"/>
                  <a:gd name="T46" fmla="*/ 42 w 113"/>
                  <a:gd name="T47" fmla="*/ 1 h 112"/>
                  <a:gd name="T48" fmla="*/ 56 w 113"/>
                  <a:gd name="T49" fmla="*/ 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3" h="112">
                    <a:moveTo>
                      <a:pt x="56" y="0"/>
                    </a:moveTo>
                    <a:lnTo>
                      <a:pt x="71" y="1"/>
                    </a:lnTo>
                    <a:lnTo>
                      <a:pt x="85" y="7"/>
                    </a:lnTo>
                    <a:lnTo>
                      <a:pt x="96" y="16"/>
                    </a:lnTo>
                    <a:lnTo>
                      <a:pt x="105" y="27"/>
                    </a:lnTo>
                    <a:lnTo>
                      <a:pt x="111" y="40"/>
                    </a:lnTo>
                    <a:lnTo>
                      <a:pt x="113" y="56"/>
                    </a:lnTo>
                    <a:lnTo>
                      <a:pt x="111" y="70"/>
                    </a:lnTo>
                    <a:lnTo>
                      <a:pt x="105" y="84"/>
                    </a:lnTo>
                    <a:lnTo>
                      <a:pt x="96" y="96"/>
                    </a:lnTo>
                    <a:lnTo>
                      <a:pt x="84" y="105"/>
                    </a:lnTo>
                    <a:lnTo>
                      <a:pt x="71" y="110"/>
                    </a:lnTo>
                    <a:lnTo>
                      <a:pt x="56" y="112"/>
                    </a:lnTo>
                    <a:lnTo>
                      <a:pt x="42" y="110"/>
                    </a:lnTo>
                    <a:lnTo>
                      <a:pt x="29" y="105"/>
                    </a:lnTo>
                    <a:lnTo>
                      <a:pt x="16" y="96"/>
                    </a:lnTo>
                    <a:lnTo>
                      <a:pt x="7" y="83"/>
                    </a:lnTo>
                    <a:lnTo>
                      <a:pt x="2" y="70"/>
                    </a:lnTo>
                    <a:lnTo>
                      <a:pt x="0" y="56"/>
                    </a:lnTo>
                    <a:lnTo>
                      <a:pt x="2" y="41"/>
                    </a:lnTo>
                    <a:lnTo>
                      <a:pt x="7" y="28"/>
                    </a:lnTo>
                    <a:lnTo>
                      <a:pt x="16" y="16"/>
                    </a:lnTo>
                    <a:lnTo>
                      <a:pt x="28" y="7"/>
                    </a:lnTo>
                    <a:lnTo>
                      <a:pt x="42" y="1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 w="0">
                <a:solidFill>
                  <a:srgbClr val="919BC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823"/>
              <p:cNvSpPr>
                <a:spLocks/>
              </p:cNvSpPr>
              <p:nvPr/>
            </p:nvSpPr>
            <p:spPr bwMode="auto">
              <a:xfrm>
                <a:off x="7348538" y="5354638"/>
                <a:ext cx="152400" cy="17463"/>
              </a:xfrm>
              <a:custGeom>
                <a:avLst/>
                <a:gdLst>
                  <a:gd name="T0" fmla="*/ 56 w 957"/>
                  <a:gd name="T1" fmla="*/ 0 h 112"/>
                  <a:gd name="T2" fmla="*/ 901 w 957"/>
                  <a:gd name="T3" fmla="*/ 0 h 112"/>
                  <a:gd name="T4" fmla="*/ 918 w 957"/>
                  <a:gd name="T5" fmla="*/ 3 h 112"/>
                  <a:gd name="T6" fmla="*/ 934 w 957"/>
                  <a:gd name="T7" fmla="*/ 11 h 112"/>
                  <a:gd name="T8" fmla="*/ 946 w 957"/>
                  <a:gd name="T9" fmla="*/ 22 h 112"/>
                  <a:gd name="T10" fmla="*/ 954 w 957"/>
                  <a:gd name="T11" fmla="*/ 39 h 112"/>
                  <a:gd name="T12" fmla="*/ 957 w 957"/>
                  <a:gd name="T13" fmla="*/ 56 h 112"/>
                  <a:gd name="T14" fmla="*/ 954 w 957"/>
                  <a:gd name="T15" fmla="*/ 73 h 112"/>
                  <a:gd name="T16" fmla="*/ 946 w 957"/>
                  <a:gd name="T17" fmla="*/ 89 h 112"/>
                  <a:gd name="T18" fmla="*/ 934 w 957"/>
                  <a:gd name="T19" fmla="*/ 101 h 112"/>
                  <a:gd name="T20" fmla="*/ 918 w 957"/>
                  <a:gd name="T21" fmla="*/ 109 h 112"/>
                  <a:gd name="T22" fmla="*/ 901 w 957"/>
                  <a:gd name="T23" fmla="*/ 112 h 112"/>
                  <a:gd name="T24" fmla="*/ 56 w 957"/>
                  <a:gd name="T25" fmla="*/ 112 h 112"/>
                  <a:gd name="T26" fmla="*/ 39 w 957"/>
                  <a:gd name="T27" fmla="*/ 109 h 112"/>
                  <a:gd name="T28" fmla="*/ 23 w 957"/>
                  <a:gd name="T29" fmla="*/ 101 h 112"/>
                  <a:gd name="T30" fmla="*/ 11 w 957"/>
                  <a:gd name="T31" fmla="*/ 89 h 112"/>
                  <a:gd name="T32" fmla="*/ 3 w 957"/>
                  <a:gd name="T33" fmla="*/ 73 h 112"/>
                  <a:gd name="T34" fmla="*/ 0 w 957"/>
                  <a:gd name="T35" fmla="*/ 56 h 112"/>
                  <a:gd name="T36" fmla="*/ 3 w 957"/>
                  <a:gd name="T37" fmla="*/ 39 h 112"/>
                  <a:gd name="T38" fmla="*/ 11 w 957"/>
                  <a:gd name="T39" fmla="*/ 22 h 112"/>
                  <a:gd name="T40" fmla="*/ 23 w 957"/>
                  <a:gd name="T41" fmla="*/ 11 h 112"/>
                  <a:gd name="T42" fmla="*/ 39 w 957"/>
                  <a:gd name="T43" fmla="*/ 3 h 112"/>
                  <a:gd name="T44" fmla="*/ 56 w 957"/>
                  <a:gd name="T45" fmla="*/ 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957" h="112">
                    <a:moveTo>
                      <a:pt x="56" y="0"/>
                    </a:moveTo>
                    <a:lnTo>
                      <a:pt x="901" y="0"/>
                    </a:lnTo>
                    <a:lnTo>
                      <a:pt x="918" y="3"/>
                    </a:lnTo>
                    <a:lnTo>
                      <a:pt x="934" y="11"/>
                    </a:lnTo>
                    <a:lnTo>
                      <a:pt x="946" y="22"/>
                    </a:lnTo>
                    <a:lnTo>
                      <a:pt x="954" y="39"/>
                    </a:lnTo>
                    <a:lnTo>
                      <a:pt x="957" y="56"/>
                    </a:lnTo>
                    <a:lnTo>
                      <a:pt x="954" y="73"/>
                    </a:lnTo>
                    <a:lnTo>
                      <a:pt x="946" y="89"/>
                    </a:lnTo>
                    <a:lnTo>
                      <a:pt x="934" y="101"/>
                    </a:lnTo>
                    <a:lnTo>
                      <a:pt x="918" y="109"/>
                    </a:lnTo>
                    <a:lnTo>
                      <a:pt x="901" y="112"/>
                    </a:lnTo>
                    <a:lnTo>
                      <a:pt x="56" y="112"/>
                    </a:lnTo>
                    <a:lnTo>
                      <a:pt x="39" y="109"/>
                    </a:lnTo>
                    <a:lnTo>
                      <a:pt x="23" y="101"/>
                    </a:lnTo>
                    <a:lnTo>
                      <a:pt x="11" y="89"/>
                    </a:lnTo>
                    <a:lnTo>
                      <a:pt x="3" y="73"/>
                    </a:lnTo>
                    <a:lnTo>
                      <a:pt x="0" y="56"/>
                    </a:lnTo>
                    <a:lnTo>
                      <a:pt x="3" y="39"/>
                    </a:lnTo>
                    <a:lnTo>
                      <a:pt x="11" y="22"/>
                    </a:lnTo>
                    <a:lnTo>
                      <a:pt x="23" y="11"/>
                    </a:lnTo>
                    <a:lnTo>
                      <a:pt x="39" y="3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 w="0">
                <a:solidFill>
                  <a:srgbClr val="919BC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824"/>
              <p:cNvSpPr>
                <a:spLocks/>
              </p:cNvSpPr>
              <p:nvPr/>
            </p:nvSpPr>
            <p:spPr bwMode="auto">
              <a:xfrm>
                <a:off x="7304088" y="5354638"/>
                <a:ext cx="17463" cy="17463"/>
              </a:xfrm>
              <a:custGeom>
                <a:avLst/>
                <a:gdLst>
                  <a:gd name="T0" fmla="*/ 56 w 113"/>
                  <a:gd name="T1" fmla="*/ 0 h 111"/>
                  <a:gd name="T2" fmla="*/ 71 w 113"/>
                  <a:gd name="T3" fmla="*/ 1 h 111"/>
                  <a:gd name="T4" fmla="*/ 84 w 113"/>
                  <a:gd name="T5" fmla="*/ 7 h 111"/>
                  <a:gd name="T6" fmla="*/ 96 w 113"/>
                  <a:gd name="T7" fmla="*/ 15 h 111"/>
                  <a:gd name="T8" fmla="*/ 105 w 113"/>
                  <a:gd name="T9" fmla="*/ 26 h 111"/>
                  <a:gd name="T10" fmla="*/ 111 w 113"/>
                  <a:gd name="T11" fmla="*/ 41 h 111"/>
                  <a:gd name="T12" fmla="*/ 113 w 113"/>
                  <a:gd name="T13" fmla="*/ 55 h 111"/>
                  <a:gd name="T14" fmla="*/ 111 w 113"/>
                  <a:gd name="T15" fmla="*/ 69 h 111"/>
                  <a:gd name="T16" fmla="*/ 105 w 113"/>
                  <a:gd name="T17" fmla="*/ 83 h 111"/>
                  <a:gd name="T18" fmla="*/ 96 w 113"/>
                  <a:gd name="T19" fmla="*/ 95 h 111"/>
                  <a:gd name="T20" fmla="*/ 84 w 113"/>
                  <a:gd name="T21" fmla="*/ 104 h 111"/>
                  <a:gd name="T22" fmla="*/ 71 w 113"/>
                  <a:gd name="T23" fmla="*/ 109 h 111"/>
                  <a:gd name="T24" fmla="*/ 56 w 113"/>
                  <a:gd name="T25" fmla="*/ 111 h 111"/>
                  <a:gd name="T26" fmla="*/ 42 w 113"/>
                  <a:gd name="T27" fmla="*/ 109 h 111"/>
                  <a:gd name="T28" fmla="*/ 29 w 113"/>
                  <a:gd name="T29" fmla="*/ 103 h 111"/>
                  <a:gd name="T30" fmla="*/ 16 w 113"/>
                  <a:gd name="T31" fmla="*/ 95 h 111"/>
                  <a:gd name="T32" fmla="*/ 7 w 113"/>
                  <a:gd name="T33" fmla="*/ 83 h 111"/>
                  <a:gd name="T34" fmla="*/ 2 w 113"/>
                  <a:gd name="T35" fmla="*/ 69 h 111"/>
                  <a:gd name="T36" fmla="*/ 0 w 113"/>
                  <a:gd name="T37" fmla="*/ 55 h 111"/>
                  <a:gd name="T38" fmla="*/ 2 w 113"/>
                  <a:gd name="T39" fmla="*/ 41 h 111"/>
                  <a:gd name="T40" fmla="*/ 7 w 113"/>
                  <a:gd name="T41" fmla="*/ 26 h 111"/>
                  <a:gd name="T42" fmla="*/ 16 w 113"/>
                  <a:gd name="T43" fmla="*/ 15 h 111"/>
                  <a:gd name="T44" fmla="*/ 28 w 113"/>
                  <a:gd name="T45" fmla="*/ 7 h 111"/>
                  <a:gd name="T46" fmla="*/ 42 w 113"/>
                  <a:gd name="T47" fmla="*/ 1 h 111"/>
                  <a:gd name="T48" fmla="*/ 56 w 113"/>
                  <a:gd name="T49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3" h="111">
                    <a:moveTo>
                      <a:pt x="56" y="0"/>
                    </a:moveTo>
                    <a:lnTo>
                      <a:pt x="71" y="1"/>
                    </a:lnTo>
                    <a:lnTo>
                      <a:pt x="84" y="7"/>
                    </a:lnTo>
                    <a:lnTo>
                      <a:pt x="96" y="15"/>
                    </a:lnTo>
                    <a:lnTo>
                      <a:pt x="105" y="26"/>
                    </a:lnTo>
                    <a:lnTo>
                      <a:pt x="111" y="41"/>
                    </a:lnTo>
                    <a:lnTo>
                      <a:pt x="113" y="55"/>
                    </a:lnTo>
                    <a:lnTo>
                      <a:pt x="111" y="69"/>
                    </a:lnTo>
                    <a:lnTo>
                      <a:pt x="105" y="83"/>
                    </a:lnTo>
                    <a:lnTo>
                      <a:pt x="96" y="95"/>
                    </a:lnTo>
                    <a:lnTo>
                      <a:pt x="84" y="104"/>
                    </a:lnTo>
                    <a:lnTo>
                      <a:pt x="71" y="109"/>
                    </a:lnTo>
                    <a:lnTo>
                      <a:pt x="56" y="111"/>
                    </a:lnTo>
                    <a:lnTo>
                      <a:pt x="42" y="109"/>
                    </a:lnTo>
                    <a:lnTo>
                      <a:pt x="29" y="103"/>
                    </a:lnTo>
                    <a:lnTo>
                      <a:pt x="16" y="95"/>
                    </a:lnTo>
                    <a:lnTo>
                      <a:pt x="7" y="83"/>
                    </a:lnTo>
                    <a:lnTo>
                      <a:pt x="2" y="69"/>
                    </a:lnTo>
                    <a:lnTo>
                      <a:pt x="0" y="55"/>
                    </a:lnTo>
                    <a:lnTo>
                      <a:pt x="2" y="41"/>
                    </a:lnTo>
                    <a:lnTo>
                      <a:pt x="7" y="26"/>
                    </a:lnTo>
                    <a:lnTo>
                      <a:pt x="16" y="15"/>
                    </a:lnTo>
                    <a:lnTo>
                      <a:pt x="28" y="7"/>
                    </a:lnTo>
                    <a:lnTo>
                      <a:pt x="42" y="1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 w="0">
                <a:solidFill>
                  <a:srgbClr val="919BC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825"/>
              <p:cNvSpPr>
                <a:spLocks/>
              </p:cNvSpPr>
              <p:nvPr/>
            </p:nvSpPr>
            <p:spPr bwMode="auto">
              <a:xfrm>
                <a:off x="7661275" y="5292726"/>
                <a:ext cx="17463" cy="17463"/>
              </a:xfrm>
              <a:custGeom>
                <a:avLst/>
                <a:gdLst>
                  <a:gd name="T0" fmla="*/ 57 w 113"/>
                  <a:gd name="T1" fmla="*/ 0 h 112"/>
                  <a:gd name="T2" fmla="*/ 71 w 113"/>
                  <a:gd name="T3" fmla="*/ 1 h 112"/>
                  <a:gd name="T4" fmla="*/ 85 w 113"/>
                  <a:gd name="T5" fmla="*/ 7 h 112"/>
                  <a:gd name="T6" fmla="*/ 97 w 113"/>
                  <a:gd name="T7" fmla="*/ 16 h 112"/>
                  <a:gd name="T8" fmla="*/ 106 w 113"/>
                  <a:gd name="T9" fmla="*/ 27 h 112"/>
                  <a:gd name="T10" fmla="*/ 111 w 113"/>
                  <a:gd name="T11" fmla="*/ 41 h 112"/>
                  <a:gd name="T12" fmla="*/ 113 w 113"/>
                  <a:gd name="T13" fmla="*/ 56 h 112"/>
                  <a:gd name="T14" fmla="*/ 111 w 113"/>
                  <a:gd name="T15" fmla="*/ 70 h 112"/>
                  <a:gd name="T16" fmla="*/ 106 w 113"/>
                  <a:gd name="T17" fmla="*/ 84 h 112"/>
                  <a:gd name="T18" fmla="*/ 97 w 113"/>
                  <a:gd name="T19" fmla="*/ 96 h 112"/>
                  <a:gd name="T20" fmla="*/ 84 w 113"/>
                  <a:gd name="T21" fmla="*/ 105 h 112"/>
                  <a:gd name="T22" fmla="*/ 71 w 113"/>
                  <a:gd name="T23" fmla="*/ 110 h 112"/>
                  <a:gd name="T24" fmla="*/ 57 w 113"/>
                  <a:gd name="T25" fmla="*/ 112 h 112"/>
                  <a:gd name="T26" fmla="*/ 42 w 113"/>
                  <a:gd name="T27" fmla="*/ 110 h 112"/>
                  <a:gd name="T28" fmla="*/ 29 w 113"/>
                  <a:gd name="T29" fmla="*/ 105 h 112"/>
                  <a:gd name="T30" fmla="*/ 17 w 113"/>
                  <a:gd name="T31" fmla="*/ 96 h 112"/>
                  <a:gd name="T32" fmla="*/ 8 w 113"/>
                  <a:gd name="T33" fmla="*/ 83 h 112"/>
                  <a:gd name="T34" fmla="*/ 2 w 113"/>
                  <a:gd name="T35" fmla="*/ 70 h 112"/>
                  <a:gd name="T36" fmla="*/ 0 w 113"/>
                  <a:gd name="T37" fmla="*/ 56 h 112"/>
                  <a:gd name="T38" fmla="*/ 2 w 113"/>
                  <a:gd name="T39" fmla="*/ 41 h 112"/>
                  <a:gd name="T40" fmla="*/ 8 w 113"/>
                  <a:gd name="T41" fmla="*/ 28 h 112"/>
                  <a:gd name="T42" fmla="*/ 17 w 113"/>
                  <a:gd name="T43" fmla="*/ 16 h 112"/>
                  <a:gd name="T44" fmla="*/ 28 w 113"/>
                  <a:gd name="T45" fmla="*/ 7 h 112"/>
                  <a:gd name="T46" fmla="*/ 42 w 113"/>
                  <a:gd name="T47" fmla="*/ 1 h 112"/>
                  <a:gd name="T48" fmla="*/ 57 w 113"/>
                  <a:gd name="T49" fmla="*/ 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3" h="112">
                    <a:moveTo>
                      <a:pt x="57" y="0"/>
                    </a:moveTo>
                    <a:lnTo>
                      <a:pt x="71" y="1"/>
                    </a:lnTo>
                    <a:lnTo>
                      <a:pt x="85" y="7"/>
                    </a:lnTo>
                    <a:lnTo>
                      <a:pt x="97" y="16"/>
                    </a:lnTo>
                    <a:lnTo>
                      <a:pt x="106" y="27"/>
                    </a:lnTo>
                    <a:lnTo>
                      <a:pt x="111" y="41"/>
                    </a:lnTo>
                    <a:lnTo>
                      <a:pt x="113" y="56"/>
                    </a:lnTo>
                    <a:lnTo>
                      <a:pt x="111" y="70"/>
                    </a:lnTo>
                    <a:lnTo>
                      <a:pt x="106" y="84"/>
                    </a:lnTo>
                    <a:lnTo>
                      <a:pt x="97" y="96"/>
                    </a:lnTo>
                    <a:lnTo>
                      <a:pt x="84" y="105"/>
                    </a:lnTo>
                    <a:lnTo>
                      <a:pt x="71" y="110"/>
                    </a:lnTo>
                    <a:lnTo>
                      <a:pt x="57" y="112"/>
                    </a:lnTo>
                    <a:lnTo>
                      <a:pt x="42" y="110"/>
                    </a:lnTo>
                    <a:lnTo>
                      <a:pt x="29" y="105"/>
                    </a:lnTo>
                    <a:lnTo>
                      <a:pt x="17" y="96"/>
                    </a:lnTo>
                    <a:lnTo>
                      <a:pt x="8" y="83"/>
                    </a:lnTo>
                    <a:lnTo>
                      <a:pt x="2" y="70"/>
                    </a:lnTo>
                    <a:lnTo>
                      <a:pt x="0" y="56"/>
                    </a:lnTo>
                    <a:lnTo>
                      <a:pt x="2" y="41"/>
                    </a:lnTo>
                    <a:lnTo>
                      <a:pt x="8" y="28"/>
                    </a:lnTo>
                    <a:lnTo>
                      <a:pt x="17" y="16"/>
                    </a:lnTo>
                    <a:lnTo>
                      <a:pt x="28" y="7"/>
                    </a:lnTo>
                    <a:lnTo>
                      <a:pt x="42" y="1"/>
                    </a:lnTo>
                    <a:lnTo>
                      <a:pt x="57" y="0"/>
                    </a:lnTo>
                    <a:close/>
                  </a:path>
                </a:pathLst>
              </a:custGeom>
              <a:grpFill/>
              <a:ln w="0">
                <a:solidFill>
                  <a:srgbClr val="919BC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826"/>
              <p:cNvSpPr>
                <a:spLocks/>
              </p:cNvSpPr>
              <p:nvPr/>
            </p:nvSpPr>
            <p:spPr bwMode="auto">
              <a:xfrm>
                <a:off x="7527925" y="5167313"/>
                <a:ext cx="150813" cy="17463"/>
              </a:xfrm>
              <a:custGeom>
                <a:avLst/>
                <a:gdLst>
                  <a:gd name="T0" fmla="*/ 57 w 958"/>
                  <a:gd name="T1" fmla="*/ 0 h 112"/>
                  <a:gd name="T2" fmla="*/ 902 w 958"/>
                  <a:gd name="T3" fmla="*/ 0 h 112"/>
                  <a:gd name="T4" fmla="*/ 919 w 958"/>
                  <a:gd name="T5" fmla="*/ 3 h 112"/>
                  <a:gd name="T6" fmla="*/ 934 w 958"/>
                  <a:gd name="T7" fmla="*/ 11 h 112"/>
                  <a:gd name="T8" fmla="*/ 947 w 958"/>
                  <a:gd name="T9" fmla="*/ 23 h 112"/>
                  <a:gd name="T10" fmla="*/ 955 w 958"/>
                  <a:gd name="T11" fmla="*/ 39 h 112"/>
                  <a:gd name="T12" fmla="*/ 958 w 958"/>
                  <a:gd name="T13" fmla="*/ 56 h 112"/>
                  <a:gd name="T14" fmla="*/ 955 w 958"/>
                  <a:gd name="T15" fmla="*/ 73 h 112"/>
                  <a:gd name="T16" fmla="*/ 947 w 958"/>
                  <a:gd name="T17" fmla="*/ 89 h 112"/>
                  <a:gd name="T18" fmla="*/ 934 w 958"/>
                  <a:gd name="T19" fmla="*/ 101 h 112"/>
                  <a:gd name="T20" fmla="*/ 919 w 958"/>
                  <a:gd name="T21" fmla="*/ 109 h 112"/>
                  <a:gd name="T22" fmla="*/ 902 w 958"/>
                  <a:gd name="T23" fmla="*/ 112 h 112"/>
                  <a:gd name="T24" fmla="*/ 57 w 958"/>
                  <a:gd name="T25" fmla="*/ 112 h 112"/>
                  <a:gd name="T26" fmla="*/ 39 w 958"/>
                  <a:gd name="T27" fmla="*/ 109 h 112"/>
                  <a:gd name="T28" fmla="*/ 24 w 958"/>
                  <a:gd name="T29" fmla="*/ 101 h 112"/>
                  <a:gd name="T30" fmla="*/ 12 w 958"/>
                  <a:gd name="T31" fmla="*/ 89 h 112"/>
                  <a:gd name="T32" fmla="*/ 3 w 958"/>
                  <a:gd name="T33" fmla="*/ 73 h 112"/>
                  <a:gd name="T34" fmla="*/ 0 w 958"/>
                  <a:gd name="T35" fmla="*/ 56 h 112"/>
                  <a:gd name="T36" fmla="*/ 3 w 958"/>
                  <a:gd name="T37" fmla="*/ 39 h 112"/>
                  <a:gd name="T38" fmla="*/ 12 w 958"/>
                  <a:gd name="T39" fmla="*/ 23 h 112"/>
                  <a:gd name="T40" fmla="*/ 24 w 958"/>
                  <a:gd name="T41" fmla="*/ 11 h 112"/>
                  <a:gd name="T42" fmla="*/ 39 w 958"/>
                  <a:gd name="T43" fmla="*/ 3 h 112"/>
                  <a:gd name="T44" fmla="*/ 57 w 958"/>
                  <a:gd name="T45" fmla="*/ 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958" h="112">
                    <a:moveTo>
                      <a:pt x="57" y="0"/>
                    </a:moveTo>
                    <a:lnTo>
                      <a:pt x="902" y="0"/>
                    </a:lnTo>
                    <a:lnTo>
                      <a:pt x="919" y="3"/>
                    </a:lnTo>
                    <a:lnTo>
                      <a:pt x="934" y="11"/>
                    </a:lnTo>
                    <a:lnTo>
                      <a:pt x="947" y="23"/>
                    </a:lnTo>
                    <a:lnTo>
                      <a:pt x="955" y="39"/>
                    </a:lnTo>
                    <a:lnTo>
                      <a:pt x="958" y="56"/>
                    </a:lnTo>
                    <a:lnTo>
                      <a:pt x="955" y="73"/>
                    </a:lnTo>
                    <a:lnTo>
                      <a:pt x="947" y="89"/>
                    </a:lnTo>
                    <a:lnTo>
                      <a:pt x="934" y="101"/>
                    </a:lnTo>
                    <a:lnTo>
                      <a:pt x="919" y="109"/>
                    </a:lnTo>
                    <a:lnTo>
                      <a:pt x="902" y="112"/>
                    </a:lnTo>
                    <a:lnTo>
                      <a:pt x="57" y="112"/>
                    </a:lnTo>
                    <a:lnTo>
                      <a:pt x="39" y="109"/>
                    </a:lnTo>
                    <a:lnTo>
                      <a:pt x="24" y="101"/>
                    </a:lnTo>
                    <a:lnTo>
                      <a:pt x="12" y="89"/>
                    </a:lnTo>
                    <a:lnTo>
                      <a:pt x="3" y="73"/>
                    </a:lnTo>
                    <a:lnTo>
                      <a:pt x="0" y="56"/>
                    </a:lnTo>
                    <a:lnTo>
                      <a:pt x="3" y="39"/>
                    </a:lnTo>
                    <a:lnTo>
                      <a:pt x="12" y="23"/>
                    </a:lnTo>
                    <a:lnTo>
                      <a:pt x="24" y="11"/>
                    </a:lnTo>
                    <a:lnTo>
                      <a:pt x="39" y="3"/>
                    </a:lnTo>
                    <a:lnTo>
                      <a:pt x="57" y="0"/>
                    </a:lnTo>
                    <a:close/>
                  </a:path>
                </a:pathLst>
              </a:custGeom>
              <a:grpFill/>
              <a:ln w="0">
                <a:solidFill>
                  <a:srgbClr val="919BC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827"/>
              <p:cNvSpPr>
                <a:spLocks/>
              </p:cNvSpPr>
              <p:nvPr/>
            </p:nvSpPr>
            <p:spPr bwMode="auto">
              <a:xfrm>
                <a:off x="7572375" y="5229226"/>
                <a:ext cx="106363" cy="17463"/>
              </a:xfrm>
              <a:custGeom>
                <a:avLst/>
                <a:gdLst>
                  <a:gd name="T0" fmla="*/ 56 w 676"/>
                  <a:gd name="T1" fmla="*/ 0 h 113"/>
                  <a:gd name="T2" fmla="*/ 620 w 676"/>
                  <a:gd name="T3" fmla="*/ 0 h 113"/>
                  <a:gd name="T4" fmla="*/ 637 w 676"/>
                  <a:gd name="T5" fmla="*/ 3 h 113"/>
                  <a:gd name="T6" fmla="*/ 652 w 676"/>
                  <a:gd name="T7" fmla="*/ 11 h 113"/>
                  <a:gd name="T8" fmla="*/ 665 w 676"/>
                  <a:gd name="T9" fmla="*/ 24 h 113"/>
                  <a:gd name="T10" fmla="*/ 673 w 676"/>
                  <a:gd name="T11" fmla="*/ 39 h 113"/>
                  <a:gd name="T12" fmla="*/ 676 w 676"/>
                  <a:gd name="T13" fmla="*/ 56 h 113"/>
                  <a:gd name="T14" fmla="*/ 673 w 676"/>
                  <a:gd name="T15" fmla="*/ 74 h 113"/>
                  <a:gd name="T16" fmla="*/ 665 w 676"/>
                  <a:gd name="T17" fmla="*/ 89 h 113"/>
                  <a:gd name="T18" fmla="*/ 652 w 676"/>
                  <a:gd name="T19" fmla="*/ 101 h 113"/>
                  <a:gd name="T20" fmla="*/ 637 w 676"/>
                  <a:gd name="T21" fmla="*/ 110 h 113"/>
                  <a:gd name="T22" fmla="*/ 620 w 676"/>
                  <a:gd name="T23" fmla="*/ 113 h 113"/>
                  <a:gd name="T24" fmla="*/ 56 w 676"/>
                  <a:gd name="T25" fmla="*/ 113 h 113"/>
                  <a:gd name="T26" fmla="*/ 39 w 676"/>
                  <a:gd name="T27" fmla="*/ 110 h 113"/>
                  <a:gd name="T28" fmla="*/ 24 w 676"/>
                  <a:gd name="T29" fmla="*/ 101 h 113"/>
                  <a:gd name="T30" fmla="*/ 11 w 676"/>
                  <a:gd name="T31" fmla="*/ 89 h 113"/>
                  <a:gd name="T32" fmla="*/ 3 w 676"/>
                  <a:gd name="T33" fmla="*/ 74 h 113"/>
                  <a:gd name="T34" fmla="*/ 0 w 676"/>
                  <a:gd name="T35" fmla="*/ 56 h 113"/>
                  <a:gd name="T36" fmla="*/ 3 w 676"/>
                  <a:gd name="T37" fmla="*/ 39 h 113"/>
                  <a:gd name="T38" fmla="*/ 11 w 676"/>
                  <a:gd name="T39" fmla="*/ 24 h 113"/>
                  <a:gd name="T40" fmla="*/ 24 w 676"/>
                  <a:gd name="T41" fmla="*/ 11 h 113"/>
                  <a:gd name="T42" fmla="*/ 39 w 676"/>
                  <a:gd name="T43" fmla="*/ 3 h 113"/>
                  <a:gd name="T44" fmla="*/ 56 w 676"/>
                  <a:gd name="T45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76" h="113">
                    <a:moveTo>
                      <a:pt x="56" y="0"/>
                    </a:moveTo>
                    <a:lnTo>
                      <a:pt x="620" y="0"/>
                    </a:lnTo>
                    <a:lnTo>
                      <a:pt x="637" y="3"/>
                    </a:lnTo>
                    <a:lnTo>
                      <a:pt x="652" y="11"/>
                    </a:lnTo>
                    <a:lnTo>
                      <a:pt x="665" y="24"/>
                    </a:lnTo>
                    <a:lnTo>
                      <a:pt x="673" y="39"/>
                    </a:lnTo>
                    <a:lnTo>
                      <a:pt x="676" y="56"/>
                    </a:lnTo>
                    <a:lnTo>
                      <a:pt x="673" y="74"/>
                    </a:lnTo>
                    <a:lnTo>
                      <a:pt x="665" y="89"/>
                    </a:lnTo>
                    <a:lnTo>
                      <a:pt x="652" y="101"/>
                    </a:lnTo>
                    <a:lnTo>
                      <a:pt x="637" y="110"/>
                    </a:lnTo>
                    <a:lnTo>
                      <a:pt x="620" y="113"/>
                    </a:lnTo>
                    <a:lnTo>
                      <a:pt x="56" y="113"/>
                    </a:lnTo>
                    <a:lnTo>
                      <a:pt x="39" y="110"/>
                    </a:lnTo>
                    <a:lnTo>
                      <a:pt x="24" y="101"/>
                    </a:lnTo>
                    <a:lnTo>
                      <a:pt x="11" y="89"/>
                    </a:lnTo>
                    <a:lnTo>
                      <a:pt x="3" y="74"/>
                    </a:lnTo>
                    <a:lnTo>
                      <a:pt x="0" y="56"/>
                    </a:lnTo>
                    <a:lnTo>
                      <a:pt x="3" y="39"/>
                    </a:lnTo>
                    <a:lnTo>
                      <a:pt x="11" y="24"/>
                    </a:lnTo>
                    <a:lnTo>
                      <a:pt x="24" y="11"/>
                    </a:lnTo>
                    <a:lnTo>
                      <a:pt x="39" y="3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 w="0">
                <a:solidFill>
                  <a:srgbClr val="919BC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828"/>
              <p:cNvSpPr>
                <a:spLocks/>
              </p:cNvSpPr>
              <p:nvPr/>
            </p:nvSpPr>
            <p:spPr bwMode="auto">
              <a:xfrm>
                <a:off x="7481888" y="5229226"/>
                <a:ext cx="36513" cy="17463"/>
              </a:xfrm>
              <a:custGeom>
                <a:avLst/>
                <a:gdLst>
                  <a:gd name="T0" fmla="*/ 56 w 225"/>
                  <a:gd name="T1" fmla="*/ 0 h 113"/>
                  <a:gd name="T2" fmla="*/ 169 w 225"/>
                  <a:gd name="T3" fmla="*/ 0 h 113"/>
                  <a:gd name="T4" fmla="*/ 186 w 225"/>
                  <a:gd name="T5" fmla="*/ 3 h 113"/>
                  <a:gd name="T6" fmla="*/ 201 w 225"/>
                  <a:gd name="T7" fmla="*/ 11 h 113"/>
                  <a:gd name="T8" fmla="*/ 214 w 225"/>
                  <a:gd name="T9" fmla="*/ 24 h 113"/>
                  <a:gd name="T10" fmla="*/ 222 w 225"/>
                  <a:gd name="T11" fmla="*/ 39 h 113"/>
                  <a:gd name="T12" fmla="*/ 225 w 225"/>
                  <a:gd name="T13" fmla="*/ 56 h 113"/>
                  <a:gd name="T14" fmla="*/ 222 w 225"/>
                  <a:gd name="T15" fmla="*/ 74 h 113"/>
                  <a:gd name="T16" fmla="*/ 214 w 225"/>
                  <a:gd name="T17" fmla="*/ 89 h 113"/>
                  <a:gd name="T18" fmla="*/ 201 w 225"/>
                  <a:gd name="T19" fmla="*/ 101 h 113"/>
                  <a:gd name="T20" fmla="*/ 186 w 225"/>
                  <a:gd name="T21" fmla="*/ 110 h 113"/>
                  <a:gd name="T22" fmla="*/ 169 w 225"/>
                  <a:gd name="T23" fmla="*/ 113 h 113"/>
                  <a:gd name="T24" fmla="*/ 56 w 225"/>
                  <a:gd name="T25" fmla="*/ 113 h 113"/>
                  <a:gd name="T26" fmla="*/ 39 w 225"/>
                  <a:gd name="T27" fmla="*/ 110 h 113"/>
                  <a:gd name="T28" fmla="*/ 23 w 225"/>
                  <a:gd name="T29" fmla="*/ 101 h 113"/>
                  <a:gd name="T30" fmla="*/ 11 w 225"/>
                  <a:gd name="T31" fmla="*/ 89 h 113"/>
                  <a:gd name="T32" fmla="*/ 3 w 225"/>
                  <a:gd name="T33" fmla="*/ 74 h 113"/>
                  <a:gd name="T34" fmla="*/ 0 w 225"/>
                  <a:gd name="T35" fmla="*/ 56 h 113"/>
                  <a:gd name="T36" fmla="*/ 3 w 225"/>
                  <a:gd name="T37" fmla="*/ 39 h 113"/>
                  <a:gd name="T38" fmla="*/ 11 w 225"/>
                  <a:gd name="T39" fmla="*/ 24 h 113"/>
                  <a:gd name="T40" fmla="*/ 23 w 225"/>
                  <a:gd name="T41" fmla="*/ 11 h 113"/>
                  <a:gd name="T42" fmla="*/ 39 w 225"/>
                  <a:gd name="T43" fmla="*/ 3 h 113"/>
                  <a:gd name="T44" fmla="*/ 56 w 225"/>
                  <a:gd name="T45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25" h="113">
                    <a:moveTo>
                      <a:pt x="56" y="0"/>
                    </a:moveTo>
                    <a:lnTo>
                      <a:pt x="169" y="0"/>
                    </a:lnTo>
                    <a:lnTo>
                      <a:pt x="186" y="3"/>
                    </a:lnTo>
                    <a:lnTo>
                      <a:pt x="201" y="11"/>
                    </a:lnTo>
                    <a:lnTo>
                      <a:pt x="214" y="24"/>
                    </a:lnTo>
                    <a:lnTo>
                      <a:pt x="222" y="39"/>
                    </a:lnTo>
                    <a:lnTo>
                      <a:pt x="225" y="56"/>
                    </a:lnTo>
                    <a:lnTo>
                      <a:pt x="222" y="74"/>
                    </a:lnTo>
                    <a:lnTo>
                      <a:pt x="214" y="89"/>
                    </a:lnTo>
                    <a:lnTo>
                      <a:pt x="201" y="101"/>
                    </a:lnTo>
                    <a:lnTo>
                      <a:pt x="186" y="110"/>
                    </a:lnTo>
                    <a:lnTo>
                      <a:pt x="169" y="113"/>
                    </a:lnTo>
                    <a:lnTo>
                      <a:pt x="56" y="113"/>
                    </a:lnTo>
                    <a:lnTo>
                      <a:pt x="39" y="110"/>
                    </a:lnTo>
                    <a:lnTo>
                      <a:pt x="23" y="101"/>
                    </a:lnTo>
                    <a:lnTo>
                      <a:pt x="11" y="89"/>
                    </a:lnTo>
                    <a:lnTo>
                      <a:pt x="3" y="74"/>
                    </a:lnTo>
                    <a:lnTo>
                      <a:pt x="0" y="56"/>
                    </a:lnTo>
                    <a:lnTo>
                      <a:pt x="3" y="39"/>
                    </a:lnTo>
                    <a:lnTo>
                      <a:pt x="11" y="24"/>
                    </a:lnTo>
                    <a:lnTo>
                      <a:pt x="23" y="11"/>
                    </a:lnTo>
                    <a:lnTo>
                      <a:pt x="39" y="3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 w="0">
                <a:solidFill>
                  <a:srgbClr val="919BC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829"/>
              <p:cNvSpPr>
                <a:spLocks/>
              </p:cNvSpPr>
              <p:nvPr/>
            </p:nvSpPr>
            <p:spPr bwMode="auto">
              <a:xfrm>
                <a:off x="7481888" y="5103813"/>
                <a:ext cx="152400" cy="19050"/>
              </a:xfrm>
              <a:custGeom>
                <a:avLst/>
                <a:gdLst>
                  <a:gd name="T0" fmla="*/ 56 w 957"/>
                  <a:gd name="T1" fmla="*/ 0 h 113"/>
                  <a:gd name="T2" fmla="*/ 901 w 957"/>
                  <a:gd name="T3" fmla="*/ 0 h 113"/>
                  <a:gd name="T4" fmla="*/ 918 w 957"/>
                  <a:gd name="T5" fmla="*/ 3 h 113"/>
                  <a:gd name="T6" fmla="*/ 934 w 957"/>
                  <a:gd name="T7" fmla="*/ 12 h 113"/>
                  <a:gd name="T8" fmla="*/ 946 w 957"/>
                  <a:gd name="T9" fmla="*/ 24 h 113"/>
                  <a:gd name="T10" fmla="*/ 954 w 957"/>
                  <a:gd name="T11" fmla="*/ 39 h 113"/>
                  <a:gd name="T12" fmla="*/ 957 w 957"/>
                  <a:gd name="T13" fmla="*/ 57 h 113"/>
                  <a:gd name="T14" fmla="*/ 954 w 957"/>
                  <a:gd name="T15" fmla="*/ 74 h 113"/>
                  <a:gd name="T16" fmla="*/ 946 w 957"/>
                  <a:gd name="T17" fmla="*/ 90 h 113"/>
                  <a:gd name="T18" fmla="*/ 934 w 957"/>
                  <a:gd name="T19" fmla="*/ 102 h 113"/>
                  <a:gd name="T20" fmla="*/ 918 w 957"/>
                  <a:gd name="T21" fmla="*/ 110 h 113"/>
                  <a:gd name="T22" fmla="*/ 901 w 957"/>
                  <a:gd name="T23" fmla="*/ 113 h 113"/>
                  <a:gd name="T24" fmla="*/ 56 w 957"/>
                  <a:gd name="T25" fmla="*/ 113 h 113"/>
                  <a:gd name="T26" fmla="*/ 39 w 957"/>
                  <a:gd name="T27" fmla="*/ 110 h 113"/>
                  <a:gd name="T28" fmla="*/ 23 w 957"/>
                  <a:gd name="T29" fmla="*/ 102 h 113"/>
                  <a:gd name="T30" fmla="*/ 11 w 957"/>
                  <a:gd name="T31" fmla="*/ 90 h 113"/>
                  <a:gd name="T32" fmla="*/ 3 w 957"/>
                  <a:gd name="T33" fmla="*/ 74 h 113"/>
                  <a:gd name="T34" fmla="*/ 0 w 957"/>
                  <a:gd name="T35" fmla="*/ 57 h 113"/>
                  <a:gd name="T36" fmla="*/ 3 w 957"/>
                  <a:gd name="T37" fmla="*/ 39 h 113"/>
                  <a:gd name="T38" fmla="*/ 11 w 957"/>
                  <a:gd name="T39" fmla="*/ 24 h 113"/>
                  <a:gd name="T40" fmla="*/ 23 w 957"/>
                  <a:gd name="T41" fmla="*/ 12 h 113"/>
                  <a:gd name="T42" fmla="*/ 39 w 957"/>
                  <a:gd name="T43" fmla="*/ 3 h 113"/>
                  <a:gd name="T44" fmla="*/ 56 w 957"/>
                  <a:gd name="T45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957" h="113">
                    <a:moveTo>
                      <a:pt x="56" y="0"/>
                    </a:moveTo>
                    <a:lnTo>
                      <a:pt x="901" y="0"/>
                    </a:lnTo>
                    <a:lnTo>
                      <a:pt x="918" y="3"/>
                    </a:lnTo>
                    <a:lnTo>
                      <a:pt x="934" y="12"/>
                    </a:lnTo>
                    <a:lnTo>
                      <a:pt x="946" y="24"/>
                    </a:lnTo>
                    <a:lnTo>
                      <a:pt x="954" y="39"/>
                    </a:lnTo>
                    <a:lnTo>
                      <a:pt x="957" y="57"/>
                    </a:lnTo>
                    <a:lnTo>
                      <a:pt x="954" y="74"/>
                    </a:lnTo>
                    <a:lnTo>
                      <a:pt x="946" y="90"/>
                    </a:lnTo>
                    <a:lnTo>
                      <a:pt x="934" y="102"/>
                    </a:lnTo>
                    <a:lnTo>
                      <a:pt x="918" y="110"/>
                    </a:lnTo>
                    <a:lnTo>
                      <a:pt x="901" y="113"/>
                    </a:lnTo>
                    <a:lnTo>
                      <a:pt x="56" y="113"/>
                    </a:lnTo>
                    <a:lnTo>
                      <a:pt x="39" y="110"/>
                    </a:lnTo>
                    <a:lnTo>
                      <a:pt x="23" y="102"/>
                    </a:lnTo>
                    <a:lnTo>
                      <a:pt x="11" y="90"/>
                    </a:lnTo>
                    <a:lnTo>
                      <a:pt x="3" y="74"/>
                    </a:lnTo>
                    <a:lnTo>
                      <a:pt x="0" y="57"/>
                    </a:lnTo>
                    <a:lnTo>
                      <a:pt x="3" y="39"/>
                    </a:lnTo>
                    <a:lnTo>
                      <a:pt x="11" y="24"/>
                    </a:lnTo>
                    <a:lnTo>
                      <a:pt x="23" y="12"/>
                    </a:lnTo>
                    <a:lnTo>
                      <a:pt x="39" y="3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 w="0">
                <a:solidFill>
                  <a:srgbClr val="919BC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830"/>
              <p:cNvSpPr>
                <a:spLocks/>
              </p:cNvSpPr>
              <p:nvPr/>
            </p:nvSpPr>
            <p:spPr bwMode="auto">
              <a:xfrm>
                <a:off x="7661275" y="5103813"/>
                <a:ext cx="17463" cy="19050"/>
              </a:xfrm>
              <a:custGeom>
                <a:avLst/>
                <a:gdLst>
                  <a:gd name="T0" fmla="*/ 57 w 113"/>
                  <a:gd name="T1" fmla="*/ 0 h 112"/>
                  <a:gd name="T2" fmla="*/ 71 w 113"/>
                  <a:gd name="T3" fmla="*/ 1 h 112"/>
                  <a:gd name="T4" fmla="*/ 85 w 113"/>
                  <a:gd name="T5" fmla="*/ 7 h 112"/>
                  <a:gd name="T6" fmla="*/ 97 w 113"/>
                  <a:gd name="T7" fmla="*/ 16 h 112"/>
                  <a:gd name="T8" fmla="*/ 106 w 113"/>
                  <a:gd name="T9" fmla="*/ 27 h 112"/>
                  <a:gd name="T10" fmla="*/ 111 w 113"/>
                  <a:gd name="T11" fmla="*/ 41 h 112"/>
                  <a:gd name="T12" fmla="*/ 113 w 113"/>
                  <a:gd name="T13" fmla="*/ 56 h 112"/>
                  <a:gd name="T14" fmla="*/ 111 w 113"/>
                  <a:gd name="T15" fmla="*/ 70 h 112"/>
                  <a:gd name="T16" fmla="*/ 106 w 113"/>
                  <a:gd name="T17" fmla="*/ 84 h 112"/>
                  <a:gd name="T18" fmla="*/ 97 w 113"/>
                  <a:gd name="T19" fmla="*/ 96 h 112"/>
                  <a:gd name="T20" fmla="*/ 84 w 113"/>
                  <a:gd name="T21" fmla="*/ 105 h 112"/>
                  <a:gd name="T22" fmla="*/ 71 w 113"/>
                  <a:gd name="T23" fmla="*/ 110 h 112"/>
                  <a:gd name="T24" fmla="*/ 57 w 113"/>
                  <a:gd name="T25" fmla="*/ 112 h 112"/>
                  <a:gd name="T26" fmla="*/ 42 w 113"/>
                  <a:gd name="T27" fmla="*/ 110 h 112"/>
                  <a:gd name="T28" fmla="*/ 29 w 113"/>
                  <a:gd name="T29" fmla="*/ 105 h 112"/>
                  <a:gd name="T30" fmla="*/ 17 w 113"/>
                  <a:gd name="T31" fmla="*/ 96 h 112"/>
                  <a:gd name="T32" fmla="*/ 8 w 113"/>
                  <a:gd name="T33" fmla="*/ 84 h 112"/>
                  <a:gd name="T34" fmla="*/ 2 w 113"/>
                  <a:gd name="T35" fmla="*/ 70 h 112"/>
                  <a:gd name="T36" fmla="*/ 0 w 113"/>
                  <a:gd name="T37" fmla="*/ 56 h 112"/>
                  <a:gd name="T38" fmla="*/ 2 w 113"/>
                  <a:gd name="T39" fmla="*/ 41 h 112"/>
                  <a:gd name="T40" fmla="*/ 8 w 113"/>
                  <a:gd name="T41" fmla="*/ 27 h 112"/>
                  <a:gd name="T42" fmla="*/ 17 w 113"/>
                  <a:gd name="T43" fmla="*/ 16 h 112"/>
                  <a:gd name="T44" fmla="*/ 28 w 113"/>
                  <a:gd name="T45" fmla="*/ 7 h 112"/>
                  <a:gd name="T46" fmla="*/ 42 w 113"/>
                  <a:gd name="T47" fmla="*/ 1 h 112"/>
                  <a:gd name="T48" fmla="*/ 57 w 113"/>
                  <a:gd name="T49" fmla="*/ 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3" h="112">
                    <a:moveTo>
                      <a:pt x="57" y="0"/>
                    </a:moveTo>
                    <a:lnTo>
                      <a:pt x="71" y="1"/>
                    </a:lnTo>
                    <a:lnTo>
                      <a:pt x="85" y="7"/>
                    </a:lnTo>
                    <a:lnTo>
                      <a:pt x="97" y="16"/>
                    </a:lnTo>
                    <a:lnTo>
                      <a:pt x="106" y="27"/>
                    </a:lnTo>
                    <a:lnTo>
                      <a:pt x="111" y="41"/>
                    </a:lnTo>
                    <a:lnTo>
                      <a:pt x="113" y="56"/>
                    </a:lnTo>
                    <a:lnTo>
                      <a:pt x="111" y="70"/>
                    </a:lnTo>
                    <a:lnTo>
                      <a:pt x="106" y="84"/>
                    </a:lnTo>
                    <a:lnTo>
                      <a:pt x="97" y="96"/>
                    </a:lnTo>
                    <a:lnTo>
                      <a:pt x="84" y="105"/>
                    </a:lnTo>
                    <a:lnTo>
                      <a:pt x="71" y="110"/>
                    </a:lnTo>
                    <a:lnTo>
                      <a:pt x="57" y="112"/>
                    </a:lnTo>
                    <a:lnTo>
                      <a:pt x="42" y="110"/>
                    </a:lnTo>
                    <a:lnTo>
                      <a:pt x="29" y="105"/>
                    </a:lnTo>
                    <a:lnTo>
                      <a:pt x="17" y="96"/>
                    </a:lnTo>
                    <a:lnTo>
                      <a:pt x="8" y="84"/>
                    </a:lnTo>
                    <a:lnTo>
                      <a:pt x="2" y="70"/>
                    </a:lnTo>
                    <a:lnTo>
                      <a:pt x="0" y="56"/>
                    </a:lnTo>
                    <a:lnTo>
                      <a:pt x="2" y="41"/>
                    </a:lnTo>
                    <a:lnTo>
                      <a:pt x="8" y="27"/>
                    </a:lnTo>
                    <a:lnTo>
                      <a:pt x="17" y="16"/>
                    </a:lnTo>
                    <a:lnTo>
                      <a:pt x="28" y="7"/>
                    </a:lnTo>
                    <a:lnTo>
                      <a:pt x="42" y="1"/>
                    </a:lnTo>
                    <a:lnTo>
                      <a:pt x="57" y="0"/>
                    </a:lnTo>
                    <a:close/>
                  </a:path>
                </a:pathLst>
              </a:custGeom>
              <a:grpFill/>
              <a:ln w="0">
                <a:solidFill>
                  <a:srgbClr val="919BC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831"/>
              <p:cNvSpPr>
                <a:spLocks/>
              </p:cNvSpPr>
              <p:nvPr/>
            </p:nvSpPr>
            <p:spPr bwMode="auto">
              <a:xfrm>
                <a:off x="7491413" y="5167313"/>
                <a:ext cx="17463" cy="17463"/>
              </a:xfrm>
              <a:custGeom>
                <a:avLst/>
                <a:gdLst>
                  <a:gd name="T0" fmla="*/ 56 w 113"/>
                  <a:gd name="T1" fmla="*/ 0 h 111"/>
                  <a:gd name="T2" fmla="*/ 71 w 113"/>
                  <a:gd name="T3" fmla="*/ 1 h 111"/>
                  <a:gd name="T4" fmla="*/ 84 w 113"/>
                  <a:gd name="T5" fmla="*/ 6 h 111"/>
                  <a:gd name="T6" fmla="*/ 96 w 113"/>
                  <a:gd name="T7" fmla="*/ 15 h 111"/>
                  <a:gd name="T8" fmla="*/ 105 w 113"/>
                  <a:gd name="T9" fmla="*/ 27 h 111"/>
                  <a:gd name="T10" fmla="*/ 111 w 113"/>
                  <a:gd name="T11" fmla="*/ 41 h 111"/>
                  <a:gd name="T12" fmla="*/ 113 w 113"/>
                  <a:gd name="T13" fmla="*/ 55 h 111"/>
                  <a:gd name="T14" fmla="*/ 111 w 113"/>
                  <a:gd name="T15" fmla="*/ 69 h 111"/>
                  <a:gd name="T16" fmla="*/ 105 w 113"/>
                  <a:gd name="T17" fmla="*/ 83 h 111"/>
                  <a:gd name="T18" fmla="*/ 96 w 113"/>
                  <a:gd name="T19" fmla="*/ 95 h 111"/>
                  <a:gd name="T20" fmla="*/ 84 w 113"/>
                  <a:gd name="T21" fmla="*/ 104 h 111"/>
                  <a:gd name="T22" fmla="*/ 71 w 113"/>
                  <a:gd name="T23" fmla="*/ 109 h 111"/>
                  <a:gd name="T24" fmla="*/ 56 w 113"/>
                  <a:gd name="T25" fmla="*/ 111 h 111"/>
                  <a:gd name="T26" fmla="*/ 42 w 113"/>
                  <a:gd name="T27" fmla="*/ 109 h 111"/>
                  <a:gd name="T28" fmla="*/ 29 w 113"/>
                  <a:gd name="T29" fmla="*/ 104 h 111"/>
                  <a:gd name="T30" fmla="*/ 16 w 113"/>
                  <a:gd name="T31" fmla="*/ 95 h 111"/>
                  <a:gd name="T32" fmla="*/ 7 w 113"/>
                  <a:gd name="T33" fmla="*/ 83 h 111"/>
                  <a:gd name="T34" fmla="*/ 2 w 113"/>
                  <a:gd name="T35" fmla="*/ 69 h 111"/>
                  <a:gd name="T36" fmla="*/ 0 w 113"/>
                  <a:gd name="T37" fmla="*/ 55 h 111"/>
                  <a:gd name="T38" fmla="*/ 2 w 113"/>
                  <a:gd name="T39" fmla="*/ 41 h 111"/>
                  <a:gd name="T40" fmla="*/ 7 w 113"/>
                  <a:gd name="T41" fmla="*/ 27 h 111"/>
                  <a:gd name="T42" fmla="*/ 16 w 113"/>
                  <a:gd name="T43" fmla="*/ 15 h 111"/>
                  <a:gd name="T44" fmla="*/ 28 w 113"/>
                  <a:gd name="T45" fmla="*/ 6 h 111"/>
                  <a:gd name="T46" fmla="*/ 42 w 113"/>
                  <a:gd name="T47" fmla="*/ 1 h 111"/>
                  <a:gd name="T48" fmla="*/ 56 w 113"/>
                  <a:gd name="T49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3" h="111">
                    <a:moveTo>
                      <a:pt x="56" y="0"/>
                    </a:moveTo>
                    <a:lnTo>
                      <a:pt x="71" y="1"/>
                    </a:lnTo>
                    <a:lnTo>
                      <a:pt x="84" y="6"/>
                    </a:lnTo>
                    <a:lnTo>
                      <a:pt x="96" y="15"/>
                    </a:lnTo>
                    <a:lnTo>
                      <a:pt x="105" y="27"/>
                    </a:lnTo>
                    <a:lnTo>
                      <a:pt x="111" y="41"/>
                    </a:lnTo>
                    <a:lnTo>
                      <a:pt x="113" y="55"/>
                    </a:lnTo>
                    <a:lnTo>
                      <a:pt x="111" y="69"/>
                    </a:lnTo>
                    <a:lnTo>
                      <a:pt x="105" y="83"/>
                    </a:lnTo>
                    <a:lnTo>
                      <a:pt x="96" y="95"/>
                    </a:lnTo>
                    <a:lnTo>
                      <a:pt x="84" y="104"/>
                    </a:lnTo>
                    <a:lnTo>
                      <a:pt x="71" y="109"/>
                    </a:lnTo>
                    <a:lnTo>
                      <a:pt x="56" y="111"/>
                    </a:lnTo>
                    <a:lnTo>
                      <a:pt x="42" y="109"/>
                    </a:lnTo>
                    <a:lnTo>
                      <a:pt x="29" y="104"/>
                    </a:lnTo>
                    <a:lnTo>
                      <a:pt x="16" y="95"/>
                    </a:lnTo>
                    <a:lnTo>
                      <a:pt x="7" y="83"/>
                    </a:lnTo>
                    <a:lnTo>
                      <a:pt x="2" y="69"/>
                    </a:lnTo>
                    <a:lnTo>
                      <a:pt x="0" y="55"/>
                    </a:lnTo>
                    <a:lnTo>
                      <a:pt x="2" y="41"/>
                    </a:lnTo>
                    <a:lnTo>
                      <a:pt x="7" y="27"/>
                    </a:lnTo>
                    <a:lnTo>
                      <a:pt x="16" y="15"/>
                    </a:lnTo>
                    <a:lnTo>
                      <a:pt x="28" y="6"/>
                    </a:lnTo>
                    <a:lnTo>
                      <a:pt x="42" y="1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 w="0">
                <a:solidFill>
                  <a:srgbClr val="919BC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832"/>
              <p:cNvSpPr>
                <a:spLocks/>
              </p:cNvSpPr>
              <p:nvPr/>
            </p:nvSpPr>
            <p:spPr bwMode="auto">
              <a:xfrm>
                <a:off x="7535863" y="5229226"/>
                <a:ext cx="17463" cy="17463"/>
              </a:xfrm>
              <a:custGeom>
                <a:avLst/>
                <a:gdLst>
                  <a:gd name="T0" fmla="*/ 56 w 112"/>
                  <a:gd name="T1" fmla="*/ 0 h 112"/>
                  <a:gd name="T2" fmla="*/ 70 w 112"/>
                  <a:gd name="T3" fmla="*/ 1 h 112"/>
                  <a:gd name="T4" fmla="*/ 85 w 112"/>
                  <a:gd name="T5" fmla="*/ 7 h 112"/>
                  <a:gd name="T6" fmla="*/ 96 w 112"/>
                  <a:gd name="T7" fmla="*/ 15 h 112"/>
                  <a:gd name="T8" fmla="*/ 105 w 112"/>
                  <a:gd name="T9" fmla="*/ 28 h 112"/>
                  <a:gd name="T10" fmla="*/ 110 w 112"/>
                  <a:gd name="T11" fmla="*/ 41 h 112"/>
                  <a:gd name="T12" fmla="*/ 112 w 112"/>
                  <a:gd name="T13" fmla="*/ 55 h 112"/>
                  <a:gd name="T14" fmla="*/ 110 w 112"/>
                  <a:gd name="T15" fmla="*/ 70 h 112"/>
                  <a:gd name="T16" fmla="*/ 105 w 112"/>
                  <a:gd name="T17" fmla="*/ 83 h 112"/>
                  <a:gd name="T18" fmla="*/ 96 w 112"/>
                  <a:gd name="T19" fmla="*/ 95 h 112"/>
                  <a:gd name="T20" fmla="*/ 85 w 112"/>
                  <a:gd name="T21" fmla="*/ 104 h 112"/>
                  <a:gd name="T22" fmla="*/ 70 w 112"/>
                  <a:gd name="T23" fmla="*/ 110 h 112"/>
                  <a:gd name="T24" fmla="*/ 56 w 112"/>
                  <a:gd name="T25" fmla="*/ 112 h 112"/>
                  <a:gd name="T26" fmla="*/ 42 w 112"/>
                  <a:gd name="T27" fmla="*/ 110 h 112"/>
                  <a:gd name="T28" fmla="*/ 28 w 112"/>
                  <a:gd name="T29" fmla="*/ 104 h 112"/>
                  <a:gd name="T30" fmla="*/ 16 w 112"/>
                  <a:gd name="T31" fmla="*/ 95 h 112"/>
                  <a:gd name="T32" fmla="*/ 7 w 112"/>
                  <a:gd name="T33" fmla="*/ 83 h 112"/>
                  <a:gd name="T34" fmla="*/ 2 w 112"/>
                  <a:gd name="T35" fmla="*/ 70 h 112"/>
                  <a:gd name="T36" fmla="*/ 0 w 112"/>
                  <a:gd name="T37" fmla="*/ 55 h 112"/>
                  <a:gd name="T38" fmla="*/ 2 w 112"/>
                  <a:gd name="T39" fmla="*/ 40 h 112"/>
                  <a:gd name="T40" fmla="*/ 8 w 112"/>
                  <a:gd name="T41" fmla="*/ 27 h 112"/>
                  <a:gd name="T42" fmla="*/ 16 w 112"/>
                  <a:gd name="T43" fmla="*/ 15 h 112"/>
                  <a:gd name="T44" fmla="*/ 28 w 112"/>
                  <a:gd name="T45" fmla="*/ 7 h 112"/>
                  <a:gd name="T46" fmla="*/ 42 w 112"/>
                  <a:gd name="T47" fmla="*/ 1 h 112"/>
                  <a:gd name="T48" fmla="*/ 56 w 112"/>
                  <a:gd name="T49" fmla="*/ 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2" h="112">
                    <a:moveTo>
                      <a:pt x="56" y="0"/>
                    </a:moveTo>
                    <a:lnTo>
                      <a:pt x="70" y="1"/>
                    </a:lnTo>
                    <a:lnTo>
                      <a:pt x="85" y="7"/>
                    </a:lnTo>
                    <a:lnTo>
                      <a:pt x="96" y="15"/>
                    </a:lnTo>
                    <a:lnTo>
                      <a:pt x="105" y="28"/>
                    </a:lnTo>
                    <a:lnTo>
                      <a:pt x="110" y="41"/>
                    </a:lnTo>
                    <a:lnTo>
                      <a:pt x="112" y="55"/>
                    </a:lnTo>
                    <a:lnTo>
                      <a:pt x="110" y="70"/>
                    </a:lnTo>
                    <a:lnTo>
                      <a:pt x="105" y="83"/>
                    </a:lnTo>
                    <a:lnTo>
                      <a:pt x="96" y="95"/>
                    </a:lnTo>
                    <a:lnTo>
                      <a:pt x="85" y="104"/>
                    </a:lnTo>
                    <a:lnTo>
                      <a:pt x="70" y="110"/>
                    </a:lnTo>
                    <a:lnTo>
                      <a:pt x="56" y="112"/>
                    </a:lnTo>
                    <a:lnTo>
                      <a:pt x="42" y="110"/>
                    </a:lnTo>
                    <a:lnTo>
                      <a:pt x="28" y="104"/>
                    </a:lnTo>
                    <a:lnTo>
                      <a:pt x="16" y="95"/>
                    </a:lnTo>
                    <a:lnTo>
                      <a:pt x="7" y="83"/>
                    </a:lnTo>
                    <a:lnTo>
                      <a:pt x="2" y="70"/>
                    </a:lnTo>
                    <a:lnTo>
                      <a:pt x="0" y="55"/>
                    </a:lnTo>
                    <a:lnTo>
                      <a:pt x="2" y="40"/>
                    </a:lnTo>
                    <a:lnTo>
                      <a:pt x="8" y="27"/>
                    </a:lnTo>
                    <a:lnTo>
                      <a:pt x="16" y="15"/>
                    </a:lnTo>
                    <a:lnTo>
                      <a:pt x="28" y="7"/>
                    </a:lnTo>
                    <a:lnTo>
                      <a:pt x="42" y="1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 w="0">
                <a:solidFill>
                  <a:srgbClr val="919BC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833"/>
              <p:cNvSpPr>
                <a:spLocks noEditPoints="1"/>
              </p:cNvSpPr>
              <p:nvPr/>
            </p:nvSpPr>
            <p:spPr bwMode="auto">
              <a:xfrm>
                <a:off x="7304088" y="5103813"/>
                <a:ext cx="142875" cy="142875"/>
              </a:xfrm>
              <a:custGeom>
                <a:avLst/>
                <a:gdLst>
                  <a:gd name="T0" fmla="*/ 113 w 901"/>
                  <a:gd name="T1" fmla="*/ 113 h 902"/>
                  <a:gd name="T2" fmla="*/ 113 w 901"/>
                  <a:gd name="T3" fmla="*/ 789 h 902"/>
                  <a:gd name="T4" fmla="*/ 789 w 901"/>
                  <a:gd name="T5" fmla="*/ 789 h 902"/>
                  <a:gd name="T6" fmla="*/ 789 w 901"/>
                  <a:gd name="T7" fmla="*/ 113 h 902"/>
                  <a:gd name="T8" fmla="*/ 113 w 901"/>
                  <a:gd name="T9" fmla="*/ 113 h 902"/>
                  <a:gd name="T10" fmla="*/ 0 w 901"/>
                  <a:gd name="T11" fmla="*/ 0 h 902"/>
                  <a:gd name="T12" fmla="*/ 901 w 901"/>
                  <a:gd name="T13" fmla="*/ 0 h 902"/>
                  <a:gd name="T14" fmla="*/ 901 w 901"/>
                  <a:gd name="T15" fmla="*/ 902 h 902"/>
                  <a:gd name="T16" fmla="*/ 0 w 901"/>
                  <a:gd name="T17" fmla="*/ 902 h 902"/>
                  <a:gd name="T18" fmla="*/ 0 w 901"/>
                  <a:gd name="T19" fmla="*/ 0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01" h="902">
                    <a:moveTo>
                      <a:pt x="113" y="113"/>
                    </a:moveTo>
                    <a:lnTo>
                      <a:pt x="113" y="789"/>
                    </a:lnTo>
                    <a:lnTo>
                      <a:pt x="789" y="789"/>
                    </a:lnTo>
                    <a:lnTo>
                      <a:pt x="789" y="113"/>
                    </a:lnTo>
                    <a:lnTo>
                      <a:pt x="113" y="113"/>
                    </a:lnTo>
                    <a:close/>
                    <a:moveTo>
                      <a:pt x="0" y="0"/>
                    </a:moveTo>
                    <a:lnTo>
                      <a:pt x="901" y="0"/>
                    </a:lnTo>
                    <a:lnTo>
                      <a:pt x="901" y="902"/>
                    </a:lnTo>
                    <a:lnTo>
                      <a:pt x="0" y="90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solidFill>
                  <a:srgbClr val="919BC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197421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545483"/>
                </a:solidFill>
              </a:rPr>
              <a:t>Technical Assistance definition and modalities</a:t>
            </a:r>
            <a:endParaRPr lang="ru-RU" dirty="0">
              <a:solidFill>
                <a:srgbClr val="545483"/>
              </a:solidFill>
            </a:endParaRP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490" y="4275056"/>
            <a:ext cx="5510264" cy="1963765"/>
          </a:xfrm>
          <a:prstGeom prst="rect">
            <a:avLst/>
          </a:prstGeom>
        </p:spPr>
      </p:pic>
      <p:sp>
        <p:nvSpPr>
          <p:cNvPr id="4" name="Текст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idx="16"/>
          </p:nvPr>
        </p:nvSpPr>
        <p:spPr/>
        <p:txBody>
          <a:bodyPr/>
          <a:lstStyle/>
          <a:p>
            <a:r>
              <a:rPr lang="en-US" smtClean="0"/>
              <a:t>Footer goes here</a:t>
            </a:r>
            <a:endParaRPr lang="en-US" dirty="0" smtClean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idx="17"/>
          </p:nvPr>
        </p:nvSpPr>
        <p:spPr/>
        <p:txBody>
          <a:bodyPr/>
          <a:lstStyle/>
          <a:p>
            <a:fld id="{00000000-1234-1234-1234-123412341234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8" name="Текст 6"/>
          <p:cNvSpPr txBox="1">
            <a:spLocks/>
          </p:cNvSpPr>
          <p:nvPr/>
        </p:nvSpPr>
        <p:spPr>
          <a:xfrm>
            <a:off x="410011" y="1523707"/>
            <a:ext cx="5521223" cy="2736000"/>
          </a:xfrm>
          <a:prstGeom prst="rect">
            <a:avLst/>
          </a:prstGeom>
          <a:gradFill flip="none" rotWithShape="1">
            <a:gsLst>
              <a:gs pos="0">
                <a:srgbClr val="00B2CD">
                  <a:tint val="66000"/>
                  <a:satMod val="160000"/>
                </a:srgbClr>
              </a:gs>
              <a:gs pos="50000">
                <a:srgbClr val="00B2CD">
                  <a:tint val="44500"/>
                  <a:satMod val="160000"/>
                </a:srgbClr>
              </a:gs>
              <a:gs pos="100000">
                <a:srgbClr val="00B2CD">
                  <a:tint val="23500"/>
                  <a:satMod val="160000"/>
                </a:srgbClr>
              </a:gs>
            </a:gsLst>
            <a:lin ang="5400000" scaled="1"/>
            <a:tileRect/>
          </a:gradFill>
        </p:spPr>
        <p:txBody>
          <a:bodyPr vert="horz" lIns="180000" tIns="180000" rIns="180000" bIns="0" rtlCol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/>
              <a:defRPr sz="1800" b="0" i="0" u="none" strike="noStrike" cap="none">
                <a:solidFill>
                  <a:srgbClr val="000000"/>
                </a:solidFill>
                <a:latin typeface="+mn-lt"/>
                <a:ea typeface="Source Sans Pro" panose="020B0503030403020204" pitchFamily="34" charset="0"/>
                <a:cs typeface="Arial"/>
                <a:sym typeface="Arial"/>
              </a:defRPr>
            </a:lvl1pPr>
            <a:lvl2pPr marL="0" marR="0" lvl="1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00" b="0" i="0" u="none" strike="noStrike" cap="none">
                <a:solidFill>
                  <a:srgbClr val="000000"/>
                </a:solidFill>
                <a:latin typeface="+mn-lt"/>
                <a:ea typeface="Arial"/>
                <a:cs typeface="Arial"/>
                <a:sym typeface="Arial"/>
              </a:defRPr>
            </a:lvl2pPr>
            <a:lvl3pPr marL="285750" marR="0" lvl="2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800" b="0" i="0" u="none" strike="noStrike" cap="none">
                <a:solidFill>
                  <a:srgbClr val="000000"/>
                </a:solidFill>
                <a:latin typeface="+mn-lt"/>
                <a:ea typeface="Source Sans Pro" panose="020B0503030403020204" pitchFamily="34" charset="0"/>
                <a:cs typeface="Arial"/>
                <a:sym typeface="Arial"/>
              </a:defRPr>
            </a:lvl3pPr>
            <a:lvl4pPr marL="285750" marR="0" lvl="3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800" b="0" i="0" u="none" strike="noStrike" cap="none">
                <a:solidFill>
                  <a:srgbClr val="000000"/>
                </a:solidFill>
                <a:latin typeface="+mn-lt"/>
                <a:ea typeface="Arial"/>
                <a:cs typeface="Arial"/>
                <a:sym typeface="Arial"/>
              </a:defRPr>
            </a:lvl4pPr>
            <a:lvl5pPr marL="538163" marR="0" lvl="4" indent="-25558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­"/>
              <a:defRPr sz="1800" b="0" i="0" u="none" strike="noStrike" cap="none">
                <a:solidFill>
                  <a:srgbClr val="000000"/>
                </a:solidFill>
                <a:latin typeface="+mn-lt"/>
                <a:ea typeface="Source Sans Pro" panose="020B0503030403020204" pitchFamily="34" charset="0"/>
                <a:cs typeface="Arial"/>
                <a:sym typeface="Arial"/>
              </a:defRPr>
            </a:lvl5pPr>
            <a:lvl6pPr marL="285750" marR="0" lvl="5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just">
              <a:spcAft>
                <a:spcPts val="0"/>
              </a:spcAft>
            </a:pPr>
            <a:r>
              <a:rPr lang="en-US" sz="1600" dirty="0">
                <a:solidFill>
                  <a:srgbClr val="343467"/>
                </a:solidFill>
                <a:latin typeface="Source Sans Pro SemiBold" panose="020B0603030403020204" pitchFamily="34" charset="0"/>
              </a:rPr>
              <a:t>TA </a:t>
            </a:r>
            <a:r>
              <a:rPr lang="en-US" sz="1600" dirty="0">
                <a:solidFill>
                  <a:srgbClr val="343467"/>
                </a:solidFill>
              </a:rPr>
              <a:t>means the transfer, adaptation, and </a:t>
            </a:r>
            <a:r>
              <a:rPr lang="en-US" sz="1600" dirty="0" err="1">
                <a:solidFill>
                  <a:srgbClr val="343467"/>
                </a:solidFill>
              </a:rPr>
              <a:t>utilisation</a:t>
            </a:r>
            <a:r>
              <a:rPr lang="en-US" sz="1600" dirty="0">
                <a:solidFill>
                  <a:srgbClr val="343467"/>
                </a:solidFill>
              </a:rPr>
              <a:t> of </a:t>
            </a:r>
            <a:r>
              <a:rPr lang="en-US" sz="1600" dirty="0" smtClean="0">
                <a:solidFill>
                  <a:srgbClr val="343467"/>
                </a:solidFill>
              </a:rPr>
              <a:t>services</a:t>
            </a:r>
            <a:r>
              <a:rPr lang="en-US" sz="1600" dirty="0">
                <a:solidFill>
                  <a:srgbClr val="343467"/>
                </a:solidFill>
              </a:rPr>
              <a:t>, skills, knowledge, and technologies to/by a recipient state for the purposes of: (</a:t>
            </a:r>
            <a:r>
              <a:rPr lang="en-US" sz="1600" dirty="0" err="1">
                <a:solidFill>
                  <a:srgbClr val="343467"/>
                </a:solidFill>
              </a:rPr>
              <a:t>i</a:t>
            </a:r>
            <a:r>
              <a:rPr lang="en-US" sz="1600" dirty="0">
                <a:solidFill>
                  <a:srgbClr val="343467"/>
                </a:solidFill>
              </a:rPr>
              <a:t>) </a:t>
            </a:r>
            <a:r>
              <a:rPr lang="en-US" sz="1600" dirty="0" smtClean="0">
                <a:solidFill>
                  <a:srgbClr val="343467"/>
                </a:solidFill>
              </a:rPr>
              <a:t>conducting </a:t>
            </a:r>
            <a:r>
              <a:rPr lang="en-US" sz="1600" dirty="0">
                <a:solidFill>
                  <a:srgbClr val="343467"/>
                </a:solidFill>
              </a:rPr>
              <a:t>policy research and providing advisory assistance; (ii) supporting project preparation </a:t>
            </a:r>
            <a:r>
              <a:rPr lang="en-US" sz="1600" dirty="0" smtClean="0">
                <a:solidFill>
                  <a:srgbClr val="343467"/>
                </a:solidFill>
              </a:rPr>
              <a:t>and </a:t>
            </a:r>
            <a:r>
              <a:rPr lang="en-US" sz="1600" dirty="0">
                <a:solidFill>
                  <a:srgbClr val="343467"/>
                </a:solidFill>
              </a:rPr>
              <a:t>implementation; and (iii) ensuring sustainable improvement of the economic, management, </a:t>
            </a:r>
            <a:r>
              <a:rPr lang="en-US" sz="1600" dirty="0" smtClean="0">
                <a:solidFill>
                  <a:srgbClr val="343467"/>
                </a:solidFill>
              </a:rPr>
              <a:t>and </a:t>
            </a:r>
            <a:r>
              <a:rPr lang="en-US" sz="1600" dirty="0">
                <a:solidFill>
                  <a:srgbClr val="343467"/>
                </a:solidFill>
              </a:rPr>
              <a:t>institutional capacity of the TA recipient state in the framework of investment credits and </a:t>
            </a:r>
            <a:r>
              <a:rPr lang="en-US" sz="1600" dirty="0" smtClean="0">
                <a:solidFill>
                  <a:srgbClr val="343467"/>
                </a:solidFill>
              </a:rPr>
              <a:t>government </a:t>
            </a:r>
            <a:r>
              <a:rPr lang="en-US" sz="1600" dirty="0">
                <a:solidFill>
                  <a:srgbClr val="343467"/>
                </a:solidFill>
              </a:rPr>
              <a:t>structural and institutional reform </a:t>
            </a:r>
            <a:r>
              <a:rPr lang="en-US" sz="1600" dirty="0" err="1">
                <a:solidFill>
                  <a:srgbClr val="343467"/>
                </a:solidFill>
              </a:rPr>
              <a:t>programmes</a:t>
            </a:r>
            <a:r>
              <a:rPr lang="en-US" sz="1600" dirty="0">
                <a:solidFill>
                  <a:srgbClr val="343467"/>
                </a:solidFill>
              </a:rPr>
              <a:t> supported with IFI credits.</a:t>
            </a:r>
            <a:endParaRPr lang="ru-RU" sz="1600" dirty="0">
              <a:solidFill>
                <a:srgbClr val="343467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286348" y="1520825"/>
            <a:ext cx="5462740" cy="4697095"/>
          </a:xfrm>
          <a:prstGeom prst="rect">
            <a:avLst/>
          </a:prstGeom>
          <a:gradFill flip="none" rotWithShape="1">
            <a:gsLst>
              <a:gs pos="0">
                <a:srgbClr val="7F9ACA">
                  <a:tint val="66000"/>
                  <a:satMod val="160000"/>
                </a:srgbClr>
              </a:gs>
              <a:gs pos="50000">
                <a:srgbClr val="7F9ACA">
                  <a:tint val="44500"/>
                  <a:satMod val="160000"/>
                </a:srgbClr>
              </a:gs>
              <a:gs pos="100000">
                <a:srgbClr val="7F9ACA">
                  <a:tint val="23500"/>
                  <a:satMod val="160000"/>
                </a:srgbClr>
              </a:gs>
            </a:gsLst>
            <a:lin ang="5400000" scaled="1"/>
            <a:tileRect/>
          </a:gradFill>
        </p:spPr>
        <p:txBody>
          <a:bodyPr vert="horz" lIns="180000" tIns="180000" rIns="180000" bIns="0" rtlCol="0">
            <a:noAutofit/>
          </a:bodyPr>
          <a:lstStyle/>
          <a:p>
            <a:pPr algn="just">
              <a:spcAft>
                <a:spcPts val="1200"/>
              </a:spcAft>
            </a:pPr>
            <a:r>
              <a:rPr lang="en-US" sz="1800" dirty="0" smtClean="0">
                <a:solidFill>
                  <a:schemeClr val="bg2"/>
                </a:solidFill>
                <a:latin typeface="+mn-lt"/>
                <a:ea typeface="Source Sans Pro" panose="020B0503030403020204" pitchFamily="34" charset="0"/>
              </a:rPr>
              <a:t>TA modalities</a:t>
            </a:r>
            <a:r>
              <a:rPr lang="ru-RU" sz="1800" dirty="0" smtClean="0">
                <a:solidFill>
                  <a:schemeClr val="bg2"/>
                </a:solidFill>
                <a:latin typeface="+mn-lt"/>
                <a:ea typeface="Source Sans Pro" panose="020B0503030403020204" pitchFamily="34" charset="0"/>
              </a:rPr>
              <a:t>:</a:t>
            </a:r>
            <a:endParaRPr lang="ru-RU" sz="1800" dirty="0">
              <a:solidFill>
                <a:schemeClr val="bg2"/>
              </a:solidFill>
              <a:latin typeface="+mn-lt"/>
              <a:ea typeface="Source Sans Pro" panose="020B0503030403020204" pitchFamily="34" charset="0"/>
            </a:endParaRPr>
          </a:p>
          <a:p>
            <a:pPr marL="720000" algn="just">
              <a:spcAft>
                <a:spcPts val="1200"/>
              </a:spcAft>
            </a:pPr>
            <a:r>
              <a:rPr lang="en-US" sz="1800" dirty="0">
                <a:solidFill>
                  <a:schemeClr val="bg2"/>
                </a:solidFill>
                <a:latin typeface="+mn-lt"/>
                <a:ea typeface="Source Sans Pro" panose="020B0503030403020204" pitchFamily="34" charset="0"/>
              </a:rPr>
              <a:t>embedding technical experts in government bodies to develop their capacity and/or support </a:t>
            </a:r>
            <a:r>
              <a:rPr lang="en-US" sz="1800" dirty="0" err="1" smtClean="0">
                <a:solidFill>
                  <a:schemeClr val="bg2"/>
                </a:solidFill>
                <a:latin typeface="+mn-lt"/>
                <a:ea typeface="Source Sans Pro" panose="020B0503030403020204" pitchFamily="34" charset="0"/>
              </a:rPr>
              <a:t>organisational</a:t>
            </a:r>
            <a:r>
              <a:rPr lang="en-US" sz="1800" dirty="0" smtClean="0">
                <a:solidFill>
                  <a:schemeClr val="bg2"/>
                </a:solidFill>
                <a:latin typeface="+mn-lt"/>
                <a:ea typeface="Source Sans Pro" panose="020B0503030403020204" pitchFamily="34" charset="0"/>
              </a:rPr>
              <a:t> change;</a:t>
            </a:r>
            <a:endParaRPr lang="ru-RU" sz="1800" dirty="0" smtClean="0">
              <a:solidFill>
                <a:schemeClr val="bg2"/>
              </a:solidFill>
              <a:latin typeface="+mn-lt"/>
              <a:ea typeface="Source Sans Pro" panose="020B0503030403020204" pitchFamily="34" charset="0"/>
            </a:endParaRPr>
          </a:p>
          <a:p>
            <a:pPr marL="720000" algn="just">
              <a:spcAft>
                <a:spcPts val="1200"/>
              </a:spcAft>
            </a:pPr>
            <a:r>
              <a:rPr lang="en-US" sz="1800" dirty="0">
                <a:solidFill>
                  <a:schemeClr val="bg2"/>
                </a:solidFill>
                <a:latin typeface="+mn-lt"/>
                <a:ea typeface="Source Sans Pro" panose="020B0503030403020204" pitchFamily="34" charset="0"/>
              </a:rPr>
              <a:t>embedding technical experts within assistance projects to design and implement the </a:t>
            </a:r>
            <a:r>
              <a:rPr lang="en-US" sz="1800" dirty="0" smtClean="0">
                <a:solidFill>
                  <a:schemeClr val="bg2"/>
                </a:solidFill>
                <a:latin typeface="+mn-lt"/>
                <a:ea typeface="Source Sans Pro" panose="020B0503030403020204" pitchFamily="34" charset="0"/>
              </a:rPr>
              <a:t>projects</a:t>
            </a:r>
            <a:r>
              <a:rPr lang="en-US" sz="1800" dirty="0">
                <a:solidFill>
                  <a:schemeClr val="bg2"/>
                </a:solidFill>
                <a:latin typeface="+mn-lt"/>
                <a:ea typeface="Source Sans Pro" panose="020B0503030403020204" pitchFamily="34" charset="0"/>
              </a:rPr>
              <a:t>;</a:t>
            </a:r>
            <a:endParaRPr lang="ru-RU" sz="1800" dirty="0">
              <a:solidFill>
                <a:schemeClr val="bg2"/>
              </a:solidFill>
              <a:latin typeface="+mn-lt"/>
              <a:ea typeface="Source Sans Pro" panose="020B0503030403020204" pitchFamily="34" charset="0"/>
            </a:endParaRPr>
          </a:p>
          <a:p>
            <a:pPr marL="720000" algn="just">
              <a:spcAft>
                <a:spcPts val="1200"/>
              </a:spcAft>
            </a:pPr>
            <a:r>
              <a:rPr lang="en-US" sz="1800" dirty="0">
                <a:solidFill>
                  <a:schemeClr val="bg2"/>
                </a:solidFill>
                <a:latin typeface="+mn-lt"/>
                <a:ea typeface="Source Sans Pro" panose="020B0503030403020204" pitchFamily="34" charset="0"/>
              </a:rPr>
              <a:t>providing policy advice, often accompanying ODA; </a:t>
            </a:r>
            <a:endParaRPr lang="en-US" sz="1800" dirty="0" smtClean="0">
              <a:solidFill>
                <a:schemeClr val="bg2"/>
              </a:solidFill>
              <a:latin typeface="+mn-lt"/>
              <a:ea typeface="Source Sans Pro" panose="020B0503030403020204" pitchFamily="34" charset="0"/>
            </a:endParaRPr>
          </a:p>
          <a:p>
            <a:pPr marL="720000" algn="just">
              <a:spcAft>
                <a:spcPts val="1200"/>
              </a:spcAft>
            </a:pPr>
            <a:r>
              <a:rPr lang="en-US" sz="1800" dirty="0" smtClean="0">
                <a:solidFill>
                  <a:schemeClr val="bg2"/>
                </a:solidFill>
                <a:latin typeface="+mn-lt"/>
                <a:ea typeface="Source Sans Pro" panose="020B0503030403020204" pitchFamily="34" charset="0"/>
              </a:rPr>
              <a:t>providing </a:t>
            </a:r>
            <a:r>
              <a:rPr lang="en-US" sz="1800" dirty="0">
                <a:solidFill>
                  <a:schemeClr val="bg2"/>
                </a:solidFill>
                <a:latin typeface="+mn-lt"/>
                <a:ea typeface="Source Sans Pro" panose="020B0503030403020204" pitchFamily="34" charset="0"/>
              </a:rPr>
              <a:t>advice on the impact assessment for government legislation and regulations</a:t>
            </a:r>
            <a:r>
              <a:rPr lang="ru-RU" sz="1800" dirty="0" smtClean="0">
                <a:solidFill>
                  <a:schemeClr val="bg2"/>
                </a:solidFill>
                <a:latin typeface="+mn-lt"/>
                <a:ea typeface="Source Sans Pro" panose="020B0503030403020204" pitchFamily="34" charset="0"/>
              </a:rPr>
              <a:t>.</a:t>
            </a:r>
            <a:endParaRPr lang="ru-RU" sz="1800" dirty="0">
              <a:solidFill>
                <a:schemeClr val="bg2"/>
              </a:solidFill>
              <a:latin typeface="+mn-lt"/>
              <a:ea typeface="Source Sans Pro" panose="020B0503030403020204" pitchFamily="34" charset="0"/>
            </a:endParaRPr>
          </a:p>
        </p:txBody>
      </p:sp>
      <p:grpSp>
        <p:nvGrpSpPr>
          <p:cNvPr id="11" name="Group 241"/>
          <p:cNvGrpSpPr/>
          <p:nvPr/>
        </p:nvGrpSpPr>
        <p:grpSpPr>
          <a:xfrm>
            <a:off x="6508092" y="2238973"/>
            <a:ext cx="540000" cy="419100"/>
            <a:chOff x="3502025" y="1984375"/>
            <a:chExt cx="554038" cy="419100"/>
          </a:xfrm>
          <a:solidFill>
            <a:schemeClr val="bg2"/>
          </a:solidFill>
        </p:grpSpPr>
        <p:sp>
          <p:nvSpPr>
            <p:cNvPr id="12" name="Freeform 82"/>
            <p:cNvSpPr>
              <a:spLocks noEditPoints="1"/>
            </p:cNvSpPr>
            <p:nvPr/>
          </p:nvSpPr>
          <p:spPr bwMode="auto">
            <a:xfrm>
              <a:off x="3502025" y="1984375"/>
              <a:ext cx="554038" cy="419100"/>
            </a:xfrm>
            <a:custGeom>
              <a:avLst/>
              <a:gdLst>
                <a:gd name="T0" fmla="*/ 1403 w 3490"/>
                <a:gd name="T1" fmla="*/ 1406 h 2638"/>
                <a:gd name="T2" fmla="*/ 1344 w 3490"/>
                <a:gd name="T3" fmla="*/ 1494 h 2638"/>
                <a:gd name="T4" fmla="*/ 1365 w 3490"/>
                <a:gd name="T5" fmla="*/ 1600 h 2638"/>
                <a:gd name="T6" fmla="*/ 1453 w 3490"/>
                <a:gd name="T7" fmla="*/ 1658 h 2638"/>
                <a:gd name="T8" fmla="*/ 2063 w 3490"/>
                <a:gd name="T9" fmla="*/ 1650 h 2638"/>
                <a:gd name="T10" fmla="*/ 2137 w 3490"/>
                <a:gd name="T11" fmla="*/ 1575 h 2638"/>
                <a:gd name="T12" fmla="*/ 2137 w 3490"/>
                <a:gd name="T13" fmla="*/ 1467 h 2638"/>
                <a:gd name="T14" fmla="*/ 2063 w 3490"/>
                <a:gd name="T15" fmla="*/ 1393 h 2638"/>
                <a:gd name="T16" fmla="*/ 243 w 3490"/>
                <a:gd name="T17" fmla="*/ 572 h 2638"/>
                <a:gd name="T18" fmla="*/ 162 w 3490"/>
                <a:gd name="T19" fmla="*/ 612 h 2638"/>
                <a:gd name="T20" fmla="*/ 139 w 3490"/>
                <a:gd name="T21" fmla="*/ 892 h 2638"/>
                <a:gd name="T22" fmla="*/ 1291 w 3490"/>
                <a:gd name="T23" fmla="*/ 1317 h 2638"/>
                <a:gd name="T24" fmla="*/ 1437 w 3490"/>
                <a:gd name="T25" fmla="*/ 1245 h 2638"/>
                <a:gd name="T26" fmla="*/ 2093 w 3490"/>
                <a:gd name="T27" fmla="*/ 1256 h 2638"/>
                <a:gd name="T28" fmla="*/ 2227 w 3490"/>
                <a:gd name="T29" fmla="*/ 1348 h 2638"/>
                <a:gd name="T30" fmla="*/ 2907 w 3490"/>
                <a:gd name="T31" fmla="*/ 1110 h 2638"/>
                <a:gd name="T32" fmla="*/ 2972 w 3490"/>
                <a:gd name="T33" fmla="*/ 1134 h 2638"/>
                <a:gd name="T34" fmla="*/ 2986 w 3490"/>
                <a:gd name="T35" fmla="*/ 1202 h 2638"/>
                <a:gd name="T36" fmla="*/ 2283 w 3490"/>
                <a:gd name="T37" fmla="*/ 1567 h 2638"/>
                <a:gd name="T38" fmla="*/ 2218 w 3490"/>
                <a:gd name="T39" fmla="*/ 1706 h 2638"/>
                <a:gd name="T40" fmla="*/ 2089 w 3490"/>
                <a:gd name="T41" fmla="*/ 1789 h 2638"/>
                <a:gd name="T42" fmla="*/ 1440 w 3490"/>
                <a:gd name="T43" fmla="*/ 1797 h 2638"/>
                <a:gd name="T44" fmla="*/ 1300 w 3490"/>
                <a:gd name="T45" fmla="*/ 1734 h 2638"/>
                <a:gd name="T46" fmla="*/ 1215 w 3490"/>
                <a:gd name="T47" fmla="*/ 1605 h 2638"/>
                <a:gd name="T48" fmla="*/ 142 w 3490"/>
                <a:gd name="T49" fmla="*/ 2417 h 2638"/>
                <a:gd name="T50" fmla="*/ 198 w 3490"/>
                <a:gd name="T51" fmla="*/ 2487 h 2638"/>
                <a:gd name="T52" fmla="*/ 3270 w 3490"/>
                <a:gd name="T53" fmla="*/ 2496 h 2638"/>
                <a:gd name="T54" fmla="*/ 3340 w 3490"/>
                <a:gd name="T55" fmla="*/ 2439 h 2638"/>
                <a:gd name="T56" fmla="*/ 3348 w 3490"/>
                <a:gd name="T57" fmla="*/ 653 h 2638"/>
                <a:gd name="T58" fmla="*/ 3292 w 3490"/>
                <a:gd name="T59" fmla="*/ 583 h 2638"/>
                <a:gd name="T60" fmla="*/ 1392 w 3490"/>
                <a:gd name="T61" fmla="*/ 140 h 2638"/>
                <a:gd name="T62" fmla="*/ 1292 w 3490"/>
                <a:gd name="T63" fmla="*/ 181 h 2638"/>
                <a:gd name="T64" fmla="*/ 1251 w 3490"/>
                <a:gd name="T65" fmla="*/ 280 h 2638"/>
                <a:gd name="T66" fmla="*/ 2236 w 3490"/>
                <a:gd name="T67" fmla="*/ 252 h 2638"/>
                <a:gd name="T68" fmla="*/ 2176 w 3490"/>
                <a:gd name="T69" fmla="*/ 164 h 2638"/>
                <a:gd name="T70" fmla="*/ 1392 w 3490"/>
                <a:gd name="T71" fmla="*/ 140 h 2638"/>
                <a:gd name="T72" fmla="*/ 2179 w 3490"/>
                <a:gd name="T73" fmla="*/ 12 h 2638"/>
                <a:gd name="T74" fmla="*/ 2309 w 3490"/>
                <a:gd name="T75" fmla="*/ 97 h 2638"/>
                <a:gd name="T76" fmla="*/ 2374 w 3490"/>
                <a:gd name="T77" fmla="*/ 239 h 2638"/>
                <a:gd name="T78" fmla="*/ 3286 w 3490"/>
                <a:gd name="T79" fmla="*/ 436 h 2638"/>
                <a:gd name="T80" fmla="*/ 3419 w 3490"/>
                <a:gd name="T81" fmla="*/ 504 h 2638"/>
                <a:gd name="T82" fmla="*/ 3487 w 3490"/>
                <a:gd name="T83" fmla="*/ 637 h 2638"/>
                <a:gd name="T84" fmla="*/ 3477 w 3490"/>
                <a:gd name="T85" fmla="*/ 2470 h 2638"/>
                <a:gd name="T86" fmla="*/ 3391 w 3490"/>
                <a:gd name="T87" fmla="*/ 2590 h 2638"/>
                <a:gd name="T88" fmla="*/ 3247 w 3490"/>
                <a:gd name="T89" fmla="*/ 2638 h 2638"/>
                <a:gd name="T90" fmla="*/ 131 w 3490"/>
                <a:gd name="T91" fmla="*/ 2610 h 2638"/>
                <a:gd name="T92" fmla="*/ 27 w 3490"/>
                <a:gd name="T93" fmla="*/ 2505 h 2638"/>
                <a:gd name="T94" fmla="*/ 0 w 3490"/>
                <a:gd name="T95" fmla="*/ 677 h 2638"/>
                <a:gd name="T96" fmla="*/ 47 w 3490"/>
                <a:gd name="T97" fmla="*/ 533 h 2638"/>
                <a:gd name="T98" fmla="*/ 166 w 3490"/>
                <a:gd name="T99" fmla="*/ 445 h 2638"/>
                <a:gd name="T100" fmla="*/ 1113 w 3490"/>
                <a:gd name="T101" fmla="*/ 280 h 2638"/>
                <a:gd name="T102" fmla="*/ 1157 w 3490"/>
                <a:gd name="T103" fmla="*/ 128 h 2638"/>
                <a:gd name="T104" fmla="*/ 1274 w 3490"/>
                <a:gd name="T105" fmla="*/ 27 h 2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490" h="2638">
                  <a:moveTo>
                    <a:pt x="1481" y="1382"/>
                  </a:moveTo>
                  <a:lnTo>
                    <a:pt x="1453" y="1384"/>
                  </a:lnTo>
                  <a:lnTo>
                    <a:pt x="1427" y="1393"/>
                  </a:lnTo>
                  <a:lnTo>
                    <a:pt x="1403" y="1406"/>
                  </a:lnTo>
                  <a:lnTo>
                    <a:pt x="1382" y="1423"/>
                  </a:lnTo>
                  <a:lnTo>
                    <a:pt x="1365" y="1444"/>
                  </a:lnTo>
                  <a:lnTo>
                    <a:pt x="1353" y="1467"/>
                  </a:lnTo>
                  <a:lnTo>
                    <a:pt x="1344" y="1494"/>
                  </a:lnTo>
                  <a:lnTo>
                    <a:pt x="1342" y="1521"/>
                  </a:lnTo>
                  <a:lnTo>
                    <a:pt x="1344" y="1550"/>
                  </a:lnTo>
                  <a:lnTo>
                    <a:pt x="1353" y="1575"/>
                  </a:lnTo>
                  <a:lnTo>
                    <a:pt x="1365" y="1600"/>
                  </a:lnTo>
                  <a:lnTo>
                    <a:pt x="1382" y="1620"/>
                  </a:lnTo>
                  <a:lnTo>
                    <a:pt x="1403" y="1637"/>
                  </a:lnTo>
                  <a:lnTo>
                    <a:pt x="1427" y="1650"/>
                  </a:lnTo>
                  <a:lnTo>
                    <a:pt x="1453" y="1658"/>
                  </a:lnTo>
                  <a:lnTo>
                    <a:pt x="1481" y="1661"/>
                  </a:lnTo>
                  <a:lnTo>
                    <a:pt x="2009" y="1661"/>
                  </a:lnTo>
                  <a:lnTo>
                    <a:pt x="2037" y="1658"/>
                  </a:lnTo>
                  <a:lnTo>
                    <a:pt x="2063" y="1650"/>
                  </a:lnTo>
                  <a:lnTo>
                    <a:pt x="2087" y="1637"/>
                  </a:lnTo>
                  <a:lnTo>
                    <a:pt x="2108" y="1620"/>
                  </a:lnTo>
                  <a:lnTo>
                    <a:pt x="2125" y="1600"/>
                  </a:lnTo>
                  <a:lnTo>
                    <a:pt x="2137" y="1575"/>
                  </a:lnTo>
                  <a:lnTo>
                    <a:pt x="2146" y="1550"/>
                  </a:lnTo>
                  <a:lnTo>
                    <a:pt x="2148" y="1521"/>
                  </a:lnTo>
                  <a:lnTo>
                    <a:pt x="2146" y="1494"/>
                  </a:lnTo>
                  <a:lnTo>
                    <a:pt x="2137" y="1467"/>
                  </a:lnTo>
                  <a:lnTo>
                    <a:pt x="2125" y="1444"/>
                  </a:lnTo>
                  <a:lnTo>
                    <a:pt x="2108" y="1423"/>
                  </a:lnTo>
                  <a:lnTo>
                    <a:pt x="2087" y="1406"/>
                  </a:lnTo>
                  <a:lnTo>
                    <a:pt x="2063" y="1393"/>
                  </a:lnTo>
                  <a:lnTo>
                    <a:pt x="2037" y="1384"/>
                  </a:lnTo>
                  <a:lnTo>
                    <a:pt x="2009" y="1382"/>
                  </a:lnTo>
                  <a:lnTo>
                    <a:pt x="1481" y="1382"/>
                  </a:lnTo>
                  <a:close/>
                  <a:moveTo>
                    <a:pt x="243" y="572"/>
                  </a:moveTo>
                  <a:lnTo>
                    <a:pt x="220" y="575"/>
                  </a:lnTo>
                  <a:lnTo>
                    <a:pt x="198" y="583"/>
                  </a:lnTo>
                  <a:lnTo>
                    <a:pt x="178" y="596"/>
                  </a:lnTo>
                  <a:lnTo>
                    <a:pt x="162" y="612"/>
                  </a:lnTo>
                  <a:lnTo>
                    <a:pt x="150" y="631"/>
                  </a:lnTo>
                  <a:lnTo>
                    <a:pt x="142" y="653"/>
                  </a:lnTo>
                  <a:lnTo>
                    <a:pt x="139" y="677"/>
                  </a:lnTo>
                  <a:lnTo>
                    <a:pt x="139" y="892"/>
                  </a:lnTo>
                  <a:lnTo>
                    <a:pt x="1223" y="1419"/>
                  </a:lnTo>
                  <a:lnTo>
                    <a:pt x="1241" y="1382"/>
                  </a:lnTo>
                  <a:lnTo>
                    <a:pt x="1263" y="1348"/>
                  </a:lnTo>
                  <a:lnTo>
                    <a:pt x="1291" y="1317"/>
                  </a:lnTo>
                  <a:lnTo>
                    <a:pt x="1323" y="1292"/>
                  </a:lnTo>
                  <a:lnTo>
                    <a:pt x="1358" y="1271"/>
                  </a:lnTo>
                  <a:lnTo>
                    <a:pt x="1397" y="1256"/>
                  </a:lnTo>
                  <a:lnTo>
                    <a:pt x="1437" y="1245"/>
                  </a:lnTo>
                  <a:lnTo>
                    <a:pt x="1481" y="1242"/>
                  </a:lnTo>
                  <a:lnTo>
                    <a:pt x="2009" y="1242"/>
                  </a:lnTo>
                  <a:lnTo>
                    <a:pt x="2053" y="1245"/>
                  </a:lnTo>
                  <a:lnTo>
                    <a:pt x="2093" y="1256"/>
                  </a:lnTo>
                  <a:lnTo>
                    <a:pt x="2132" y="1271"/>
                  </a:lnTo>
                  <a:lnTo>
                    <a:pt x="2167" y="1292"/>
                  </a:lnTo>
                  <a:lnTo>
                    <a:pt x="2199" y="1317"/>
                  </a:lnTo>
                  <a:lnTo>
                    <a:pt x="2227" y="1348"/>
                  </a:lnTo>
                  <a:lnTo>
                    <a:pt x="2249" y="1382"/>
                  </a:lnTo>
                  <a:lnTo>
                    <a:pt x="2267" y="1419"/>
                  </a:lnTo>
                  <a:lnTo>
                    <a:pt x="2889" y="1117"/>
                  </a:lnTo>
                  <a:lnTo>
                    <a:pt x="2907" y="1110"/>
                  </a:lnTo>
                  <a:lnTo>
                    <a:pt x="2925" y="1109"/>
                  </a:lnTo>
                  <a:lnTo>
                    <a:pt x="2942" y="1114"/>
                  </a:lnTo>
                  <a:lnTo>
                    <a:pt x="2959" y="1121"/>
                  </a:lnTo>
                  <a:lnTo>
                    <a:pt x="2972" y="1134"/>
                  </a:lnTo>
                  <a:lnTo>
                    <a:pt x="2982" y="1149"/>
                  </a:lnTo>
                  <a:lnTo>
                    <a:pt x="2989" y="1167"/>
                  </a:lnTo>
                  <a:lnTo>
                    <a:pt x="2990" y="1185"/>
                  </a:lnTo>
                  <a:lnTo>
                    <a:pt x="2986" y="1202"/>
                  </a:lnTo>
                  <a:lnTo>
                    <a:pt x="2978" y="1219"/>
                  </a:lnTo>
                  <a:lnTo>
                    <a:pt x="2965" y="1231"/>
                  </a:lnTo>
                  <a:lnTo>
                    <a:pt x="2951" y="1242"/>
                  </a:lnTo>
                  <a:lnTo>
                    <a:pt x="2283" y="1567"/>
                  </a:lnTo>
                  <a:lnTo>
                    <a:pt x="2275" y="1605"/>
                  </a:lnTo>
                  <a:lnTo>
                    <a:pt x="2260" y="1642"/>
                  </a:lnTo>
                  <a:lnTo>
                    <a:pt x="2241" y="1675"/>
                  </a:lnTo>
                  <a:lnTo>
                    <a:pt x="2218" y="1706"/>
                  </a:lnTo>
                  <a:lnTo>
                    <a:pt x="2190" y="1734"/>
                  </a:lnTo>
                  <a:lnTo>
                    <a:pt x="2160" y="1756"/>
                  </a:lnTo>
                  <a:lnTo>
                    <a:pt x="2125" y="1775"/>
                  </a:lnTo>
                  <a:lnTo>
                    <a:pt x="2089" y="1789"/>
                  </a:lnTo>
                  <a:lnTo>
                    <a:pt x="2050" y="1797"/>
                  </a:lnTo>
                  <a:lnTo>
                    <a:pt x="2009" y="1800"/>
                  </a:lnTo>
                  <a:lnTo>
                    <a:pt x="1481" y="1800"/>
                  </a:lnTo>
                  <a:lnTo>
                    <a:pt x="1440" y="1797"/>
                  </a:lnTo>
                  <a:lnTo>
                    <a:pt x="1401" y="1789"/>
                  </a:lnTo>
                  <a:lnTo>
                    <a:pt x="1365" y="1775"/>
                  </a:lnTo>
                  <a:lnTo>
                    <a:pt x="1330" y="1756"/>
                  </a:lnTo>
                  <a:lnTo>
                    <a:pt x="1300" y="1734"/>
                  </a:lnTo>
                  <a:lnTo>
                    <a:pt x="1272" y="1706"/>
                  </a:lnTo>
                  <a:lnTo>
                    <a:pt x="1249" y="1675"/>
                  </a:lnTo>
                  <a:lnTo>
                    <a:pt x="1230" y="1642"/>
                  </a:lnTo>
                  <a:lnTo>
                    <a:pt x="1215" y="1605"/>
                  </a:lnTo>
                  <a:lnTo>
                    <a:pt x="1207" y="1567"/>
                  </a:lnTo>
                  <a:lnTo>
                    <a:pt x="139" y="1047"/>
                  </a:lnTo>
                  <a:lnTo>
                    <a:pt x="139" y="2394"/>
                  </a:lnTo>
                  <a:lnTo>
                    <a:pt x="142" y="2417"/>
                  </a:lnTo>
                  <a:lnTo>
                    <a:pt x="150" y="2439"/>
                  </a:lnTo>
                  <a:lnTo>
                    <a:pt x="162" y="2459"/>
                  </a:lnTo>
                  <a:lnTo>
                    <a:pt x="178" y="2476"/>
                  </a:lnTo>
                  <a:lnTo>
                    <a:pt x="198" y="2487"/>
                  </a:lnTo>
                  <a:lnTo>
                    <a:pt x="220" y="2496"/>
                  </a:lnTo>
                  <a:lnTo>
                    <a:pt x="243" y="2498"/>
                  </a:lnTo>
                  <a:lnTo>
                    <a:pt x="3247" y="2498"/>
                  </a:lnTo>
                  <a:lnTo>
                    <a:pt x="3270" y="2496"/>
                  </a:lnTo>
                  <a:lnTo>
                    <a:pt x="3292" y="2487"/>
                  </a:lnTo>
                  <a:lnTo>
                    <a:pt x="3312" y="2476"/>
                  </a:lnTo>
                  <a:lnTo>
                    <a:pt x="3328" y="2459"/>
                  </a:lnTo>
                  <a:lnTo>
                    <a:pt x="3340" y="2439"/>
                  </a:lnTo>
                  <a:lnTo>
                    <a:pt x="3348" y="2417"/>
                  </a:lnTo>
                  <a:lnTo>
                    <a:pt x="3351" y="2394"/>
                  </a:lnTo>
                  <a:lnTo>
                    <a:pt x="3351" y="677"/>
                  </a:lnTo>
                  <a:lnTo>
                    <a:pt x="3348" y="653"/>
                  </a:lnTo>
                  <a:lnTo>
                    <a:pt x="3340" y="631"/>
                  </a:lnTo>
                  <a:lnTo>
                    <a:pt x="3328" y="612"/>
                  </a:lnTo>
                  <a:lnTo>
                    <a:pt x="3312" y="596"/>
                  </a:lnTo>
                  <a:lnTo>
                    <a:pt x="3292" y="583"/>
                  </a:lnTo>
                  <a:lnTo>
                    <a:pt x="3270" y="575"/>
                  </a:lnTo>
                  <a:lnTo>
                    <a:pt x="3247" y="572"/>
                  </a:lnTo>
                  <a:lnTo>
                    <a:pt x="243" y="572"/>
                  </a:lnTo>
                  <a:close/>
                  <a:moveTo>
                    <a:pt x="1392" y="140"/>
                  </a:moveTo>
                  <a:lnTo>
                    <a:pt x="1363" y="142"/>
                  </a:lnTo>
                  <a:lnTo>
                    <a:pt x="1337" y="151"/>
                  </a:lnTo>
                  <a:lnTo>
                    <a:pt x="1314" y="164"/>
                  </a:lnTo>
                  <a:lnTo>
                    <a:pt x="1292" y="181"/>
                  </a:lnTo>
                  <a:lnTo>
                    <a:pt x="1275" y="202"/>
                  </a:lnTo>
                  <a:lnTo>
                    <a:pt x="1263" y="226"/>
                  </a:lnTo>
                  <a:lnTo>
                    <a:pt x="1254" y="252"/>
                  </a:lnTo>
                  <a:lnTo>
                    <a:pt x="1251" y="280"/>
                  </a:lnTo>
                  <a:lnTo>
                    <a:pt x="1251" y="433"/>
                  </a:lnTo>
                  <a:lnTo>
                    <a:pt x="2239" y="433"/>
                  </a:lnTo>
                  <a:lnTo>
                    <a:pt x="2239" y="280"/>
                  </a:lnTo>
                  <a:lnTo>
                    <a:pt x="2236" y="252"/>
                  </a:lnTo>
                  <a:lnTo>
                    <a:pt x="2227" y="226"/>
                  </a:lnTo>
                  <a:lnTo>
                    <a:pt x="2215" y="202"/>
                  </a:lnTo>
                  <a:lnTo>
                    <a:pt x="2198" y="181"/>
                  </a:lnTo>
                  <a:lnTo>
                    <a:pt x="2176" y="164"/>
                  </a:lnTo>
                  <a:lnTo>
                    <a:pt x="2153" y="151"/>
                  </a:lnTo>
                  <a:lnTo>
                    <a:pt x="2127" y="142"/>
                  </a:lnTo>
                  <a:lnTo>
                    <a:pt x="2098" y="140"/>
                  </a:lnTo>
                  <a:lnTo>
                    <a:pt x="1392" y="140"/>
                  </a:lnTo>
                  <a:close/>
                  <a:moveTo>
                    <a:pt x="1392" y="0"/>
                  </a:moveTo>
                  <a:lnTo>
                    <a:pt x="2098" y="0"/>
                  </a:lnTo>
                  <a:lnTo>
                    <a:pt x="2139" y="3"/>
                  </a:lnTo>
                  <a:lnTo>
                    <a:pt x="2179" y="12"/>
                  </a:lnTo>
                  <a:lnTo>
                    <a:pt x="2216" y="27"/>
                  </a:lnTo>
                  <a:lnTo>
                    <a:pt x="2251" y="46"/>
                  </a:lnTo>
                  <a:lnTo>
                    <a:pt x="2281" y="69"/>
                  </a:lnTo>
                  <a:lnTo>
                    <a:pt x="2309" y="97"/>
                  </a:lnTo>
                  <a:lnTo>
                    <a:pt x="2333" y="128"/>
                  </a:lnTo>
                  <a:lnTo>
                    <a:pt x="2352" y="163"/>
                  </a:lnTo>
                  <a:lnTo>
                    <a:pt x="2366" y="200"/>
                  </a:lnTo>
                  <a:lnTo>
                    <a:pt x="2374" y="239"/>
                  </a:lnTo>
                  <a:lnTo>
                    <a:pt x="2377" y="280"/>
                  </a:lnTo>
                  <a:lnTo>
                    <a:pt x="2377" y="433"/>
                  </a:lnTo>
                  <a:lnTo>
                    <a:pt x="3247" y="433"/>
                  </a:lnTo>
                  <a:lnTo>
                    <a:pt x="3286" y="436"/>
                  </a:lnTo>
                  <a:lnTo>
                    <a:pt x="3324" y="445"/>
                  </a:lnTo>
                  <a:lnTo>
                    <a:pt x="3359" y="460"/>
                  </a:lnTo>
                  <a:lnTo>
                    <a:pt x="3391" y="480"/>
                  </a:lnTo>
                  <a:lnTo>
                    <a:pt x="3419" y="504"/>
                  </a:lnTo>
                  <a:lnTo>
                    <a:pt x="3443" y="533"/>
                  </a:lnTo>
                  <a:lnTo>
                    <a:pt x="3463" y="565"/>
                  </a:lnTo>
                  <a:lnTo>
                    <a:pt x="3477" y="600"/>
                  </a:lnTo>
                  <a:lnTo>
                    <a:pt x="3487" y="637"/>
                  </a:lnTo>
                  <a:lnTo>
                    <a:pt x="3490" y="677"/>
                  </a:lnTo>
                  <a:lnTo>
                    <a:pt x="3490" y="2394"/>
                  </a:lnTo>
                  <a:lnTo>
                    <a:pt x="3487" y="2433"/>
                  </a:lnTo>
                  <a:lnTo>
                    <a:pt x="3477" y="2470"/>
                  </a:lnTo>
                  <a:lnTo>
                    <a:pt x="3463" y="2505"/>
                  </a:lnTo>
                  <a:lnTo>
                    <a:pt x="3443" y="2538"/>
                  </a:lnTo>
                  <a:lnTo>
                    <a:pt x="3419" y="2566"/>
                  </a:lnTo>
                  <a:lnTo>
                    <a:pt x="3391" y="2590"/>
                  </a:lnTo>
                  <a:lnTo>
                    <a:pt x="3359" y="2610"/>
                  </a:lnTo>
                  <a:lnTo>
                    <a:pt x="3324" y="2625"/>
                  </a:lnTo>
                  <a:lnTo>
                    <a:pt x="3286" y="2635"/>
                  </a:lnTo>
                  <a:lnTo>
                    <a:pt x="3247" y="2638"/>
                  </a:lnTo>
                  <a:lnTo>
                    <a:pt x="243" y="2638"/>
                  </a:lnTo>
                  <a:lnTo>
                    <a:pt x="204" y="2635"/>
                  </a:lnTo>
                  <a:lnTo>
                    <a:pt x="166" y="2625"/>
                  </a:lnTo>
                  <a:lnTo>
                    <a:pt x="131" y="2610"/>
                  </a:lnTo>
                  <a:lnTo>
                    <a:pt x="99" y="2590"/>
                  </a:lnTo>
                  <a:lnTo>
                    <a:pt x="71" y="2566"/>
                  </a:lnTo>
                  <a:lnTo>
                    <a:pt x="47" y="2538"/>
                  </a:lnTo>
                  <a:lnTo>
                    <a:pt x="27" y="2505"/>
                  </a:lnTo>
                  <a:lnTo>
                    <a:pt x="13" y="2470"/>
                  </a:lnTo>
                  <a:lnTo>
                    <a:pt x="3" y="2433"/>
                  </a:lnTo>
                  <a:lnTo>
                    <a:pt x="0" y="2394"/>
                  </a:lnTo>
                  <a:lnTo>
                    <a:pt x="0" y="677"/>
                  </a:lnTo>
                  <a:lnTo>
                    <a:pt x="3" y="637"/>
                  </a:lnTo>
                  <a:lnTo>
                    <a:pt x="13" y="600"/>
                  </a:lnTo>
                  <a:lnTo>
                    <a:pt x="27" y="565"/>
                  </a:lnTo>
                  <a:lnTo>
                    <a:pt x="47" y="533"/>
                  </a:lnTo>
                  <a:lnTo>
                    <a:pt x="71" y="504"/>
                  </a:lnTo>
                  <a:lnTo>
                    <a:pt x="99" y="480"/>
                  </a:lnTo>
                  <a:lnTo>
                    <a:pt x="131" y="460"/>
                  </a:lnTo>
                  <a:lnTo>
                    <a:pt x="166" y="445"/>
                  </a:lnTo>
                  <a:lnTo>
                    <a:pt x="204" y="436"/>
                  </a:lnTo>
                  <a:lnTo>
                    <a:pt x="243" y="433"/>
                  </a:lnTo>
                  <a:lnTo>
                    <a:pt x="1113" y="433"/>
                  </a:lnTo>
                  <a:lnTo>
                    <a:pt x="1113" y="280"/>
                  </a:lnTo>
                  <a:lnTo>
                    <a:pt x="1116" y="239"/>
                  </a:lnTo>
                  <a:lnTo>
                    <a:pt x="1124" y="200"/>
                  </a:lnTo>
                  <a:lnTo>
                    <a:pt x="1138" y="163"/>
                  </a:lnTo>
                  <a:lnTo>
                    <a:pt x="1157" y="128"/>
                  </a:lnTo>
                  <a:lnTo>
                    <a:pt x="1181" y="97"/>
                  </a:lnTo>
                  <a:lnTo>
                    <a:pt x="1209" y="69"/>
                  </a:lnTo>
                  <a:lnTo>
                    <a:pt x="1239" y="46"/>
                  </a:lnTo>
                  <a:lnTo>
                    <a:pt x="1274" y="27"/>
                  </a:lnTo>
                  <a:lnTo>
                    <a:pt x="1311" y="12"/>
                  </a:lnTo>
                  <a:lnTo>
                    <a:pt x="1351" y="3"/>
                  </a:lnTo>
                  <a:lnTo>
                    <a:pt x="13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83"/>
            <p:cNvSpPr>
              <a:spLocks/>
            </p:cNvSpPr>
            <p:nvPr/>
          </p:nvSpPr>
          <p:spPr bwMode="auto">
            <a:xfrm>
              <a:off x="3990975" y="2139950"/>
              <a:ext cx="28575" cy="25400"/>
            </a:xfrm>
            <a:custGeom>
              <a:avLst/>
              <a:gdLst>
                <a:gd name="T0" fmla="*/ 117 w 182"/>
                <a:gd name="T1" fmla="*/ 0 h 159"/>
                <a:gd name="T2" fmla="*/ 135 w 182"/>
                <a:gd name="T3" fmla="*/ 3 h 159"/>
                <a:gd name="T4" fmla="*/ 151 w 182"/>
                <a:gd name="T5" fmla="*/ 11 h 159"/>
                <a:gd name="T6" fmla="*/ 165 w 182"/>
                <a:gd name="T7" fmla="*/ 23 h 159"/>
                <a:gd name="T8" fmla="*/ 174 w 182"/>
                <a:gd name="T9" fmla="*/ 38 h 159"/>
                <a:gd name="T10" fmla="*/ 181 w 182"/>
                <a:gd name="T11" fmla="*/ 56 h 159"/>
                <a:gd name="T12" fmla="*/ 182 w 182"/>
                <a:gd name="T13" fmla="*/ 74 h 159"/>
                <a:gd name="T14" fmla="*/ 177 w 182"/>
                <a:gd name="T15" fmla="*/ 92 h 159"/>
                <a:gd name="T16" fmla="*/ 170 w 182"/>
                <a:gd name="T17" fmla="*/ 108 h 159"/>
                <a:gd name="T18" fmla="*/ 158 w 182"/>
                <a:gd name="T19" fmla="*/ 122 h 159"/>
                <a:gd name="T20" fmla="*/ 142 w 182"/>
                <a:gd name="T21" fmla="*/ 131 h 159"/>
                <a:gd name="T22" fmla="*/ 100 w 182"/>
                <a:gd name="T23" fmla="*/ 153 h 159"/>
                <a:gd name="T24" fmla="*/ 84 w 182"/>
                <a:gd name="T25" fmla="*/ 158 h 159"/>
                <a:gd name="T26" fmla="*/ 69 w 182"/>
                <a:gd name="T27" fmla="*/ 159 h 159"/>
                <a:gd name="T28" fmla="*/ 54 w 182"/>
                <a:gd name="T29" fmla="*/ 158 h 159"/>
                <a:gd name="T30" fmla="*/ 40 w 182"/>
                <a:gd name="T31" fmla="*/ 153 h 159"/>
                <a:gd name="T32" fmla="*/ 26 w 182"/>
                <a:gd name="T33" fmla="*/ 145 h 159"/>
                <a:gd name="T34" fmla="*/ 16 w 182"/>
                <a:gd name="T35" fmla="*/ 134 h 159"/>
                <a:gd name="T36" fmla="*/ 7 w 182"/>
                <a:gd name="T37" fmla="*/ 120 h 159"/>
                <a:gd name="T38" fmla="*/ 1 w 182"/>
                <a:gd name="T39" fmla="*/ 103 h 159"/>
                <a:gd name="T40" fmla="*/ 0 w 182"/>
                <a:gd name="T41" fmla="*/ 85 h 159"/>
                <a:gd name="T42" fmla="*/ 4 w 182"/>
                <a:gd name="T43" fmla="*/ 67 h 159"/>
                <a:gd name="T44" fmla="*/ 11 w 182"/>
                <a:gd name="T45" fmla="*/ 51 h 159"/>
                <a:gd name="T46" fmla="*/ 24 w 182"/>
                <a:gd name="T47" fmla="*/ 37 h 159"/>
                <a:gd name="T48" fmla="*/ 39 w 182"/>
                <a:gd name="T49" fmla="*/ 27 h 159"/>
                <a:gd name="T50" fmla="*/ 82 w 182"/>
                <a:gd name="T51" fmla="*/ 6 h 159"/>
                <a:gd name="T52" fmla="*/ 99 w 182"/>
                <a:gd name="T53" fmla="*/ 0 h 159"/>
                <a:gd name="T54" fmla="*/ 117 w 182"/>
                <a:gd name="T55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2" h="159">
                  <a:moveTo>
                    <a:pt x="117" y="0"/>
                  </a:moveTo>
                  <a:lnTo>
                    <a:pt x="135" y="3"/>
                  </a:lnTo>
                  <a:lnTo>
                    <a:pt x="151" y="11"/>
                  </a:lnTo>
                  <a:lnTo>
                    <a:pt x="165" y="23"/>
                  </a:lnTo>
                  <a:lnTo>
                    <a:pt x="174" y="38"/>
                  </a:lnTo>
                  <a:lnTo>
                    <a:pt x="181" y="56"/>
                  </a:lnTo>
                  <a:lnTo>
                    <a:pt x="182" y="74"/>
                  </a:lnTo>
                  <a:lnTo>
                    <a:pt x="177" y="92"/>
                  </a:lnTo>
                  <a:lnTo>
                    <a:pt x="170" y="108"/>
                  </a:lnTo>
                  <a:lnTo>
                    <a:pt x="158" y="122"/>
                  </a:lnTo>
                  <a:lnTo>
                    <a:pt x="142" y="131"/>
                  </a:lnTo>
                  <a:lnTo>
                    <a:pt x="100" y="153"/>
                  </a:lnTo>
                  <a:lnTo>
                    <a:pt x="84" y="158"/>
                  </a:lnTo>
                  <a:lnTo>
                    <a:pt x="69" y="159"/>
                  </a:lnTo>
                  <a:lnTo>
                    <a:pt x="54" y="158"/>
                  </a:lnTo>
                  <a:lnTo>
                    <a:pt x="40" y="153"/>
                  </a:lnTo>
                  <a:lnTo>
                    <a:pt x="26" y="145"/>
                  </a:lnTo>
                  <a:lnTo>
                    <a:pt x="16" y="134"/>
                  </a:lnTo>
                  <a:lnTo>
                    <a:pt x="7" y="120"/>
                  </a:lnTo>
                  <a:lnTo>
                    <a:pt x="1" y="103"/>
                  </a:lnTo>
                  <a:lnTo>
                    <a:pt x="0" y="85"/>
                  </a:lnTo>
                  <a:lnTo>
                    <a:pt x="4" y="67"/>
                  </a:lnTo>
                  <a:lnTo>
                    <a:pt x="11" y="51"/>
                  </a:lnTo>
                  <a:lnTo>
                    <a:pt x="24" y="37"/>
                  </a:lnTo>
                  <a:lnTo>
                    <a:pt x="39" y="27"/>
                  </a:lnTo>
                  <a:lnTo>
                    <a:pt x="82" y="6"/>
                  </a:lnTo>
                  <a:lnTo>
                    <a:pt x="99" y="0"/>
                  </a:lnTo>
                  <a:lnTo>
                    <a:pt x="11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4" name="Freeform 133"/>
          <p:cNvSpPr>
            <a:spLocks noEditPoints="1"/>
          </p:cNvSpPr>
          <p:nvPr/>
        </p:nvSpPr>
        <p:spPr bwMode="auto">
          <a:xfrm>
            <a:off x="6535995" y="4848317"/>
            <a:ext cx="540000" cy="504825"/>
          </a:xfrm>
          <a:custGeom>
            <a:avLst/>
            <a:gdLst>
              <a:gd name="T0" fmla="*/ 3164 w 3330"/>
              <a:gd name="T1" fmla="*/ 2848 h 3183"/>
              <a:gd name="T2" fmla="*/ 2806 w 3330"/>
              <a:gd name="T3" fmla="*/ 1438 h 3183"/>
              <a:gd name="T4" fmla="*/ 2789 w 3330"/>
              <a:gd name="T5" fmla="*/ 2489 h 3183"/>
              <a:gd name="T6" fmla="*/ 3004 w 3330"/>
              <a:gd name="T7" fmla="*/ 2502 h 3183"/>
              <a:gd name="T8" fmla="*/ 2953 w 3330"/>
              <a:gd name="T9" fmla="*/ 1459 h 3183"/>
              <a:gd name="T10" fmla="*/ 2553 w 3330"/>
              <a:gd name="T11" fmla="*/ 1285 h 3183"/>
              <a:gd name="T12" fmla="*/ 2442 w 3330"/>
              <a:gd name="T13" fmla="*/ 1508 h 3183"/>
              <a:gd name="T14" fmla="*/ 2553 w 3330"/>
              <a:gd name="T15" fmla="*/ 2513 h 3183"/>
              <a:gd name="T16" fmla="*/ 2671 w 3330"/>
              <a:gd name="T17" fmla="*/ 2412 h 3183"/>
              <a:gd name="T18" fmla="*/ 2620 w 3330"/>
              <a:gd name="T19" fmla="*/ 1445 h 3183"/>
              <a:gd name="T20" fmla="*/ 2157 w 3330"/>
              <a:gd name="T21" fmla="*/ 1407 h 3183"/>
              <a:gd name="T22" fmla="*/ 2209 w 3330"/>
              <a:gd name="T23" fmla="*/ 2450 h 3183"/>
              <a:gd name="T24" fmla="*/ 2442 w 3330"/>
              <a:gd name="T25" fmla="*/ 2513 h 3183"/>
              <a:gd name="T26" fmla="*/ 2331 w 3330"/>
              <a:gd name="T27" fmla="*/ 1508 h 3183"/>
              <a:gd name="T28" fmla="*/ 2442 w 3330"/>
              <a:gd name="T29" fmla="*/ 1285 h 3183"/>
              <a:gd name="T30" fmla="*/ 1880 w 3330"/>
              <a:gd name="T31" fmla="*/ 1497 h 3183"/>
              <a:gd name="T32" fmla="*/ 1931 w 3330"/>
              <a:gd name="T33" fmla="*/ 2463 h 3183"/>
              <a:gd name="T34" fmla="*/ 2022 w 3330"/>
              <a:gd name="T35" fmla="*/ 2443 h 3183"/>
              <a:gd name="T36" fmla="*/ 2039 w 3330"/>
              <a:gd name="T37" fmla="*/ 1484 h 3183"/>
              <a:gd name="T38" fmla="*/ 1499 w 3330"/>
              <a:gd name="T39" fmla="*/ 1396 h 3183"/>
              <a:gd name="T40" fmla="*/ 1610 w 3330"/>
              <a:gd name="T41" fmla="*/ 2401 h 3183"/>
              <a:gd name="T42" fmla="*/ 1499 w 3330"/>
              <a:gd name="T43" fmla="*/ 2625 h 3183"/>
              <a:gd name="T44" fmla="*/ 1724 w 3330"/>
              <a:gd name="T45" fmla="*/ 2427 h 3183"/>
              <a:gd name="T46" fmla="*/ 1806 w 3330"/>
              <a:gd name="T47" fmla="*/ 1399 h 3183"/>
              <a:gd name="T48" fmla="*/ 1308 w 3330"/>
              <a:gd name="T49" fmla="*/ 1466 h 3183"/>
              <a:gd name="T50" fmla="*/ 1291 w 3330"/>
              <a:gd name="T51" fmla="*/ 2426 h 3183"/>
              <a:gd name="T52" fmla="*/ 1391 w 3330"/>
              <a:gd name="T53" fmla="*/ 2488 h 3183"/>
              <a:gd name="T54" fmla="*/ 1473 w 3330"/>
              <a:gd name="T55" fmla="*/ 1505 h 3183"/>
              <a:gd name="T56" fmla="*/ 1332 w 3330"/>
              <a:gd name="T57" fmla="*/ 1285 h 3183"/>
              <a:gd name="T58" fmla="*/ 996 w 3330"/>
              <a:gd name="T59" fmla="*/ 1483 h 3183"/>
              <a:gd name="T60" fmla="*/ 913 w 3330"/>
              <a:gd name="T61" fmla="*/ 2510 h 3183"/>
              <a:gd name="T62" fmla="*/ 1134 w 3330"/>
              <a:gd name="T63" fmla="*/ 2471 h 3183"/>
              <a:gd name="T64" fmla="*/ 1151 w 3330"/>
              <a:gd name="T65" fmla="*/ 1421 h 3183"/>
              <a:gd name="T66" fmla="*/ 718 w 3330"/>
              <a:gd name="T67" fmla="*/ 1422 h 3183"/>
              <a:gd name="T68" fmla="*/ 636 w 3330"/>
              <a:gd name="T69" fmla="*/ 2404 h 3183"/>
              <a:gd name="T70" fmla="*/ 777 w 3330"/>
              <a:gd name="T71" fmla="*/ 2625 h 3183"/>
              <a:gd name="T72" fmla="*/ 888 w 3330"/>
              <a:gd name="T73" fmla="*/ 2401 h 3183"/>
              <a:gd name="T74" fmla="*/ 777 w 3330"/>
              <a:gd name="T75" fmla="*/ 1396 h 3183"/>
              <a:gd name="T76" fmla="*/ 364 w 3330"/>
              <a:gd name="T77" fmla="*/ 1438 h 3183"/>
              <a:gd name="T78" fmla="*/ 347 w 3330"/>
              <a:gd name="T79" fmla="*/ 2489 h 3183"/>
              <a:gd name="T80" fmla="*/ 562 w 3330"/>
              <a:gd name="T81" fmla="*/ 2502 h 3183"/>
              <a:gd name="T82" fmla="*/ 511 w 3330"/>
              <a:gd name="T83" fmla="*/ 1459 h 3183"/>
              <a:gd name="T84" fmla="*/ 256 w 3330"/>
              <a:gd name="T85" fmla="*/ 1061 h 3183"/>
              <a:gd name="T86" fmla="*/ 614 w 3330"/>
              <a:gd name="T87" fmla="*/ 1068 h 3183"/>
              <a:gd name="T88" fmla="*/ 761 w 3330"/>
              <a:gd name="T89" fmla="*/ 726 h 3183"/>
              <a:gd name="T90" fmla="*/ 2513 w 3330"/>
              <a:gd name="T91" fmla="*/ 950 h 3183"/>
              <a:gd name="T92" fmla="*/ 1261 w 3330"/>
              <a:gd name="T93" fmla="*/ 188 h 3183"/>
              <a:gd name="T94" fmla="*/ 907 w 3330"/>
              <a:gd name="T95" fmla="*/ 473 h 3183"/>
              <a:gd name="T96" fmla="*/ 2455 w 3330"/>
              <a:gd name="T97" fmla="*/ 566 h 3183"/>
              <a:gd name="T98" fmla="*/ 2181 w 3330"/>
              <a:gd name="T99" fmla="*/ 242 h 3183"/>
              <a:gd name="T100" fmla="*/ 1665 w 3330"/>
              <a:gd name="T101" fmla="*/ 112 h 3183"/>
              <a:gd name="T102" fmla="*/ 2170 w 3330"/>
              <a:gd name="T103" fmla="*/ 111 h 3183"/>
              <a:gd name="T104" fmla="*/ 2529 w 3330"/>
              <a:gd name="T105" fmla="*/ 450 h 3183"/>
              <a:gd name="T106" fmla="*/ 3164 w 3330"/>
              <a:gd name="T107" fmla="*/ 1285 h 3183"/>
              <a:gd name="T108" fmla="*/ 3053 w 3330"/>
              <a:gd name="T109" fmla="*/ 1508 h 3183"/>
              <a:gd name="T110" fmla="*/ 3164 w 3330"/>
              <a:gd name="T111" fmla="*/ 2513 h 3183"/>
              <a:gd name="T112" fmla="*/ 56 w 3330"/>
              <a:gd name="T113" fmla="*/ 2848 h 3183"/>
              <a:gd name="T114" fmla="*/ 229 w 3330"/>
              <a:gd name="T115" fmla="*/ 2412 h 3183"/>
              <a:gd name="T116" fmla="*/ 178 w 3330"/>
              <a:gd name="T117" fmla="*/ 1445 h 3183"/>
              <a:gd name="T118" fmla="*/ 747 w 3330"/>
              <a:gd name="T119" fmla="*/ 615 h 3183"/>
              <a:gd name="T120" fmla="*/ 987 w 3330"/>
              <a:gd name="T121" fmla="*/ 217 h 3183"/>
              <a:gd name="T122" fmla="*/ 1508 w 3330"/>
              <a:gd name="T123" fmla="*/ 10 h 3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330" h="3183">
                <a:moveTo>
                  <a:pt x="111" y="2960"/>
                </a:moveTo>
                <a:lnTo>
                  <a:pt x="111" y="3071"/>
                </a:lnTo>
                <a:lnTo>
                  <a:pt x="3219" y="3071"/>
                </a:lnTo>
                <a:lnTo>
                  <a:pt x="3219" y="2960"/>
                </a:lnTo>
                <a:lnTo>
                  <a:pt x="111" y="2960"/>
                </a:lnTo>
                <a:close/>
                <a:moveTo>
                  <a:pt x="167" y="2736"/>
                </a:moveTo>
                <a:lnTo>
                  <a:pt x="167" y="2848"/>
                </a:lnTo>
                <a:lnTo>
                  <a:pt x="3164" y="2848"/>
                </a:lnTo>
                <a:lnTo>
                  <a:pt x="3164" y="2736"/>
                </a:lnTo>
                <a:lnTo>
                  <a:pt x="167" y="2736"/>
                </a:lnTo>
                <a:close/>
                <a:moveTo>
                  <a:pt x="2720" y="1285"/>
                </a:moveTo>
                <a:lnTo>
                  <a:pt x="2720" y="1396"/>
                </a:lnTo>
                <a:lnTo>
                  <a:pt x="2745" y="1399"/>
                </a:lnTo>
                <a:lnTo>
                  <a:pt x="2768" y="1407"/>
                </a:lnTo>
                <a:lnTo>
                  <a:pt x="2789" y="1421"/>
                </a:lnTo>
                <a:lnTo>
                  <a:pt x="2806" y="1438"/>
                </a:lnTo>
                <a:lnTo>
                  <a:pt x="2819" y="1459"/>
                </a:lnTo>
                <a:lnTo>
                  <a:pt x="2827" y="1483"/>
                </a:lnTo>
                <a:lnTo>
                  <a:pt x="2831" y="1508"/>
                </a:lnTo>
                <a:lnTo>
                  <a:pt x="2831" y="2401"/>
                </a:lnTo>
                <a:lnTo>
                  <a:pt x="2827" y="2427"/>
                </a:lnTo>
                <a:lnTo>
                  <a:pt x="2819" y="2450"/>
                </a:lnTo>
                <a:lnTo>
                  <a:pt x="2806" y="2471"/>
                </a:lnTo>
                <a:lnTo>
                  <a:pt x="2789" y="2489"/>
                </a:lnTo>
                <a:lnTo>
                  <a:pt x="2768" y="2502"/>
                </a:lnTo>
                <a:lnTo>
                  <a:pt x="2745" y="2510"/>
                </a:lnTo>
                <a:lnTo>
                  <a:pt x="2720" y="2513"/>
                </a:lnTo>
                <a:lnTo>
                  <a:pt x="2720" y="2625"/>
                </a:lnTo>
                <a:lnTo>
                  <a:pt x="3053" y="2625"/>
                </a:lnTo>
                <a:lnTo>
                  <a:pt x="3053" y="2513"/>
                </a:lnTo>
                <a:lnTo>
                  <a:pt x="3027" y="2510"/>
                </a:lnTo>
                <a:lnTo>
                  <a:pt x="3004" y="2502"/>
                </a:lnTo>
                <a:lnTo>
                  <a:pt x="2983" y="2489"/>
                </a:lnTo>
                <a:lnTo>
                  <a:pt x="2966" y="2471"/>
                </a:lnTo>
                <a:lnTo>
                  <a:pt x="2953" y="2450"/>
                </a:lnTo>
                <a:lnTo>
                  <a:pt x="2945" y="2427"/>
                </a:lnTo>
                <a:lnTo>
                  <a:pt x="2942" y="2401"/>
                </a:lnTo>
                <a:lnTo>
                  <a:pt x="2942" y="1508"/>
                </a:lnTo>
                <a:lnTo>
                  <a:pt x="2945" y="1483"/>
                </a:lnTo>
                <a:lnTo>
                  <a:pt x="2953" y="1459"/>
                </a:lnTo>
                <a:lnTo>
                  <a:pt x="2966" y="1438"/>
                </a:lnTo>
                <a:lnTo>
                  <a:pt x="2983" y="1421"/>
                </a:lnTo>
                <a:lnTo>
                  <a:pt x="3004" y="1407"/>
                </a:lnTo>
                <a:lnTo>
                  <a:pt x="3027" y="1399"/>
                </a:lnTo>
                <a:lnTo>
                  <a:pt x="3053" y="1396"/>
                </a:lnTo>
                <a:lnTo>
                  <a:pt x="3053" y="1285"/>
                </a:lnTo>
                <a:lnTo>
                  <a:pt x="2720" y="1285"/>
                </a:lnTo>
                <a:close/>
                <a:moveTo>
                  <a:pt x="2553" y="1285"/>
                </a:moveTo>
                <a:lnTo>
                  <a:pt x="2553" y="1396"/>
                </a:lnTo>
                <a:lnTo>
                  <a:pt x="2550" y="1422"/>
                </a:lnTo>
                <a:lnTo>
                  <a:pt x="2542" y="1445"/>
                </a:lnTo>
                <a:lnTo>
                  <a:pt x="2529" y="1466"/>
                </a:lnTo>
                <a:lnTo>
                  <a:pt x="2512" y="1484"/>
                </a:lnTo>
                <a:lnTo>
                  <a:pt x="2490" y="1497"/>
                </a:lnTo>
                <a:lnTo>
                  <a:pt x="2467" y="1505"/>
                </a:lnTo>
                <a:lnTo>
                  <a:pt x="2442" y="1508"/>
                </a:lnTo>
                <a:lnTo>
                  <a:pt x="2442" y="2401"/>
                </a:lnTo>
                <a:lnTo>
                  <a:pt x="2467" y="2404"/>
                </a:lnTo>
                <a:lnTo>
                  <a:pt x="2490" y="2412"/>
                </a:lnTo>
                <a:lnTo>
                  <a:pt x="2512" y="2426"/>
                </a:lnTo>
                <a:lnTo>
                  <a:pt x="2529" y="2443"/>
                </a:lnTo>
                <a:lnTo>
                  <a:pt x="2542" y="2463"/>
                </a:lnTo>
                <a:lnTo>
                  <a:pt x="2550" y="2488"/>
                </a:lnTo>
                <a:lnTo>
                  <a:pt x="2553" y="2513"/>
                </a:lnTo>
                <a:lnTo>
                  <a:pt x="2553" y="2625"/>
                </a:lnTo>
                <a:lnTo>
                  <a:pt x="2609" y="2625"/>
                </a:lnTo>
                <a:lnTo>
                  <a:pt x="2609" y="2513"/>
                </a:lnTo>
                <a:lnTo>
                  <a:pt x="2612" y="2488"/>
                </a:lnTo>
                <a:lnTo>
                  <a:pt x="2620" y="2463"/>
                </a:lnTo>
                <a:lnTo>
                  <a:pt x="2633" y="2443"/>
                </a:lnTo>
                <a:lnTo>
                  <a:pt x="2650" y="2426"/>
                </a:lnTo>
                <a:lnTo>
                  <a:pt x="2671" y="2412"/>
                </a:lnTo>
                <a:lnTo>
                  <a:pt x="2694" y="2404"/>
                </a:lnTo>
                <a:lnTo>
                  <a:pt x="2720" y="2401"/>
                </a:lnTo>
                <a:lnTo>
                  <a:pt x="2720" y="1508"/>
                </a:lnTo>
                <a:lnTo>
                  <a:pt x="2694" y="1505"/>
                </a:lnTo>
                <a:lnTo>
                  <a:pt x="2671" y="1497"/>
                </a:lnTo>
                <a:lnTo>
                  <a:pt x="2650" y="1484"/>
                </a:lnTo>
                <a:lnTo>
                  <a:pt x="2633" y="1466"/>
                </a:lnTo>
                <a:lnTo>
                  <a:pt x="2620" y="1445"/>
                </a:lnTo>
                <a:lnTo>
                  <a:pt x="2612" y="1422"/>
                </a:lnTo>
                <a:lnTo>
                  <a:pt x="2609" y="1396"/>
                </a:lnTo>
                <a:lnTo>
                  <a:pt x="2609" y="1285"/>
                </a:lnTo>
                <a:lnTo>
                  <a:pt x="2553" y="1285"/>
                </a:lnTo>
                <a:close/>
                <a:moveTo>
                  <a:pt x="2109" y="1285"/>
                </a:moveTo>
                <a:lnTo>
                  <a:pt x="2109" y="1396"/>
                </a:lnTo>
                <a:lnTo>
                  <a:pt x="2134" y="1399"/>
                </a:lnTo>
                <a:lnTo>
                  <a:pt x="2157" y="1407"/>
                </a:lnTo>
                <a:lnTo>
                  <a:pt x="2179" y="1421"/>
                </a:lnTo>
                <a:lnTo>
                  <a:pt x="2196" y="1438"/>
                </a:lnTo>
                <a:lnTo>
                  <a:pt x="2209" y="1459"/>
                </a:lnTo>
                <a:lnTo>
                  <a:pt x="2217" y="1483"/>
                </a:lnTo>
                <a:lnTo>
                  <a:pt x="2220" y="1508"/>
                </a:lnTo>
                <a:lnTo>
                  <a:pt x="2220" y="2401"/>
                </a:lnTo>
                <a:lnTo>
                  <a:pt x="2217" y="2427"/>
                </a:lnTo>
                <a:lnTo>
                  <a:pt x="2209" y="2450"/>
                </a:lnTo>
                <a:lnTo>
                  <a:pt x="2196" y="2471"/>
                </a:lnTo>
                <a:lnTo>
                  <a:pt x="2179" y="2489"/>
                </a:lnTo>
                <a:lnTo>
                  <a:pt x="2157" y="2502"/>
                </a:lnTo>
                <a:lnTo>
                  <a:pt x="2134" y="2510"/>
                </a:lnTo>
                <a:lnTo>
                  <a:pt x="2109" y="2513"/>
                </a:lnTo>
                <a:lnTo>
                  <a:pt x="2109" y="2625"/>
                </a:lnTo>
                <a:lnTo>
                  <a:pt x="2442" y="2625"/>
                </a:lnTo>
                <a:lnTo>
                  <a:pt x="2442" y="2513"/>
                </a:lnTo>
                <a:lnTo>
                  <a:pt x="2417" y="2510"/>
                </a:lnTo>
                <a:lnTo>
                  <a:pt x="2394" y="2502"/>
                </a:lnTo>
                <a:lnTo>
                  <a:pt x="2372" y="2489"/>
                </a:lnTo>
                <a:lnTo>
                  <a:pt x="2355" y="2471"/>
                </a:lnTo>
                <a:lnTo>
                  <a:pt x="2342" y="2450"/>
                </a:lnTo>
                <a:lnTo>
                  <a:pt x="2334" y="2427"/>
                </a:lnTo>
                <a:lnTo>
                  <a:pt x="2331" y="2401"/>
                </a:lnTo>
                <a:lnTo>
                  <a:pt x="2331" y="1508"/>
                </a:lnTo>
                <a:lnTo>
                  <a:pt x="2334" y="1483"/>
                </a:lnTo>
                <a:lnTo>
                  <a:pt x="2342" y="1459"/>
                </a:lnTo>
                <a:lnTo>
                  <a:pt x="2355" y="1438"/>
                </a:lnTo>
                <a:lnTo>
                  <a:pt x="2372" y="1421"/>
                </a:lnTo>
                <a:lnTo>
                  <a:pt x="2394" y="1407"/>
                </a:lnTo>
                <a:lnTo>
                  <a:pt x="2417" y="1399"/>
                </a:lnTo>
                <a:lnTo>
                  <a:pt x="2442" y="1396"/>
                </a:lnTo>
                <a:lnTo>
                  <a:pt x="2442" y="1285"/>
                </a:lnTo>
                <a:lnTo>
                  <a:pt x="2109" y="1285"/>
                </a:lnTo>
                <a:close/>
                <a:moveTo>
                  <a:pt x="1943" y="1285"/>
                </a:moveTo>
                <a:lnTo>
                  <a:pt x="1943" y="1396"/>
                </a:lnTo>
                <a:lnTo>
                  <a:pt x="1939" y="1422"/>
                </a:lnTo>
                <a:lnTo>
                  <a:pt x="1931" y="1445"/>
                </a:lnTo>
                <a:lnTo>
                  <a:pt x="1918" y="1466"/>
                </a:lnTo>
                <a:lnTo>
                  <a:pt x="1901" y="1484"/>
                </a:lnTo>
                <a:lnTo>
                  <a:pt x="1880" y="1497"/>
                </a:lnTo>
                <a:lnTo>
                  <a:pt x="1857" y="1505"/>
                </a:lnTo>
                <a:lnTo>
                  <a:pt x="1832" y="1508"/>
                </a:lnTo>
                <a:lnTo>
                  <a:pt x="1832" y="2401"/>
                </a:lnTo>
                <a:lnTo>
                  <a:pt x="1857" y="2404"/>
                </a:lnTo>
                <a:lnTo>
                  <a:pt x="1880" y="2412"/>
                </a:lnTo>
                <a:lnTo>
                  <a:pt x="1901" y="2426"/>
                </a:lnTo>
                <a:lnTo>
                  <a:pt x="1918" y="2443"/>
                </a:lnTo>
                <a:lnTo>
                  <a:pt x="1931" y="2463"/>
                </a:lnTo>
                <a:lnTo>
                  <a:pt x="1939" y="2488"/>
                </a:lnTo>
                <a:lnTo>
                  <a:pt x="1943" y="2513"/>
                </a:lnTo>
                <a:lnTo>
                  <a:pt x="1943" y="2625"/>
                </a:lnTo>
                <a:lnTo>
                  <a:pt x="1998" y="2625"/>
                </a:lnTo>
                <a:lnTo>
                  <a:pt x="1998" y="2513"/>
                </a:lnTo>
                <a:lnTo>
                  <a:pt x="2001" y="2488"/>
                </a:lnTo>
                <a:lnTo>
                  <a:pt x="2009" y="2463"/>
                </a:lnTo>
                <a:lnTo>
                  <a:pt x="2022" y="2443"/>
                </a:lnTo>
                <a:lnTo>
                  <a:pt x="2039" y="2426"/>
                </a:lnTo>
                <a:lnTo>
                  <a:pt x="2061" y="2412"/>
                </a:lnTo>
                <a:lnTo>
                  <a:pt x="2084" y="2404"/>
                </a:lnTo>
                <a:lnTo>
                  <a:pt x="2109" y="2401"/>
                </a:lnTo>
                <a:lnTo>
                  <a:pt x="2109" y="1508"/>
                </a:lnTo>
                <a:lnTo>
                  <a:pt x="2084" y="1505"/>
                </a:lnTo>
                <a:lnTo>
                  <a:pt x="2061" y="1497"/>
                </a:lnTo>
                <a:lnTo>
                  <a:pt x="2039" y="1484"/>
                </a:lnTo>
                <a:lnTo>
                  <a:pt x="2022" y="1466"/>
                </a:lnTo>
                <a:lnTo>
                  <a:pt x="2009" y="1445"/>
                </a:lnTo>
                <a:lnTo>
                  <a:pt x="2001" y="1422"/>
                </a:lnTo>
                <a:lnTo>
                  <a:pt x="1998" y="1396"/>
                </a:lnTo>
                <a:lnTo>
                  <a:pt x="1998" y="1285"/>
                </a:lnTo>
                <a:lnTo>
                  <a:pt x="1943" y="1285"/>
                </a:lnTo>
                <a:close/>
                <a:moveTo>
                  <a:pt x="1499" y="1285"/>
                </a:moveTo>
                <a:lnTo>
                  <a:pt x="1499" y="1396"/>
                </a:lnTo>
                <a:lnTo>
                  <a:pt x="1524" y="1399"/>
                </a:lnTo>
                <a:lnTo>
                  <a:pt x="1547" y="1407"/>
                </a:lnTo>
                <a:lnTo>
                  <a:pt x="1568" y="1421"/>
                </a:lnTo>
                <a:lnTo>
                  <a:pt x="1585" y="1438"/>
                </a:lnTo>
                <a:lnTo>
                  <a:pt x="1598" y="1459"/>
                </a:lnTo>
                <a:lnTo>
                  <a:pt x="1606" y="1483"/>
                </a:lnTo>
                <a:lnTo>
                  <a:pt x="1610" y="1508"/>
                </a:lnTo>
                <a:lnTo>
                  <a:pt x="1610" y="2401"/>
                </a:lnTo>
                <a:lnTo>
                  <a:pt x="1606" y="2427"/>
                </a:lnTo>
                <a:lnTo>
                  <a:pt x="1598" y="2450"/>
                </a:lnTo>
                <a:lnTo>
                  <a:pt x="1585" y="2471"/>
                </a:lnTo>
                <a:lnTo>
                  <a:pt x="1568" y="2489"/>
                </a:lnTo>
                <a:lnTo>
                  <a:pt x="1547" y="2502"/>
                </a:lnTo>
                <a:lnTo>
                  <a:pt x="1524" y="2510"/>
                </a:lnTo>
                <a:lnTo>
                  <a:pt x="1499" y="2513"/>
                </a:lnTo>
                <a:lnTo>
                  <a:pt x="1499" y="2625"/>
                </a:lnTo>
                <a:lnTo>
                  <a:pt x="1832" y="2625"/>
                </a:lnTo>
                <a:lnTo>
                  <a:pt x="1832" y="2513"/>
                </a:lnTo>
                <a:lnTo>
                  <a:pt x="1806" y="2510"/>
                </a:lnTo>
                <a:lnTo>
                  <a:pt x="1783" y="2502"/>
                </a:lnTo>
                <a:lnTo>
                  <a:pt x="1762" y="2489"/>
                </a:lnTo>
                <a:lnTo>
                  <a:pt x="1745" y="2471"/>
                </a:lnTo>
                <a:lnTo>
                  <a:pt x="1732" y="2450"/>
                </a:lnTo>
                <a:lnTo>
                  <a:pt x="1724" y="2427"/>
                </a:lnTo>
                <a:lnTo>
                  <a:pt x="1721" y="2401"/>
                </a:lnTo>
                <a:lnTo>
                  <a:pt x="1721" y="1508"/>
                </a:lnTo>
                <a:lnTo>
                  <a:pt x="1724" y="1483"/>
                </a:lnTo>
                <a:lnTo>
                  <a:pt x="1732" y="1459"/>
                </a:lnTo>
                <a:lnTo>
                  <a:pt x="1745" y="1438"/>
                </a:lnTo>
                <a:lnTo>
                  <a:pt x="1762" y="1421"/>
                </a:lnTo>
                <a:lnTo>
                  <a:pt x="1783" y="1407"/>
                </a:lnTo>
                <a:lnTo>
                  <a:pt x="1806" y="1399"/>
                </a:lnTo>
                <a:lnTo>
                  <a:pt x="1832" y="1396"/>
                </a:lnTo>
                <a:lnTo>
                  <a:pt x="1832" y="1285"/>
                </a:lnTo>
                <a:lnTo>
                  <a:pt x="1499" y="1285"/>
                </a:lnTo>
                <a:close/>
                <a:moveTo>
                  <a:pt x="1332" y="1285"/>
                </a:moveTo>
                <a:lnTo>
                  <a:pt x="1332" y="1396"/>
                </a:lnTo>
                <a:lnTo>
                  <a:pt x="1329" y="1422"/>
                </a:lnTo>
                <a:lnTo>
                  <a:pt x="1321" y="1445"/>
                </a:lnTo>
                <a:lnTo>
                  <a:pt x="1308" y="1466"/>
                </a:lnTo>
                <a:lnTo>
                  <a:pt x="1291" y="1484"/>
                </a:lnTo>
                <a:lnTo>
                  <a:pt x="1269" y="1497"/>
                </a:lnTo>
                <a:lnTo>
                  <a:pt x="1246" y="1505"/>
                </a:lnTo>
                <a:lnTo>
                  <a:pt x="1221" y="1508"/>
                </a:lnTo>
                <a:lnTo>
                  <a:pt x="1221" y="2401"/>
                </a:lnTo>
                <a:lnTo>
                  <a:pt x="1246" y="2404"/>
                </a:lnTo>
                <a:lnTo>
                  <a:pt x="1269" y="2412"/>
                </a:lnTo>
                <a:lnTo>
                  <a:pt x="1291" y="2426"/>
                </a:lnTo>
                <a:lnTo>
                  <a:pt x="1308" y="2443"/>
                </a:lnTo>
                <a:lnTo>
                  <a:pt x="1321" y="2463"/>
                </a:lnTo>
                <a:lnTo>
                  <a:pt x="1329" y="2488"/>
                </a:lnTo>
                <a:lnTo>
                  <a:pt x="1332" y="2513"/>
                </a:lnTo>
                <a:lnTo>
                  <a:pt x="1332" y="2625"/>
                </a:lnTo>
                <a:lnTo>
                  <a:pt x="1388" y="2625"/>
                </a:lnTo>
                <a:lnTo>
                  <a:pt x="1388" y="2513"/>
                </a:lnTo>
                <a:lnTo>
                  <a:pt x="1391" y="2488"/>
                </a:lnTo>
                <a:lnTo>
                  <a:pt x="1399" y="2463"/>
                </a:lnTo>
                <a:lnTo>
                  <a:pt x="1412" y="2443"/>
                </a:lnTo>
                <a:lnTo>
                  <a:pt x="1429" y="2426"/>
                </a:lnTo>
                <a:lnTo>
                  <a:pt x="1450" y="2412"/>
                </a:lnTo>
                <a:lnTo>
                  <a:pt x="1473" y="2404"/>
                </a:lnTo>
                <a:lnTo>
                  <a:pt x="1499" y="2401"/>
                </a:lnTo>
                <a:lnTo>
                  <a:pt x="1499" y="1508"/>
                </a:lnTo>
                <a:lnTo>
                  <a:pt x="1473" y="1505"/>
                </a:lnTo>
                <a:lnTo>
                  <a:pt x="1450" y="1497"/>
                </a:lnTo>
                <a:lnTo>
                  <a:pt x="1429" y="1484"/>
                </a:lnTo>
                <a:lnTo>
                  <a:pt x="1412" y="1466"/>
                </a:lnTo>
                <a:lnTo>
                  <a:pt x="1399" y="1445"/>
                </a:lnTo>
                <a:lnTo>
                  <a:pt x="1391" y="1422"/>
                </a:lnTo>
                <a:lnTo>
                  <a:pt x="1388" y="1396"/>
                </a:lnTo>
                <a:lnTo>
                  <a:pt x="1388" y="1285"/>
                </a:lnTo>
                <a:lnTo>
                  <a:pt x="1332" y="1285"/>
                </a:lnTo>
                <a:close/>
                <a:moveTo>
                  <a:pt x="888" y="1285"/>
                </a:moveTo>
                <a:lnTo>
                  <a:pt x="888" y="1396"/>
                </a:lnTo>
                <a:lnTo>
                  <a:pt x="913" y="1399"/>
                </a:lnTo>
                <a:lnTo>
                  <a:pt x="936" y="1407"/>
                </a:lnTo>
                <a:lnTo>
                  <a:pt x="958" y="1421"/>
                </a:lnTo>
                <a:lnTo>
                  <a:pt x="975" y="1438"/>
                </a:lnTo>
                <a:lnTo>
                  <a:pt x="988" y="1459"/>
                </a:lnTo>
                <a:lnTo>
                  <a:pt x="996" y="1483"/>
                </a:lnTo>
                <a:lnTo>
                  <a:pt x="999" y="1508"/>
                </a:lnTo>
                <a:lnTo>
                  <a:pt x="999" y="2401"/>
                </a:lnTo>
                <a:lnTo>
                  <a:pt x="996" y="2427"/>
                </a:lnTo>
                <a:lnTo>
                  <a:pt x="988" y="2450"/>
                </a:lnTo>
                <a:lnTo>
                  <a:pt x="975" y="2471"/>
                </a:lnTo>
                <a:lnTo>
                  <a:pt x="958" y="2489"/>
                </a:lnTo>
                <a:lnTo>
                  <a:pt x="936" y="2502"/>
                </a:lnTo>
                <a:lnTo>
                  <a:pt x="913" y="2510"/>
                </a:lnTo>
                <a:lnTo>
                  <a:pt x="888" y="2513"/>
                </a:lnTo>
                <a:lnTo>
                  <a:pt x="888" y="2625"/>
                </a:lnTo>
                <a:lnTo>
                  <a:pt x="1221" y="2625"/>
                </a:lnTo>
                <a:lnTo>
                  <a:pt x="1221" y="2513"/>
                </a:lnTo>
                <a:lnTo>
                  <a:pt x="1196" y="2510"/>
                </a:lnTo>
                <a:lnTo>
                  <a:pt x="1173" y="2502"/>
                </a:lnTo>
                <a:lnTo>
                  <a:pt x="1151" y="2489"/>
                </a:lnTo>
                <a:lnTo>
                  <a:pt x="1134" y="2471"/>
                </a:lnTo>
                <a:lnTo>
                  <a:pt x="1121" y="2450"/>
                </a:lnTo>
                <a:lnTo>
                  <a:pt x="1113" y="2427"/>
                </a:lnTo>
                <a:lnTo>
                  <a:pt x="1110" y="2401"/>
                </a:lnTo>
                <a:lnTo>
                  <a:pt x="1110" y="1508"/>
                </a:lnTo>
                <a:lnTo>
                  <a:pt x="1113" y="1483"/>
                </a:lnTo>
                <a:lnTo>
                  <a:pt x="1121" y="1459"/>
                </a:lnTo>
                <a:lnTo>
                  <a:pt x="1134" y="1438"/>
                </a:lnTo>
                <a:lnTo>
                  <a:pt x="1151" y="1421"/>
                </a:lnTo>
                <a:lnTo>
                  <a:pt x="1173" y="1407"/>
                </a:lnTo>
                <a:lnTo>
                  <a:pt x="1196" y="1399"/>
                </a:lnTo>
                <a:lnTo>
                  <a:pt x="1221" y="1396"/>
                </a:lnTo>
                <a:lnTo>
                  <a:pt x="1221" y="1285"/>
                </a:lnTo>
                <a:lnTo>
                  <a:pt x="888" y="1285"/>
                </a:lnTo>
                <a:close/>
                <a:moveTo>
                  <a:pt x="722" y="1285"/>
                </a:moveTo>
                <a:lnTo>
                  <a:pt x="722" y="1396"/>
                </a:lnTo>
                <a:lnTo>
                  <a:pt x="718" y="1422"/>
                </a:lnTo>
                <a:lnTo>
                  <a:pt x="710" y="1445"/>
                </a:lnTo>
                <a:lnTo>
                  <a:pt x="697" y="1466"/>
                </a:lnTo>
                <a:lnTo>
                  <a:pt x="680" y="1484"/>
                </a:lnTo>
                <a:lnTo>
                  <a:pt x="659" y="1497"/>
                </a:lnTo>
                <a:lnTo>
                  <a:pt x="636" y="1505"/>
                </a:lnTo>
                <a:lnTo>
                  <a:pt x="611" y="1508"/>
                </a:lnTo>
                <a:lnTo>
                  <a:pt x="611" y="2401"/>
                </a:lnTo>
                <a:lnTo>
                  <a:pt x="636" y="2404"/>
                </a:lnTo>
                <a:lnTo>
                  <a:pt x="659" y="2412"/>
                </a:lnTo>
                <a:lnTo>
                  <a:pt x="680" y="2426"/>
                </a:lnTo>
                <a:lnTo>
                  <a:pt x="697" y="2443"/>
                </a:lnTo>
                <a:lnTo>
                  <a:pt x="710" y="2463"/>
                </a:lnTo>
                <a:lnTo>
                  <a:pt x="718" y="2488"/>
                </a:lnTo>
                <a:lnTo>
                  <a:pt x="722" y="2513"/>
                </a:lnTo>
                <a:lnTo>
                  <a:pt x="722" y="2625"/>
                </a:lnTo>
                <a:lnTo>
                  <a:pt x="777" y="2625"/>
                </a:lnTo>
                <a:lnTo>
                  <a:pt x="777" y="2513"/>
                </a:lnTo>
                <a:lnTo>
                  <a:pt x="780" y="2488"/>
                </a:lnTo>
                <a:lnTo>
                  <a:pt x="788" y="2463"/>
                </a:lnTo>
                <a:lnTo>
                  <a:pt x="801" y="2443"/>
                </a:lnTo>
                <a:lnTo>
                  <a:pt x="818" y="2426"/>
                </a:lnTo>
                <a:lnTo>
                  <a:pt x="840" y="2412"/>
                </a:lnTo>
                <a:lnTo>
                  <a:pt x="863" y="2404"/>
                </a:lnTo>
                <a:lnTo>
                  <a:pt x="888" y="2401"/>
                </a:lnTo>
                <a:lnTo>
                  <a:pt x="888" y="1508"/>
                </a:lnTo>
                <a:lnTo>
                  <a:pt x="863" y="1505"/>
                </a:lnTo>
                <a:lnTo>
                  <a:pt x="840" y="1497"/>
                </a:lnTo>
                <a:lnTo>
                  <a:pt x="818" y="1484"/>
                </a:lnTo>
                <a:lnTo>
                  <a:pt x="801" y="1466"/>
                </a:lnTo>
                <a:lnTo>
                  <a:pt x="788" y="1445"/>
                </a:lnTo>
                <a:lnTo>
                  <a:pt x="780" y="1422"/>
                </a:lnTo>
                <a:lnTo>
                  <a:pt x="777" y="1396"/>
                </a:lnTo>
                <a:lnTo>
                  <a:pt x="777" y="1285"/>
                </a:lnTo>
                <a:lnTo>
                  <a:pt x="722" y="1285"/>
                </a:lnTo>
                <a:close/>
                <a:moveTo>
                  <a:pt x="278" y="1285"/>
                </a:moveTo>
                <a:lnTo>
                  <a:pt x="278" y="1396"/>
                </a:lnTo>
                <a:lnTo>
                  <a:pt x="303" y="1399"/>
                </a:lnTo>
                <a:lnTo>
                  <a:pt x="326" y="1407"/>
                </a:lnTo>
                <a:lnTo>
                  <a:pt x="347" y="1421"/>
                </a:lnTo>
                <a:lnTo>
                  <a:pt x="364" y="1438"/>
                </a:lnTo>
                <a:lnTo>
                  <a:pt x="377" y="1459"/>
                </a:lnTo>
                <a:lnTo>
                  <a:pt x="385" y="1483"/>
                </a:lnTo>
                <a:lnTo>
                  <a:pt x="389" y="1508"/>
                </a:lnTo>
                <a:lnTo>
                  <a:pt x="389" y="2401"/>
                </a:lnTo>
                <a:lnTo>
                  <a:pt x="385" y="2427"/>
                </a:lnTo>
                <a:lnTo>
                  <a:pt x="377" y="2450"/>
                </a:lnTo>
                <a:lnTo>
                  <a:pt x="364" y="2471"/>
                </a:lnTo>
                <a:lnTo>
                  <a:pt x="347" y="2489"/>
                </a:lnTo>
                <a:lnTo>
                  <a:pt x="326" y="2502"/>
                </a:lnTo>
                <a:lnTo>
                  <a:pt x="303" y="2510"/>
                </a:lnTo>
                <a:lnTo>
                  <a:pt x="278" y="2513"/>
                </a:lnTo>
                <a:lnTo>
                  <a:pt x="278" y="2625"/>
                </a:lnTo>
                <a:lnTo>
                  <a:pt x="611" y="2625"/>
                </a:lnTo>
                <a:lnTo>
                  <a:pt x="611" y="2513"/>
                </a:lnTo>
                <a:lnTo>
                  <a:pt x="585" y="2510"/>
                </a:lnTo>
                <a:lnTo>
                  <a:pt x="562" y="2502"/>
                </a:lnTo>
                <a:lnTo>
                  <a:pt x="541" y="2489"/>
                </a:lnTo>
                <a:lnTo>
                  <a:pt x="524" y="2471"/>
                </a:lnTo>
                <a:lnTo>
                  <a:pt x="511" y="2450"/>
                </a:lnTo>
                <a:lnTo>
                  <a:pt x="503" y="2427"/>
                </a:lnTo>
                <a:lnTo>
                  <a:pt x="500" y="2401"/>
                </a:lnTo>
                <a:lnTo>
                  <a:pt x="500" y="1508"/>
                </a:lnTo>
                <a:lnTo>
                  <a:pt x="503" y="1483"/>
                </a:lnTo>
                <a:lnTo>
                  <a:pt x="511" y="1459"/>
                </a:lnTo>
                <a:lnTo>
                  <a:pt x="524" y="1438"/>
                </a:lnTo>
                <a:lnTo>
                  <a:pt x="541" y="1421"/>
                </a:lnTo>
                <a:lnTo>
                  <a:pt x="562" y="1407"/>
                </a:lnTo>
                <a:lnTo>
                  <a:pt x="585" y="1399"/>
                </a:lnTo>
                <a:lnTo>
                  <a:pt x="611" y="1396"/>
                </a:lnTo>
                <a:lnTo>
                  <a:pt x="611" y="1285"/>
                </a:lnTo>
                <a:lnTo>
                  <a:pt x="278" y="1285"/>
                </a:lnTo>
                <a:close/>
                <a:moveTo>
                  <a:pt x="256" y="1061"/>
                </a:moveTo>
                <a:lnTo>
                  <a:pt x="201" y="1173"/>
                </a:lnTo>
                <a:lnTo>
                  <a:pt x="3129" y="1173"/>
                </a:lnTo>
                <a:lnTo>
                  <a:pt x="3074" y="1061"/>
                </a:lnTo>
                <a:lnTo>
                  <a:pt x="2730" y="1061"/>
                </a:lnTo>
                <a:lnTo>
                  <a:pt x="2720" y="1067"/>
                </a:lnTo>
                <a:lnTo>
                  <a:pt x="2706" y="1061"/>
                </a:lnTo>
                <a:lnTo>
                  <a:pt x="626" y="1061"/>
                </a:lnTo>
                <a:lnTo>
                  <a:pt x="614" y="1068"/>
                </a:lnTo>
                <a:lnTo>
                  <a:pt x="601" y="1061"/>
                </a:lnTo>
                <a:lnTo>
                  <a:pt x="256" y="1061"/>
                </a:lnTo>
                <a:close/>
                <a:moveTo>
                  <a:pt x="2351" y="726"/>
                </a:moveTo>
                <a:lnTo>
                  <a:pt x="2460" y="789"/>
                </a:lnTo>
                <a:lnTo>
                  <a:pt x="2622" y="884"/>
                </a:lnTo>
                <a:lnTo>
                  <a:pt x="2569" y="726"/>
                </a:lnTo>
                <a:lnTo>
                  <a:pt x="2351" y="726"/>
                </a:lnTo>
                <a:close/>
                <a:moveTo>
                  <a:pt x="761" y="726"/>
                </a:moveTo>
                <a:lnTo>
                  <a:pt x="708" y="884"/>
                </a:lnTo>
                <a:lnTo>
                  <a:pt x="870" y="789"/>
                </a:lnTo>
                <a:lnTo>
                  <a:pt x="979" y="726"/>
                </a:lnTo>
                <a:lnTo>
                  <a:pt x="761" y="726"/>
                </a:lnTo>
                <a:close/>
                <a:moveTo>
                  <a:pt x="1665" y="455"/>
                </a:moveTo>
                <a:lnTo>
                  <a:pt x="961" y="866"/>
                </a:lnTo>
                <a:lnTo>
                  <a:pt x="817" y="950"/>
                </a:lnTo>
                <a:lnTo>
                  <a:pt x="2513" y="950"/>
                </a:lnTo>
                <a:lnTo>
                  <a:pt x="1665" y="455"/>
                </a:lnTo>
                <a:close/>
                <a:moveTo>
                  <a:pt x="1665" y="112"/>
                </a:moveTo>
                <a:lnTo>
                  <a:pt x="1592" y="114"/>
                </a:lnTo>
                <a:lnTo>
                  <a:pt x="1523" y="121"/>
                </a:lnTo>
                <a:lnTo>
                  <a:pt x="1453" y="132"/>
                </a:lnTo>
                <a:lnTo>
                  <a:pt x="1386" y="148"/>
                </a:lnTo>
                <a:lnTo>
                  <a:pt x="1323" y="166"/>
                </a:lnTo>
                <a:lnTo>
                  <a:pt x="1261" y="188"/>
                </a:lnTo>
                <a:lnTo>
                  <a:pt x="1203" y="215"/>
                </a:lnTo>
                <a:lnTo>
                  <a:pt x="1148" y="243"/>
                </a:lnTo>
                <a:lnTo>
                  <a:pt x="1097" y="276"/>
                </a:lnTo>
                <a:lnTo>
                  <a:pt x="1050" y="310"/>
                </a:lnTo>
                <a:lnTo>
                  <a:pt x="1007" y="348"/>
                </a:lnTo>
                <a:lnTo>
                  <a:pt x="969" y="387"/>
                </a:lnTo>
                <a:lnTo>
                  <a:pt x="935" y="430"/>
                </a:lnTo>
                <a:lnTo>
                  <a:pt x="907" y="473"/>
                </a:lnTo>
                <a:lnTo>
                  <a:pt x="885" y="519"/>
                </a:lnTo>
                <a:lnTo>
                  <a:pt x="868" y="566"/>
                </a:lnTo>
                <a:lnTo>
                  <a:pt x="858" y="615"/>
                </a:lnTo>
                <a:lnTo>
                  <a:pt x="1171" y="615"/>
                </a:lnTo>
                <a:lnTo>
                  <a:pt x="1665" y="326"/>
                </a:lnTo>
                <a:lnTo>
                  <a:pt x="2159" y="615"/>
                </a:lnTo>
                <a:lnTo>
                  <a:pt x="2466" y="615"/>
                </a:lnTo>
                <a:lnTo>
                  <a:pt x="2455" y="566"/>
                </a:lnTo>
                <a:lnTo>
                  <a:pt x="2439" y="518"/>
                </a:lnTo>
                <a:lnTo>
                  <a:pt x="2417" y="471"/>
                </a:lnTo>
                <a:lnTo>
                  <a:pt x="2390" y="428"/>
                </a:lnTo>
                <a:lnTo>
                  <a:pt x="2357" y="386"/>
                </a:lnTo>
                <a:lnTo>
                  <a:pt x="2320" y="346"/>
                </a:lnTo>
                <a:lnTo>
                  <a:pt x="2278" y="309"/>
                </a:lnTo>
                <a:lnTo>
                  <a:pt x="2231" y="273"/>
                </a:lnTo>
                <a:lnTo>
                  <a:pt x="2181" y="242"/>
                </a:lnTo>
                <a:lnTo>
                  <a:pt x="2126" y="214"/>
                </a:lnTo>
                <a:lnTo>
                  <a:pt x="2069" y="187"/>
                </a:lnTo>
                <a:lnTo>
                  <a:pt x="2008" y="165"/>
                </a:lnTo>
                <a:lnTo>
                  <a:pt x="1944" y="147"/>
                </a:lnTo>
                <a:lnTo>
                  <a:pt x="1878" y="131"/>
                </a:lnTo>
                <a:lnTo>
                  <a:pt x="1808" y="121"/>
                </a:lnTo>
                <a:lnTo>
                  <a:pt x="1738" y="114"/>
                </a:lnTo>
                <a:lnTo>
                  <a:pt x="1665" y="112"/>
                </a:lnTo>
                <a:close/>
                <a:moveTo>
                  <a:pt x="1665" y="0"/>
                </a:moveTo>
                <a:lnTo>
                  <a:pt x="1744" y="2"/>
                </a:lnTo>
                <a:lnTo>
                  <a:pt x="1821" y="10"/>
                </a:lnTo>
                <a:lnTo>
                  <a:pt x="1896" y="22"/>
                </a:lnTo>
                <a:lnTo>
                  <a:pt x="1969" y="38"/>
                </a:lnTo>
                <a:lnTo>
                  <a:pt x="2038" y="58"/>
                </a:lnTo>
                <a:lnTo>
                  <a:pt x="2106" y="84"/>
                </a:lnTo>
                <a:lnTo>
                  <a:pt x="2170" y="111"/>
                </a:lnTo>
                <a:lnTo>
                  <a:pt x="2230" y="144"/>
                </a:lnTo>
                <a:lnTo>
                  <a:pt x="2286" y="179"/>
                </a:lnTo>
                <a:lnTo>
                  <a:pt x="2338" y="217"/>
                </a:lnTo>
                <a:lnTo>
                  <a:pt x="2387" y="258"/>
                </a:lnTo>
                <a:lnTo>
                  <a:pt x="2430" y="303"/>
                </a:lnTo>
                <a:lnTo>
                  <a:pt x="2468" y="350"/>
                </a:lnTo>
                <a:lnTo>
                  <a:pt x="2502" y="398"/>
                </a:lnTo>
                <a:lnTo>
                  <a:pt x="2529" y="450"/>
                </a:lnTo>
                <a:lnTo>
                  <a:pt x="2551" y="503"/>
                </a:lnTo>
                <a:lnTo>
                  <a:pt x="2567" y="558"/>
                </a:lnTo>
                <a:lnTo>
                  <a:pt x="2577" y="615"/>
                </a:lnTo>
                <a:lnTo>
                  <a:pt x="2648" y="615"/>
                </a:lnTo>
                <a:lnTo>
                  <a:pt x="2761" y="950"/>
                </a:lnTo>
                <a:lnTo>
                  <a:pt x="3142" y="950"/>
                </a:lnTo>
                <a:lnTo>
                  <a:pt x="3309" y="1285"/>
                </a:lnTo>
                <a:lnTo>
                  <a:pt x="3164" y="1285"/>
                </a:lnTo>
                <a:lnTo>
                  <a:pt x="3164" y="1396"/>
                </a:lnTo>
                <a:lnTo>
                  <a:pt x="3160" y="1422"/>
                </a:lnTo>
                <a:lnTo>
                  <a:pt x="3152" y="1445"/>
                </a:lnTo>
                <a:lnTo>
                  <a:pt x="3139" y="1466"/>
                </a:lnTo>
                <a:lnTo>
                  <a:pt x="3122" y="1484"/>
                </a:lnTo>
                <a:lnTo>
                  <a:pt x="3101" y="1497"/>
                </a:lnTo>
                <a:lnTo>
                  <a:pt x="3078" y="1505"/>
                </a:lnTo>
                <a:lnTo>
                  <a:pt x="3053" y="1508"/>
                </a:lnTo>
                <a:lnTo>
                  <a:pt x="3053" y="2401"/>
                </a:lnTo>
                <a:lnTo>
                  <a:pt x="3078" y="2404"/>
                </a:lnTo>
                <a:lnTo>
                  <a:pt x="3101" y="2412"/>
                </a:lnTo>
                <a:lnTo>
                  <a:pt x="3122" y="2426"/>
                </a:lnTo>
                <a:lnTo>
                  <a:pt x="3139" y="2443"/>
                </a:lnTo>
                <a:lnTo>
                  <a:pt x="3152" y="2463"/>
                </a:lnTo>
                <a:lnTo>
                  <a:pt x="3160" y="2488"/>
                </a:lnTo>
                <a:lnTo>
                  <a:pt x="3164" y="2513"/>
                </a:lnTo>
                <a:lnTo>
                  <a:pt x="3164" y="2625"/>
                </a:lnTo>
                <a:lnTo>
                  <a:pt x="3275" y="2625"/>
                </a:lnTo>
                <a:lnTo>
                  <a:pt x="3275" y="2848"/>
                </a:lnTo>
                <a:lnTo>
                  <a:pt x="3330" y="2848"/>
                </a:lnTo>
                <a:lnTo>
                  <a:pt x="3330" y="3183"/>
                </a:lnTo>
                <a:lnTo>
                  <a:pt x="0" y="3183"/>
                </a:lnTo>
                <a:lnTo>
                  <a:pt x="0" y="2848"/>
                </a:lnTo>
                <a:lnTo>
                  <a:pt x="56" y="2848"/>
                </a:lnTo>
                <a:lnTo>
                  <a:pt x="56" y="2625"/>
                </a:lnTo>
                <a:lnTo>
                  <a:pt x="167" y="2625"/>
                </a:lnTo>
                <a:lnTo>
                  <a:pt x="167" y="2513"/>
                </a:lnTo>
                <a:lnTo>
                  <a:pt x="170" y="2488"/>
                </a:lnTo>
                <a:lnTo>
                  <a:pt x="178" y="2463"/>
                </a:lnTo>
                <a:lnTo>
                  <a:pt x="191" y="2443"/>
                </a:lnTo>
                <a:lnTo>
                  <a:pt x="208" y="2426"/>
                </a:lnTo>
                <a:lnTo>
                  <a:pt x="229" y="2412"/>
                </a:lnTo>
                <a:lnTo>
                  <a:pt x="252" y="2404"/>
                </a:lnTo>
                <a:lnTo>
                  <a:pt x="278" y="2401"/>
                </a:lnTo>
                <a:lnTo>
                  <a:pt x="278" y="1508"/>
                </a:lnTo>
                <a:lnTo>
                  <a:pt x="252" y="1505"/>
                </a:lnTo>
                <a:lnTo>
                  <a:pt x="229" y="1497"/>
                </a:lnTo>
                <a:lnTo>
                  <a:pt x="208" y="1484"/>
                </a:lnTo>
                <a:lnTo>
                  <a:pt x="191" y="1466"/>
                </a:lnTo>
                <a:lnTo>
                  <a:pt x="178" y="1445"/>
                </a:lnTo>
                <a:lnTo>
                  <a:pt x="170" y="1422"/>
                </a:lnTo>
                <a:lnTo>
                  <a:pt x="167" y="1396"/>
                </a:lnTo>
                <a:lnTo>
                  <a:pt x="167" y="1285"/>
                </a:lnTo>
                <a:lnTo>
                  <a:pt x="21" y="1285"/>
                </a:lnTo>
                <a:lnTo>
                  <a:pt x="188" y="950"/>
                </a:lnTo>
                <a:lnTo>
                  <a:pt x="569" y="950"/>
                </a:lnTo>
                <a:lnTo>
                  <a:pt x="681" y="615"/>
                </a:lnTo>
                <a:lnTo>
                  <a:pt x="747" y="615"/>
                </a:lnTo>
                <a:lnTo>
                  <a:pt x="756" y="558"/>
                </a:lnTo>
                <a:lnTo>
                  <a:pt x="772" y="503"/>
                </a:lnTo>
                <a:lnTo>
                  <a:pt x="794" y="450"/>
                </a:lnTo>
                <a:lnTo>
                  <a:pt x="822" y="398"/>
                </a:lnTo>
                <a:lnTo>
                  <a:pt x="856" y="350"/>
                </a:lnTo>
                <a:lnTo>
                  <a:pt x="895" y="303"/>
                </a:lnTo>
                <a:lnTo>
                  <a:pt x="938" y="258"/>
                </a:lnTo>
                <a:lnTo>
                  <a:pt x="987" y="217"/>
                </a:lnTo>
                <a:lnTo>
                  <a:pt x="1039" y="179"/>
                </a:lnTo>
                <a:lnTo>
                  <a:pt x="1096" y="144"/>
                </a:lnTo>
                <a:lnTo>
                  <a:pt x="1156" y="111"/>
                </a:lnTo>
                <a:lnTo>
                  <a:pt x="1221" y="84"/>
                </a:lnTo>
                <a:lnTo>
                  <a:pt x="1289" y="58"/>
                </a:lnTo>
                <a:lnTo>
                  <a:pt x="1359" y="38"/>
                </a:lnTo>
                <a:lnTo>
                  <a:pt x="1432" y="22"/>
                </a:lnTo>
                <a:lnTo>
                  <a:pt x="1508" y="10"/>
                </a:lnTo>
                <a:lnTo>
                  <a:pt x="1585" y="2"/>
                </a:lnTo>
                <a:lnTo>
                  <a:pt x="1665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5" name="Group 835"/>
          <p:cNvGrpSpPr/>
          <p:nvPr/>
        </p:nvGrpSpPr>
        <p:grpSpPr>
          <a:xfrm>
            <a:off x="6544092" y="4062557"/>
            <a:ext cx="504000" cy="554038"/>
            <a:chOff x="6326188" y="3460750"/>
            <a:chExt cx="484188" cy="554038"/>
          </a:xfrm>
          <a:solidFill>
            <a:schemeClr val="bg2"/>
          </a:solidFill>
        </p:grpSpPr>
        <p:sp>
          <p:nvSpPr>
            <p:cNvPr id="16" name="Freeform 227"/>
            <p:cNvSpPr>
              <a:spLocks/>
            </p:cNvSpPr>
            <p:nvPr/>
          </p:nvSpPr>
          <p:spPr bwMode="auto">
            <a:xfrm>
              <a:off x="6326188" y="3460750"/>
              <a:ext cx="276225" cy="288925"/>
            </a:xfrm>
            <a:custGeom>
              <a:avLst/>
              <a:gdLst>
                <a:gd name="T0" fmla="*/ 1475 w 1743"/>
                <a:gd name="T1" fmla="*/ 2 h 1815"/>
                <a:gd name="T2" fmla="*/ 1507 w 1743"/>
                <a:gd name="T3" fmla="*/ 21 h 1815"/>
                <a:gd name="T4" fmla="*/ 1733 w 1743"/>
                <a:gd name="T5" fmla="*/ 252 h 1815"/>
                <a:gd name="T6" fmla="*/ 1743 w 1743"/>
                <a:gd name="T7" fmla="*/ 287 h 1815"/>
                <a:gd name="T8" fmla="*/ 1733 w 1743"/>
                <a:gd name="T9" fmla="*/ 320 h 1815"/>
                <a:gd name="T10" fmla="*/ 1507 w 1743"/>
                <a:gd name="T11" fmla="*/ 552 h 1815"/>
                <a:gd name="T12" fmla="*/ 1475 w 1743"/>
                <a:gd name="T13" fmla="*/ 570 h 1815"/>
                <a:gd name="T14" fmla="*/ 1440 w 1743"/>
                <a:gd name="T15" fmla="*/ 570 h 1815"/>
                <a:gd name="T16" fmla="*/ 1408 w 1743"/>
                <a:gd name="T17" fmla="*/ 552 h 1815"/>
                <a:gd name="T18" fmla="*/ 1389 w 1743"/>
                <a:gd name="T19" fmla="*/ 520 h 1815"/>
                <a:gd name="T20" fmla="*/ 1389 w 1743"/>
                <a:gd name="T21" fmla="*/ 484 h 1815"/>
                <a:gd name="T22" fmla="*/ 1408 w 1743"/>
                <a:gd name="T23" fmla="*/ 452 h 1815"/>
                <a:gd name="T24" fmla="*/ 1410 w 1743"/>
                <a:gd name="T25" fmla="*/ 361 h 1815"/>
                <a:gd name="T26" fmla="*/ 1228 w 1743"/>
                <a:gd name="T27" fmla="*/ 388 h 1815"/>
                <a:gd name="T28" fmla="*/ 1056 w 1743"/>
                <a:gd name="T29" fmla="*/ 438 h 1815"/>
                <a:gd name="T30" fmla="*/ 893 w 1743"/>
                <a:gd name="T31" fmla="*/ 510 h 1815"/>
                <a:gd name="T32" fmla="*/ 741 w 1743"/>
                <a:gd name="T33" fmla="*/ 602 h 1815"/>
                <a:gd name="T34" fmla="*/ 602 w 1743"/>
                <a:gd name="T35" fmla="*/ 710 h 1815"/>
                <a:gd name="T36" fmla="*/ 480 w 1743"/>
                <a:gd name="T37" fmla="*/ 835 h 1815"/>
                <a:gd name="T38" fmla="*/ 373 w 1743"/>
                <a:gd name="T39" fmla="*/ 975 h 1815"/>
                <a:gd name="T40" fmla="*/ 284 w 1743"/>
                <a:gd name="T41" fmla="*/ 1129 h 1815"/>
                <a:gd name="T42" fmla="*/ 215 w 1743"/>
                <a:gd name="T43" fmla="*/ 1293 h 1815"/>
                <a:gd name="T44" fmla="*/ 167 w 1743"/>
                <a:gd name="T45" fmla="*/ 1468 h 1815"/>
                <a:gd name="T46" fmla="*/ 143 w 1743"/>
                <a:gd name="T47" fmla="*/ 1650 h 1815"/>
                <a:gd name="T48" fmla="*/ 138 w 1743"/>
                <a:gd name="T49" fmla="*/ 1763 h 1815"/>
                <a:gd name="T50" fmla="*/ 120 w 1743"/>
                <a:gd name="T51" fmla="*/ 1794 h 1815"/>
                <a:gd name="T52" fmla="*/ 89 w 1743"/>
                <a:gd name="T53" fmla="*/ 1812 h 1815"/>
                <a:gd name="T54" fmla="*/ 51 w 1743"/>
                <a:gd name="T55" fmla="*/ 1812 h 1815"/>
                <a:gd name="T56" fmla="*/ 20 w 1743"/>
                <a:gd name="T57" fmla="*/ 1794 h 1815"/>
                <a:gd name="T58" fmla="*/ 2 w 1743"/>
                <a:gd name="T59" fmla="*/ 1763 h 1815"/>
                <a:gd name="T60" fmla="*/ 3 w 1743"/>
                <a:gd name="T61" fmla="*/ 1645 h 1815"/>
                <a:gd name="T62" fmla="*/ 28 w 1743"/>
                <a:gd name="T63" fmla="*/ 1451 h 1815"/>
                <a:gd name="T64" fmla="*/ 76 w 1743"/>
                <a:gd name="T65" fmla="*/ 1265 h 1815"/>
                <a:gd name="T66" fmla="*/ 147 w 1743"/>
                <a:gd name="T67" fmla="*/ 1090 h 1815"/>
                <a:gd name="T68" fmla="*/ 237 w 1743"/>
                <a:gd name="T69" fmla="*/ 926 h 1815"/>
                <a:gd name="T70" fmla="*/ 346 w 1743"/>
                <a:gd name="T71" fmla="*/ 774 h 1815"/>
                <a:gd name="T72" fmla="*/ 473 w 1743"/>
                <a:gd name="T73" fmla="*/ 639 h 1815"/>
                <a:gd name="T74" fmla="*/ 615 w 1743"/>
                <a:gd name="T75" fmla="*/ 519 h 1815"/>
                <a:gd name="T76" fmla="*/ 772 w 1743"/>
                <a:gd name="T77" fmla="*/ 416 h 1815"/>
                <a:gd name="T78" fmla="*/ 940 w 1743"/>
                <a:gd name="T79" fmla="*/ 333 h 1815"/>
                <a:gd name="T80" fmla="*/ 1119 w 1743"/>
                <a:gd name="T81" fmla="*/ 272 h 1815"/>
                <a:gd name="T82" fmla="*/ 1308 w 1743"/>
                <a:gd name="T83" fmla="*/ 232 h 1815"/>
                <a:gd name="T84" fmla="*/ 1505 w 1743"/>
                <a:gd name="T85" fmla="*/ 217 h 1815"/>
                <a:gd name="T86" fmla="*/ 1397 w 1743"/>
                <a:gd name="T87" fmla="*/ 105 h 1815"/>
                <a:gd name="T88" fmla="*/ 1387 w 1743"/>
                <a:gd name="T89" fmla="*/ 71 h 1815"/>
                <a:gd name="T90" fmla="*/ 1397 w 1743"/>
                <a:gd name="T91" fmla="*/ 36 h 1815"/>
                <a:gd name="T92" fmla="*/ 1423 w 1743"/>
                <a:gd name="T93" fmla="*/ 10 h 1815"/>
                <a:gd name="T94" fmla="*/ 1457 w 1743"/>
                <a:gd name="T95" fmla="*/ 0 h 1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743" h="1815">
                  <a:moveTo>
                    <a:pt x="1457" y="0"/>
                  </a:moveTo>
                  <a:lnTo>
                    <a:pt x="1475" y="2"/>
                  </a:lnTo>
                  <a:lnTo>
                    <a:pt x="1492" y="10"/>
                  </a:lnTo>
                  <a:lnTo>
                    <a:pt x="1507" y="21"/>
                  </a:lnTo>
                  <a:lnTo>
                    <a:pt x="1722" y="237"/>
                  </a:lnTo>
                  <a:lnTo>
                    <a:pt x="1733" y="252"/>
                  </a:lnTo>
                  <a:lnTo>
                    <a:pt x="1741" y="269"/>
                  </a:lnTo>
                  <a:lnTo>
                    <a:pt x="1743" y="287"/>
                  </a:lnTo>
                  <a:lnTo>
                    <a:pt x="1741" y="304"/>
                  </a:lnTo>
                  <a:lnTo>
                    <a:pt x="1733" y="320"/>
                  </a:lnTo>
                  <a:lnTo>
                    <a:pt x="1722" y="335"/>
                  </a:lnTo>
                  <a:lnTo>
                    <a:pt x="1507" y="552"/>
                  </a:lnTo>
                  <a:lnTo>
                    <a:pt x="1492" y="562"/>
                  </a:lnTo>
                  <a:lnTo>
                    <a:pt x="1475" y="570"/>
                  </a:lnTo>
                  <a:lnTo>
                    <a:pt x="1458" y="572"/>
                  </a:lnTo>
                  <a:lnTo>
                    <a:pt x="1440" y="570"/>
                  </a:lnTo>
                  <a:lnTo>
                    <a:pt x="1423" y="562"/>
                  </a:lnTo>
                  <a:lnTo>
                    <a:pt x="1408" y="552"/>
                  </a:lnTo>
                  <a:lnTo>
                    <a:pt x="1397" y="536"/>
                  </a:lnTo>
                  <a:lnTo>
                    <a:pt x="1389" y="520"/>
                  </a:lnTo>
                  <a:lnTo>
                    <a:pt x="1387" y="502"/>
                  </a:lnTo>
                  <a:lnTo>
                    <a:pt x="1389" y="484"/>
                  </a:lnTo>
                  <a:lnTo>
                    <a:pt x="1397" y="467"/>
                  </a:lnTo>
                  <a:lnTo>
                    <a:pt x="1408" y="452"/>
                  </a:lnTo>
                  <a:lnTo>
                    <a:pt x="1504" y="357"/>
                  </a:lnTo>
                  <a:lnTo>
                    <a:pt x="1410" y="361"/>
                  </a:lnTo>
                  <a:lnTo>
                    <a:pt x="1318" y="371"/>
                  </a:lnTo>
                  <a:lnTo>
                    <a:pt x="1228" y="388"/>
                  </a:lnTo>
                  <a:lnTo>
                    <a:pt x="1140" y="411"/>
                  </a:lnTo>
                  <a:lnTo>
                    <a:pt x="1056" y="438"/>
                  </a:lnTo>
                  <a:lnTo>
                    <a:pt x="972" y="472"/>
                  </a:lnTo>
                  <a:lnTo>
                    <a:pt x="893" y="510"/>
                  </a:lnTo>
                  <a:lnTo>
                    <a:pt x="815" y="553"/>
                  </a:lnTo>
                  <a:lnTo>
                    <a:pt x="741" y="602"/>
                  </a:lnTo>
                  <a:lnTo>
                    <a:pt x="670" y="654"/>
                  </a:lnTo>
                  <a:lnTo>
                    <a:pt x="602" y="710"/>
                  </a:lnTo>
                  <a:lnTo>
                    <a:pt x="539" y="771"/>
                  </a:lnTo>
                  <a:lnTo>
                    <a:pt x="480" y="835"/>
                  </a:lnTo>
                  <a:lnTo>
                    <a:pt x="424" y="904"/>
                  </a:lnTo>
                  <a:lnTo>
                    <a:pt x="373" y="975"/>
                  </a:lnTo>
                  <a:lnTo>
                    <a:pt x="326" y="1050"/>
                  </a:lnTo>
                  <a:lnTo>
                    <a:pt x="284" y="1129"/>
                  </a:lnTo>
                  <a:lnTo>
                    <a:pt x="247" y="1209"/>
                  </a:lnTo>
                  <a:lnTo>
                    <a:pt x="215" y="1293"/>
                  </a:lnTo>
                  <a:lnTo>
                    <a:pt x="188" y="1379"/>
                  </a:lnTo>
                  <a:lnTo>
                    <a:pt x="167" y="1468"/>
                  </a:lnTo>
                  <a:lnTo>
                    <a:pt x="152" y="1558"/>
                  </a:lnTo>
                  <a:lnTo>
                    <a:pt x="143" y="1650"/>
                  </a:lnTo>
                  <a:lnTo>
                    <a:pt x="140" y="1744"/>
                  </a:lnTo>
                  <a:lnTo>
                    <a:pt x="138" y="1763"/>
                  </a:lnTo>
                  <a:lnTo>
                    <a:pt x="130" y="1780"/>
                  </a:lnTo>
                  <a:lnTo>
                    <a:pt x="120" y="1794"/>
                  </a:lnTo>
                  <a:lnTo>
                    <a:pt x="105" y="1805"/>
                  </a:lnTo>
                  <a:lnTo>
                    <a:pt x="89" y="1812"/>
                  </a:lnTo>
                  <a:lnTo>
                    <a:pt x="70" y="1815"/>
                  </a:lnTo>
                  <a:lnTo>
                    <a:pt x="51" y="1812"/>
                  </a:lnTo>
                  <a:lnTo>
                    <a:pt x="34" y="1805"/>
                  </a:lnTo>
                  <a:lnTo>
                    <a:pt x="20" y="1794"/>
                  </a:lnTo>
                  <a:lnTo>
                    <a:pt x="10" y="1780"/>
                  </a:lnTo>
                  <a:lnTo>
                    <a:pt x="2" y="1763"/>
                  </a:lnTo>
                  <a:lnTo>
                    <a:pt x="0" y="1744"/>
                  </a:lnTo>
                  <a:lnTo>
                    <a:pt x="3" y="1645"/>
                  </a:lnTo>
                  <a:lnTo>
                    <a:pt x="13" y="1547"/>
                  </a:lnTo>
                  <a:lnTo>
                    <a:pt x="28" y="1451"/>
                  </a:lnTo>
                  <a:lnTo>
                    <a:pt x="50" y="1357"/>
                  </a:lnTo>
                  <a:lnTo>
                    <a:pt x="76" y="1265"/>
                  </a:lnTo>
                  <a:lnTo>
                    <a:pt x="109" y="1176"/>
                  </a:lnTo>
                  <a:lnTo>
                    <a:pt x="147" y="1090"/>
                  </a:lnTo>
                  <a:lnTo>
                    <a:pt x="190" y="1007"/>
                  </a:lnTo>
                  <a:lnTo>
                    <a:pt x="237" y="926"/>
                  </a:lnTo>
                  <a:lnTo>
                    <a:pt x="290" y="849"/>
                  </a:lnTo>
                  <a:lnTo>
                    <a:pt x="346" y="774"/>
                  </a:lnTo>
                  <a:lnTo>
                    <a:pt x="408" y="704"/>
                  </a:lnTo>
                  <a:lnTo>
                    <a:pt x="473" y="639"/>
                  </a:lnTo>
                  <a:lnTo>
                    <a:pt x="542" y="576"/>
                  </a:lnTo>
                  <a:lnTo>
                    <a:pt x="615" y="519"/>
                  </a:lnTo>
                  <a:lnTo>
                    <a:pt x="691" y="465"/>
                  </a:lnTo>
                  <a:lnTo>
                    <a:pt x="772" y="416"/>
                  </a:lnTo>
                  <a:lnTo>
                    <a:pt x="854" y="372"/>
                  </a:lnTo>
                  <a:lnTo>
                    <a:pt x="940" y="333"/>
                  </a:lnTo>
                  <a:lnTo>
                    <a:pt x="1028" y="299"/>
                  </a:lnTo>
                  <a:lnTo>
                    <a:pt x="1119" y="272"/>
                  </a:lnTo>
                  <a:lnTo>
                    <a:pt x="1212" y="248"/>
                  </a:lnTo>
                  <a:lnTo>
                    <a:pt x="1308" y="232"/>
                  </a:lnTo>
                  <a:lnTo>
                    <a:pt x="1405" y="221"/>
                  </a:lnTo>
                  <a:lnTo>
                    <a:pt x="1505" y="217"/>
                  </a:lnTo>
                  <a:lnTo>
                    <a:pt x="1408" y="120"/>
                  </a:lnTo>
                  <a:lnTo>
                    <a:pt x="1397" y="105"/>
                  </a:lnTo>
                  <a:lnTo>
                    <a:pt x="1389" y="88"/>
                  </a:lnTo>
                  <a:lnTo>
                    <a:pt x="1387" y="71"/>
                  </a:lnTo>
                  <a:lnTo>
                    <a:pt x="1389" y="53"/>
                  </a:lnTo>
                  <a:lnTo>
                    <a:pt x="1397" y="36"/>
                  </a:lnTo>
                  <a:lnTo>
                    <a:pt x="1408" y="21"/>
                  </a:lnTo>
                  <a:lnTo>
                    <a:pt x="1423" y="10"/>
                  </a:lnTo>
                  <a:lnTo>
                    <a:pt x="1440" y="2"/>
                  </a:lnTo>
                  <a:lnTo>
                    <a:pt x="14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28"/>
            <p:cNvSpPr>
              <a:spLocks/>
            </p:cNvSpPr>
            <p:nvPr/>
          </p:nvSpPr>
          <p:spPr bwMode="auto">
            <a:xfrm>
              <a:off x="6534151" y="3727450"/>
              <a:ext cx="276225" cy="287338"/>
            </a:xfrm>
            <a:custGeom>
              <a:avLst/>
              <a:gdLst>
                <a:gd name="T0" fmla="*/ 1691 w 1743"/>
                <a:gd name="T1" fmla="*/ 3 h 1815"/>
                <a:gd name="T2" fmla="*/ 1722 w 1743"/>
                <a:gd name="T3" fmla="*/ 21 h 1815"/>
                <a:gd name="T4" fmla="*/ 1740 w 1743"/>
                <a:gd name="T5" fmla="*/ 52 h 1815"/>
                <a:gd name="T6" fmla="*/ 1739 w 1743"/>
                <a:gd name="T7" fmla="*/ 170 h 1815"/>
                <a:gd name="T8" fmla="*/ 1714 w 1743"/>
                <a:gd name="T9" fmla="*/ 364 h 1815"/>
                <a:gd name="T10" fmla="*/ 1666 w 1743"/>
                <a:gd name="T11" fmla="*/ 549 h 1815"/>
                <a:gd name="T12" fmla="*/ 1595 w 1743"/>
                <a:gd name="T13" fmla="*/ 724 h 1815"/>
                <a:gd name="T14" fmla="*/ 1505 w 1743"/>
                <a:gd name="T15" fmla="*/ 889 h 1815"/>
                <a:gd name="T16" fmla="*/ 1395 w 1743"/>
                <a:gd name="T17" fmla="*/ 1040 h 1815"/>
                <a:gd name="T18" fmla="*/ 1269 w 1743"/>
                <a:gd name="T19" fmla="*/ 1176 h 1815"/>
                <a:gd name="T20" fmla="*/ 1126 w 1743"/>
                <a:gd name="T21" fmla="*/ 1296 h 1815"/>
                <a:gd name="T22" fmla="*/ 971 w 1743"/>
                <a:gd name="T23" fmla="*/ 1399 h 1815"/>
                <a:gd name="T24" fmla="*/ 802 w 1743"/>
                <a:gd name="T25" fmla="*/ 1481 h 1815"/>
                <a:gd name="T26" fmla="*/ 622 w 1743"/>
                <a:gd name="T27" fmla="*/ 1543 h 1815"/>
                <a:gd name="T28" fmla="*/ 434 w 1743"/>
                <a:gd name="T29" fmla="*/ 1582 h 1815"/>
                <a:gd name="T30" fmla="*/ 238 w 1743"/>
                <a:gd name="T31" fmla="*/ 1598 h 1815"/>
                <a:gd name="T32" fmla="*/ 346 w 1743"/>
                <a:gd name="T33" fmla="*/ 1710 h 1815"/>
                <a:gd name="T34" fmla="*/ 354 w 1743"/>
                <a:gd name="T35" fmla="*/ 1743 h 1815"/>
                <a:gd name="T36" fmla="*/ 346 w 1743"/>
                <a:gd name="T37" fmla="*/ 1778 h 1815"/>
                <a:gd name="T38" fmla="*/ 320 w 1743"/>
                <a:gd name="T39" fmla="*/ 1805 h 1815"/>
                <a:gd name="T40" fmla="*/ 285 w 1743"/>
                <a:gd name="T41" fmla="*/ 1815 h 1815"/>
                <a:gd name="T42" fmla="*/ 250 w 1743"/>
                <a:gd name="T43" fmla="*/ 1805 h 1815"/>
                <a:gd name="T44" fmla="*/ 20 w 1743"/>
                <a:gd name="T45" fmla="*/ 1578 h 1815"/>
                <a:gd name="T46" fmla="*/ 2 w 1743"/>
                <a:gd name="T47" fmla="*/ 1546 h 1815"/>
                <a:gd name="T48" fmla="*/ 2 w 1743"/>
                <a:gd name="T49" fmla="*/ 1510 h 1815"/>
                <a:gd name="T50" fmla="*/ 20 w 1743"/>
                <a:gd name="T51" fmla="*/ 1479 h 1815"/>
                <a:gd name="T52" fmla="*/ 251 w 1743"/>
                <a:gd name="T53" fmla="*/ 1251 h 1815"/>
                <a:gd name="T54" fmla="*/ 285 w 1743"/>
                <a:gd name="T55" fmla="*/ 1243 h 1815"/>
                <a:gd name="T56" fmla="*/ 320 w 1743"/>
                <a:gd name="T57" fmla="*/ 1251 h 1815"/>
                <a:gd name="T58" fmla="*/ 346 w 1743"/>
                <a:gd name="T59" fmla="*/ 1279 h 1815"/>
                <a:gd name="T60" fmla="*/ 354 w 1743"/>
                <a:gd name="T61" fmla="*/ 1313 h 1815"/>
                <a:gd name="T62" fmla="*/ 346 w 1743"/>
                <a:gd name="T63" fmla="*/ 1348 h 1815"/>
                <a:gd name="T64" fmla="*/ 239 w 1743"/>
                <a:gd name="T65" fmla="*/ 1458 h 1815"/>
                <a:gd name="T66" fmla="*/ 424 w 1743"/>
                <a:gd name="T67" fmla="*/ 1443 h 1815"/>
                <a:gd name="T68" fmla="*/ 601 w 1743"/>
                <a:gd name="T69" fmla="*/ 1404 h 1815"/>
                <a:gd name="T70" fmla="*/ 770 w 1743"/>
                <a:gd name="T71" fmla="*/ 1343 h 1815"/>
                <a:gd name="T72" fmla="*/ 927 w 1743"/>
                <a:gd name="T73" fmla="*/ 1262 h 1815"/>
                <a:gd name="T74" fmla="*/ 1072 w 1743"/>
                <a:gd name="T75" fmla="*/ 1161 h 1815"/>
                <a:gd name="T76" fmla="*/ 1204 w 1743"/>
                <a:gd name="T77" fmla="*/ 1043 h 1815"/>
                <a:gd name="T78" fmla="*/ 1318 w 1743"/>
                <a:gd name="T79" fmla="*/ 911 h 1815"/>
                <a:gd name="T80" fmla="*/ 1416 w 1743"/>
                <a:gd name="T81" fmla="*/ 765 h 1815"/>
                <a:gd name="T82" fmla="*/ 1495 w 1743"/>
                <a:gd name="T83" fmla="*/ 605 h 1815"/>
                <a:gd name="T84" fmla="*/ 1554 w 1743"/>
                <a:gd name="T85" fmla="*/ 436 h 1815"/>
                <a:gd name="T86" fmla="*/ 1590 w 1743"/>
                <a:gd name="T87" fmla="*/ 256 h 1815"/>
                <a:gd name="T88" fmla="*/ 1603 w 1743"/>
                <a:gd name="T89" fmla="*/ 70 h 1815"/>
                <a:gd name="T90" fmla="*/ 1612 w 1743"/>
                <a:gd name="T91" fmla="*/ 35 h 1815"/>
                <a:gd name="T92" fmla="*/ 1637 w 1743"/>
                <a:gd name="T93" fmla="*/ 9 h 1815"/>
                <a:gd name="T94" fmla="*/ 1673 w 1743"/>
                <a:gd name="T95" fmla="*/ 0 h 1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743" h="1815">
                  <a:moveTo>
                    <a:pt x="1673" y="0"/>
                  </a:moveTo>
                  <a:lnTo>
                    <a:pt x="1691" y="3"/>
                  </a:lnTo>
                  <a:lnTo>
                    <a:pt x="1708" y="9"/>
                  </a:lnTo>
                  <a:lnTo>
                    <a:pt x="1722" y="21"/>
                  </a:lnTo>
                  <a:lnTo>
                    <a:pt x="1733" y="35"/>
                  </a:lnTo>
                  <a:lnTo>
                    <a:pt x="1740" y="52"/>
                  </a:lnTo>
                  <a:lnTo>
                    <a:pt x="1743" y="70"/>
                  </a:lnTo>
                  <a:lnTo>
                    <a:pt x="1739" y="170"/>
                  </a:lnTo>
                  <a:lnTo>
                    <a:pt x="1730" y="268"/>
                  </a:lnTo>
                  <a:lnTo>
                    <a:pt x="1714" y="364"/>
                  </a:lnTo>
                  <a:lnTo>
                    <a:pt x="1693" y="458"/>
                  </a:lnTo>
                  <a:lnTo>
                    <a:pt x="1666" y="549"/>
                  </a:lnTo>
                  <a:lnTo>
                    <a:pt x="1634" y="638"/>
                  </a:lnTo>
                  <a:lnTo>
                    <a:pt x="1595" y="724"/>
                  </a:lnTo>
                  <a:lnTo>
                    <a:pt x="1553" y="808"/>
                  </a:lnTo>
                  <a:lnTo>
                    <a:pt x="1505" y="889"/>
                  </a:lnTo>
                  <a:lnTo>
                    <a:pt x="1452" y="966"/>
                  </a:lnTo>
                  <a:lnTo>
                    <a:pt x="1395" y="1040"/>
                  </a:lnTo>
                  <a:lnTo>
                    <a:pt x="1334" y="1110"/>
                  </a:lnTo>
                  <a:lnTo>
                    <a:pt x="1269" y="1176"/>
                  </a:lnTo>
                  <a:lnTo>
                    <a:pt x="1199" y="1239"/>
                  </a:lnTo>
                  <a:lnTo>
                    <a:pt x="1126" y="1296"/>
                  </a:lnTo>
                  <a:lnTo>
                    <a:pt x="1050" y="1350"/>
                  </a:lnTo>
                  <a:lnTo>
                    <a:pt x="971" y="1399"/>
                  </a:lnTo>
                  <a:lnTo>
                    <a:pt x="888" y="1442"/>
                  </a:lnTo>
                  <a:lnTo>
                    <a:pt x="802" y="1481"/>
                  </a:lnTo>
                  <a:lnTo>
                    <a:pt x="713" y="1515"/>
                  </a:lnTo>
                  <a:lnTo>
                    <a:pt x="622" y="1543"/>
                  </a:lnTo>
                  <a:lnTo>
                    <a:pt x="529" y="1566"/>
                  </a:lnTo>
                  <a:lnTo>
                    <a:pt x="434" y="1582"/>
                  </a:lnTo>
                  <a:lnTo>
                    <a:pt x="338" y="1594"/>
                  </a:lnTo>
                  <a:lnTo>
                    <a:pt x="238" y="1598"/>
                  </a:lnTo>
                  <a:lnTo>
                    <a:pt x="334" y="1695"/>
                  </a:lnTo>
                  <a:lnTo>
                    <a:pt x="346" y="1710"/>
                  </a:lnTo>
                  <a:lnTo>
                    <a:pt x="352" y="1726"/>
                  </a:lnTo>
                  <a:lnTo>
                    <a:pt x="354" y="1743"/>
                  </a:lnTo>
                  <a:lnTo>
                    <a:pt x="352" y="1761"/>
                  </a:lnTo>
                  <a:lnTo>
                    <a:pt x="346" y="1778"/>
                  </a:lnTo>
                  <a:lnTo>
                    <a:pt x="334" y="1793"/>
                  </a:lnTo>
                  <a:lnTo>
                    <a:pt x="320" y="1805"/>
                  </a:lnTo>
                  <a:lnTo>
                    <a:pt x="303" y="1811"/>
                  </a:lnTo>
                  <a:lnTo>
                    <a:pt x="285" y="1815"/>
                  </a:lnTo>
                  <a:lnTo>
                    <a:pt x="267" y="1811"/>
                  </a:lnTo>
                  <a:lnTo>
                    <a:pt x="250" y="1805"/>
                  </a:lnTo>
                  <a:lnTo>
                    <a:pt x="235" y="1793"/>
                  </a:lnTo>
                  <a:lnTo>
                    <a:pt x="20" y="1578"/>
                  </a:lnTo>
                  <a:lnTo>
                    <a:pt x="9" y="1563"/>
                  </a:lnTo>
                  <a:lnTo>
                    <a:pt x="2" y="1546"/>
                  </a:lnTo>
                  <a:lnTo>
                    <a:pt x="0" y="1528"/>
                  </a:lnTo>
                  <a:lnTo>
                    <a:pt x="2" y="1510"/>
                  </a:lnTo>
                  <a:lnTo>
                    <a:pt x="9" y="1493"/>
                  </a:lnTo>
                  <a:lnTo>
                    <a:pt x="20" y="1479"/>
                  </a:lnTo>
                  <a:lnTo>
                    <a:pt x="235" y="1263"/>
                  </a:lnTo>
                  <a:lnTo>
                    <a:pt x="251" y="1251"/>
                  </a:lnTo>
                  <a:lnTo>
                    <a:pt x="267" y="1245"/>
                  </a:lnTo>
                  <a:lnTo>
                    <a:pt x="285" y="1243"/>
                  </a:lnTo>
                  <a:lnTo>
                    <a:pt x="303" y="1245"/>
                  </a:lnTo>
                  <a:lnTo>
                    <a:pt x="320" y="1251"/>
                  </a:lnTo>
                  <a:lnTo>
                    <a:pt x="334" y="1263"/>
                  </a:lnTo>
                  <a:lnTo>
                    <a:pt x="346" y="1279"/>
                  </a:lnTo>
                  <a:lnTo>
                    <a:pt x="352" y="1295"/>
                  </a:lnTo>
                  <a:lnTo>
                    <a:pt x="354" y="1313"/>
                  </a:lnTo>
                  <a:lnTo>
                    <a:pt x="352" y="1331"/>
                  </a:lnTo>
                  <a:lnTo>
                    <a:pt x="346" y="1348"/>
                  </a:lnTo>
                  <a:lnTo>
                    <a:pt x="334" y="1363"/>
                  </a:lnTo>
                  <a:lnTo>
                    <a:pt x="239" y="1458"/>
                  </a:lnTo>
                  <a:lnTo>
                    <a:pt x="332" y="1454"/>
                  </a:lnTo>
                  <a:lnTo>
                    <a:pt x="424" y="1443"/>
                  </a:lnTo>
                  <a:lnTo>
                    <a:pt x="513" y="1426"/>
                  </a:lnTo>
                  <a:lnTo>
                    <a:pt x="601" y="1404"/>
                  </a:lnTo>
                  <a:lnTo>
                    <a:pt x="687" y="1376"/>
                  </a:lnTo>
                  <a:lnTo>
                    <a:pt x="770" y="1343"/>
                  </a:lnTo>
                  <a:lnTo>
                    <a:pt x="850" y="1304"/>
                  </a:lnTo>
                  <a:lnTo>
                    <a:pt x="927" y="1262"/>
                  </a:lnTo>
                  <a:lnTo>
                    <a:pt x="1001" y="1213"/>
                  </a:lnTo>
                  <a:lnTo>
                    <a:pt x="1072" y="1161"/>
                  </a:lnTo>
                  <a:lnTo>
                    <a:pt x="1140" y="1105"/>
                  </a:lnTo>
                  <a:lnTo>
                    <a:pt x="1204" y="1043"/>
                  </a:lnTo>
                  <a:lnTo>
                    <a:pt x="1263" y="980"/>
                  </a:lnTo>
                  <a:lnTo>
                    <a:pt x="1318" y="911"/>
                  </a:lnTo>
                  <a:lnTo>
                    <a:pt x="1370" y="840"/>
                  </a:lnTo>
                  <a:lnTo>
                    <a:pt x="1416" y="765"/>
                  </a:lnTo>
                  <a:lnTo>
                    <a:pt x="1459" y="686"/>
                  </a:lnTo>
                  <a:lnTo>
                    <a:pt x="1495" y="605"/>
                  </a:lnTo>
                  <a:lnTo>
                    <a:pt x="1528" y="522"/>
                  </a:lnTo>
                  <a:lnTo>
                    <a:pt x="1554" y="436"/>
                  </a:lnTo>
                  <a:lnTo>
                    <a:pt x="1574" y="347"/>
                  </a:lnTo>
                  <a:lnTo>
                    <a:pt x="1590" y="256"/>
                  </a:lnTo>
                  <a:lnTo>
                    <a:pt x="1600" y="164"/>
                  </a:lnTo>
                  <a:lnTo>
                    <a:pt x="1603" y="70"/>
                  </a:lnTo>
                  <a:lnTo>
                    <a:pt x="1605" y="52"/>
                  </a:lnTo>
                  <a:lnTo>
                    <a:pt x="1612" y="35"/>
                  </a:lnTo>
                  <a:lnTo>
                    <a:pt x="1623" y="21"/>
                  </a:lnTo>
                  <a:lnTo>
                    <a:pt x="1637" y="9"/>
                  </a:lnTo>
                  <a:lnTo>
                    <a:pt x="1654" y="3"/>
                  </a:lnTo>
                  <a:lnTo>
                    <a:pt x="167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29"/>
            <p:cNvSpPr>
              <a:spLocks noEditPoints="1"/>
            </p:cNvSpPr>
            <p:nvPr/>
          </p:nvSpPr>
          <p:spPr bwMode="auto">
            <a:xfrm>
              <a:off x="6497638" y="3667125"/>
              <a:ext cx="142875" cy="142875"/>
            </a:xfrm>
            <a:custGeom>
              <a:avLst/>
              <a:gdLst>
                <a:gd name="T0" fmla="*/ 410 w 901"/>
                <a:gd name="T1" fmla="*/ 143 h 905"/>
                <a:gd name="T2" fmla="*/ 331 w 901"/>
                <a:gd name="T3" fmla="*/ 164 h 905"/>
                <a:gd name="T4" fmla="*/ 260 w 901"/>
                <a:gd name="T5" fmla="*/ 206 h 905"/>
                <a:gd name="T6" fmla="*/ 203 w 901"/>
                <a:gd name="T7" fmla="*/ 262 h 905"/>
                <a:gd name="T8" fmla="*/ 163 w 901"/>
                <a:gd name="T9" fmla="*/ 333 h 905"/>
                <a:gd name="T10" fmla="*/ 142 w 901"/>
                <a:gd name="T11" fmla="*/ 413 h 905"/>
                <a:gd name="T12" fmla="*/ 142 w 901"/>
                <a:gd name="T13" fmla="*/ 493 h 905"/>
                <a:gd name="T14" fmla="*/ 163 w 901"/>
                <a:gd name="T15" fmla="*/ 572 h 905"/>
                <a:gd name="T16" fmla="*/ 204 w 901"/>
                <a:gd name="T17" fmla="*/ 644 h 905"/>
                <a:gd name="T18" fmla="*/ 260 w 901"/>
                <a:gd name="T19" fmla="*/ 701 h 905"/>
                <a:gd name="T20" fmla="*/ 330 w 901"/>
                <a:gd name="T21" fmla="*/ 741 h 905"/>
                <a:gd name="T22" fmla="*/ 408 w 901"/>
                <a:gd name="T23" fmla="*/ 763 h 905"/>
                <a:gd name="T24" fmla="*/ 491 w 901"/>
                <a:gd name="T25" fmla="*/ 763 h 905"/>
                <a:gd name="T26" fmla="*/ 569 w 901"/>
                <a:gd name="T27" fmla="*/ 741 h 905"/>
                <a:gd name="T28" fmla="*/ 640 w 901"/>
                <a:gd name="T29" fmla="*/ 700 h 905"/>
                <a:gd name="T30" fmla="*/ 696 w 901"/>
                <a:gd name="T31" fmla="*/ 643 h 905"/>
                <a:gd name="T32" fmla="*/ 738 w 901"/>
                <a:gd name="T33" fmla="*/ 572 h 905"/>
                <a:gd name="T34" fmla="*/ 759 w 901"/>
                <a:gd name="T35" fmla="*/ 493 h 905"/>
                <a:gd name="T36" fmla="*/ 759 w 901"/>
                <a:gd name="T37" fmla="*/ 413 h 905"/>
                <a:gd name="T38" fmla="*/ 738 w 901"/>
                <a:gd name="T39" fmla="*/ 333 h 905"/>
                <a:gd name="T40" fmla="*/ 696 w 901"/>
                <a:gd name="T41" fmla="*/ 262 h 905"/>
                <a:gd name="T42" fmla="*/ 639 w 901"/>
                <a:gd name="T43" fmla="*/ 205 h 905"/>
                <a:gd name="T44" fmla="*/ 569 w 901"/>
                <a:gd name="T45" fmla="*/ 164 h 905"/>
                <a:gd name="T46" fmla="*/ 491 w 901"/>
                <a:gd name="T47" fmla="*/ 143 h 905"/>
                <a:gd name="T48" fmla="*/ 450 w 901"/>
                <a:gd name="T49" fmla="*/ 0 h 905"/>
                <a:gd name="T50" fmla="*/ 547 w 901"/>
                <a:gd name="T51" fmla="*/ 11 h 905"/>
                <a:gd name="T52" fmla="*/ 638 w 901"/>
                <a:gd name="T53" fmla="*/ 41 h 905"/>
                <a:gd name="T54" fmla="*/ 721 w 901"/>
                <a:gd name="T55" fmla="*/ 90 h 905"/>
                <a:gd name="T56" fmla="*/ 791 w 901"/>
                <a:gd name="T57" fmla="*/ 155 h 905"/>
                <a:gd name="T58" fmla="*/ 846 w 901"/>
                <a:gd name="T59" fmla="*/ 234 h 905"/>
                <a:gd name="T60" fmla="*/ 884 w 901"/>
                <a:gd name="T61" fmla="*/ 328 h 905"/>
                <a:gd name="T62" fmla="*/ 901 w 901"/>
                <a:gd name="T63" fmla="*/ 427 h 905"/>
                <a:gd name="T64" fmla="*/ 896 w 901"/>
                <a:gd name="T65" fmla="*/ 527 h 905"/>
                <a:gd name="T66" fmla="*/ 867 w 901"/>
                <a:gd name="T67" fmla="*/ 626 h 905"/>
                <a:gd name="T68" fmla="*/ 818 w 901"/>
                <a:gd name="T69" fmla="*/ 715 h 905"/>
                <a:gd name="T70" fmla="*/ 752 w 901"/>
                <a:gd name="T71" fmla="*/ 789 h 905"/>
                <a:gd name="T72" fmla="*/ 669 w 901"/>
                <a:gd name="T73" fmla="*/ 847 h 905"/>
                <a:gd name="T74" fmla="*/ 581 w 901"/>
                <a:gd name="T75" fmla="*/ 886 h 905"/>
                <a:gd name="T76" fmla="*/ 494 w 901"/>
                <a:gd name="T77" fmla="*/ 903 h 905"/>
                <a:gd name="T78" fmla="*/ 401 w 901"/>
                <a:gd name="T79" fmla="*/ 902 h 905"/>
                <a:gd name="T80" fmla="*/ 306 w 901"/>
                <a:gd name="T81" fmla="*/ 881 h 905"/>
                <a:gd name="T82" fmla="*/ 219 w 901"/>
                <a:gd name="T83" fmla="*/ 841 h 905"/>
                <a:gd name="T84" fmla="*/ 143 w 901"/>
                <a:gd name="T85" fmla="*/ 784 h 905"/>
                <a:gd name="T86" fmla="*/ 80 w 901"/>
                <a:gd name="T87" fmla="*/ 712 h 905"/>
                <a:gd name="T88" fmla="*/ 34 w 901"/>
                <a:gd name="T89" fmla="*/ 626 h 905"/>
                <a:gd name="T90" fmla="*/ 5 w 901"/>
                <a:gd name="T91" fmla="*/ 527 h 905"/>
                <a:gd name="T92" fmla="*/ 0 w 901"/>
                <a:gd name="T93" fmla="*/ 427 h 905"/>
                <a:gd name="T94" fmla="*/ 17 w 901"/>
                <a:gd name="T95" fmla="*/ 328 h 905"/>
                <a:gd name="T96" fmla="*/ 56 w 901"/>
                <a:gd name="T97" fmla="*/ 233 h 905"/>
                <a:gd name="T98" fmla="*/ 114 w 901"/>
                <a:gd name="T99" fmla="*/ 151 h 905"/>
                <a:gd name="T100" fmla="*/ 188 w 901"/>
                <a:gd name="T101" fmla="*/ 84 h 905"/>
                <a:gd name="T102" fmla="*/ 277 w 901"/>
                <a:gd name="T103" fmla="*/ 35 h 905"/>
                <a:gd name="T104" fmla="*/ 362 w 901"/>
                <a:gd name="T105" fmla="*/ 8 h 905"/>
                <a:gd name="T106" fmla="*/ 450 w 901"/>
                <a:gd name="T107" fmla="*/ 0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01" h="905">
                  <a:moveTo>
                    <a:pt x="450" y="140"/>
                  </a:moveTo>
                  <a:lnTo>
                    <a:pt x="410" y="143"/>
                  </a:lnTo>
                  <a:lnTo>
                    <a:pt x="370" y="152"/>
                  </a:lnTo>
                  <a:lnTo>
                    <a:pt x="331" y="164"/>
                  </a:lnTo>
                  <a:lnTo>
                    <a:pt x="294" y="182"/>
                  </a:lnTo>
                  <a:lnTo>
                    <a:pt x="260" y="206"/>
                  </a:lnTo>
                  <a:lnTo>
                    <a:pt x="230" y="232"/>
                  </a:lnTo>
                  <a:lnTo>
                    <a:pt x="203" y="262"/>
                  </a:lnTo>
                  <a:lnTo>
                    <a:pt x="181" y="296"/>
                  </a:lnTo>
                  <a:lnTo>
                    <a:pt x="163" y="333"/>
                  </a:lnTo>
                  <a:lnTo>
                    <a:pt x="149" y="372"/>
                  </a:lnTo>
                  <a:lnTo>
                    <a:pt x="142" y="413"/>
                  </a:lnTo>
                  <a:lnTo>
                    <a:pt x="138" y="453"/>
                  </a:lnTo>
                  <a:lnTo>
                    <a:pt x="142" y="493"/>
                  </a:lnTo>
                  <a:lnTo>
                    <a:pt x="149" y="533"/>
                  </a:lnTo>
                  <a:lnTo>
                    <a:pt x="163" y="572"/>
                  </a:lnTo>
                  <a:lnTo>
                    <a:pt x="181" y="610"/>
                  </a:lnTo>
                  <a:lnTo>
                    <a:pt x="204" y="644"/>
                  </a:lnTo>
                  <a:lnTo>
                    <a:pt x="231" y="675"/>
                  </a:lnTo>
                  <a:lnTo>
                    <a:pt x="260" y="701"/>
                  </a:lnTo>
                  <a:lnTo>
                    <a:pt x="294" y="723"/>
                  </a:lnTo>
                  <a:lnTo>
                    <a:pt x="330" y="741"/>
                  </a:lnTo>
                  <a:lnTo>
                    <a:pt x="368" y="754"/>
                  </a:lnTo>
                  <a:lnTo>
                    <a:pt x="408" y="763"/>
                  </a:lnTo>
                  <a:lnTo>
                    <a:pt x="450" y="765"/>
                  </a:lnTo>
                  <a:lnTo>
                    <a:pt x="491" y="763"/>
                  </a:lnTo>
                  <a:lnTo>
                    <a:pt x="530" y="754"/>
                  </a:lnTo>
                  <a:lnTo>
                    <a:pt x="569" y="741"/>
                  </a:lnTo>
                  <a:lnTo>
                    <a:pt x="606" y="722"/>
                  </a:lnTo>
                  <a:lnTo>
                    <a:pt x="640" y="700"/>
                  </a:lnTo>
                  <a:lnTo>
                    <a:pt x="670" y="673"/>
                  </a:lnTo>
                  <a:lnTo>
                    <a:pt x="696" y="643"/>
                  </a:lnTo>
                  <a:lnTo>
                    <a:pt x="720" y="609"/>
                  </a:lnTo>
                  <a:lnTo>
                    <a:pt x="738" y="572"/>
                  </a:lnTo>
                  <a:lnTo>
                    <a:pt x="750" y="533"/>
                  </a:lnTo>
                  <a:lnTo>
                    <a:pt x="759" y="493"/>
                  </a:lnTo>
                  <a:lnTo>
                    <a:pt x="761" y="453"/>
                  </a:lnTo>
                  <a:lnTo>
                    <a:pt x="759" y="413"/>
                  </a:lnTo>
                  <a:lnTo>
                    <a:pt x="750" y="372"/>
                  </a:lnTo>
                  <a:lnTo>
                    <a:pt x="738" y="333"/>
                  </a:lnTo>
                  <a:lnTo>
                    <a:pt x="719" y="296"/>
                  </a:lnTo>
                  <a:lnTo>
                    <a:pt x="696" y="262"/>
                  </a:lnTo>
                  <a:lnTo>
                    <a:pt x="670" y="231"/>
                  </a:lnTo>
                  <a:lnTo>
                    <a:pt x="639" y="205"/>
                  </a:lnTo>
                  <a:lnTo>
                    <a:pt x="605" y="182"/>
                  </a:lnTo>
                  <a:lnTo>
                    <a:pt x="569" y="164"/>
                  </a:lnTo>
                  <a:lnTo>
                    <a:pt x="531" y="152"/>
                  </a:lnTo>
                  <a:lnTo>
                    <a:pt x="491" y="143"/>
                  </a:lnTo>
                  <a:lnTo>
                    <a:pt x="450" y="140"/>
                  </a:lnTo>
                  <a:close/>
                  <a:moveTo>
                    <a:pt x="450" y="0"/>
                  </a:moveTo>
                  <a:lnTo>
                    <a:pt x="500" y="3"/>
                  </a:lnTo>
                  <a:lnTo>
                    <a:pt x="547" y="11"/>
                  </a:lnTo>
                  <a:lnTo>
                    <a:pt x="594" y="23"/>
                  </a:lnTo>
                  <a:lnTo>
                    <a:pt x="638" y="41"/>
                  </a:lnTo>
                  <a:lnTo>
                    <a:pt x="681" y="64"/>
                  </a:lnTo>
                  <a:lnTo>
                    <a:pt x="721" y="90"/>
                  </a:lnTo>
                  <a:lnTo>
                    <a:pt x="757" y="121"/>
                  </a:lnTo>
                  <a:lnTo>
                    <a:pt x="791" y="155"/>
                  </a:lnTo>
                  <a:lnTo>
                    <a:pt x="820" y="193"/>
                  </a:lnTo>
                  <a:lnTo>
                    <a:pt x="846" y="234"/>
                  </a:lnTo>
                  <a:lnTo>
                    <a:pt x="867" y="279"/>
                  </a:lnTo>
                  <a:lnTo>
                    <a:pt x="884" y="328"/>
                  </a:lnTo>
                  <a:lnTo>
                    <a:pt x="896" y="378"/>
                  </a:lnTo>
                  <a:lnTo>
                    <a:pt x="901" y="427"/>
                  </a:lnTo>
                  <a:lnTo>
                    <a:pt x="901" y="477"/>
                  </a:lnTo>
                  <a:lnTo>
                    <a:pt x="896" y="527"/>
                  </a:lnTo>
                  <a:lnTo>
                    <a:pt x="884" y="577"/>
                  </a:lnTo>
                  <a:lnTo>
                    <a:pt x="867" y="626"/>
                  </a:lnTo>
                  <a:lnTo>
                    <a:pt x="845" y="671"/>
                  </a:lnTo>
                  <a:lnTo>
                    <a:pt x="818" y="715"/>
                  </a:lnTo>
                  <a:lnTo>
                    <a:pt x="786" y="754"/>
                  </a:lnTo>
                  <a:lnTo>
                    <a:pt x="752" y="789"/>
                  </a:lnTo>
                  <a:lnTo>
                    <a:pt x="711" y="821"/>
                  </a:lnTo>
                  <a:lnTo>
                    <a:pt x="669" y="847"/>
                  </a:lnTo>
                  <a:lnTo>
                    <a:pt x="622" y="870"/>
                  </a:lnTo>
                  <a:lnTo>
                    <a:pt x="581" y="886"/>
                  </a:lnTo>
                  <a:lnTo>
                    <a:pt x="538" y="896"/>
                  </a:lnTo>
                  <a:lnTo>
                    <a:pt x="494" y="903"/>
                  </a:lnTo>
                  <a:lnTo>
                    <a:pt x="450" y="905"/>
                  </a:lnTo>
                  <a:lnTo>
                    <a:pt x="401" y="902"/>
                  </a:lnTo>
                  <a:lnTo>
                    <a:pt x="352" y="894"/>
                  </a:lnTo>
                  <a:lnTo>
                    <a:pt x="306" y="881"/>
                  </a:lnTo>
                  <a:lnTo>
                    <a:pt x="261" y="863"/>
                  </a:lnTo>
                  <a:lnTo>
                    <a:pt x="219" y="841"/>
                  </a:lnTo>
                  <a:lnTo>
                    <a:pt x="180" y="815"/>
                  </a:lnTo>
                  <a:lnTo>
                    <a:pt x="143" y="784"/>
                  </a:lnTo>
                  <a:lnTo>
                    <a:pt x="110" y="750"/>
                  </a:lnTo>
                  <a:lnTo>
                    <a:pt x="80" y="712"/>
                  </a:lnTo>
                  <a:lnTo>
                    <a:pt x="55" y="670"/>
                  </a:lnTo>
                  <a:lnTo>
                    <a:pt x="34" y="626"/>
                  </a:lnTo>
                  <a:lnTo>
                    <a:pt x="17" y="577"/>
                  </a:lnTo>
                  <a:lnTo>
                    <a:pt x="5" y="527"/>
                  </a:lnTo>
                  <a:lnTo>
                    <a:pt x="0" y="477"/>
                  </a:lnTo>
                  <a:lnTo>
                    <a:pt x="0" y="427"/>
                  </a:lnTo>
                  <a:lnTo>
                    <a:pt x="5" y="378"/>
                  </a:lnTo>
                  <a:lnTo>
                    <a:pt x="17" y="328"/>
                  </a:lnTo>
                  <a:lnTo>
                    <a:pt x="34" y="279"/>
                  </a:lnTo>
                  <a:lnTo>
                    <a:pt x="56" y="233"/>
                  </a:lnTo>
                  <a:lnTo>
                    <a:pt x="82" y="190"/>
                  </a:lnTo>
                  <a:lnTo>
                    <a:pt x="114" y="151"/>
                  </a:lnTo>
                  <a:lnTo>
                    <a:pt x="149" y="116"/>
                  </a:lnTo>
                  <a:lnTo>
                    <a:pt x="188" y="84"/>
                  </a:lnTo>
                  <a:lnTo>
                    <a:pt x="232" y="57"/>
                  </a:lnTo>
                  <a:lnTo>
                    <a:pt x="277" y="35"/>
                  </a:lnTo>
                  <a:lnTo>
                    <a:pt x="320" y="20"/>
                  </a:lnTo>
                  <a:lnTo>
                    <a:pt x="362" y="8"/>
                  </a:lnTo>
                  <a:lnTo>
                    <a:pt x="405" y="2"/>
                  </a:lnTo>
                  <a:lnTo>
                    <a:pt x="45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30"/>
            <p:cNvSpPr>
              <a:spLocks noEditPoints="1"/>
            </p:cNvSpPr>
            <p:nvPr/>
          </p:nvSpPr>
          <p:spPr bwMode="auto">
            <a:xfrm>
              <a:off x="6405563" y="3575050"/>
              <a:ext cx="327025" cy="327025"/>
            </a:xfrm>
            <a:custGeom>
              <a:avLst/>
              <a:gdLst>
                <a:gd name="T0" fmla="*/ 599 w 2059"/>
                <a:gd name="T1" fmla="*/ 201 h 2062"/>
                <a:gd name="T2" fmla="*/ 653 w 2059"/>
                <a:gd name="T3" fmla="*/ 375 h 2062"/>
                <a:gd name="T4" fmla="*/ 421 w 2059"/>
                <a:gd name="T5" fmla="*/ 624 h 2062"/>
                <a:gd name="T6" fmla="*/ 211 w 2059"/>
                <a:gd name="T7" fmla="*/ 598 h 2062"/>
                <a:gd name="T8" fmla="*/ 139 w 2059"/>
                <a:gd name="T9" fmla="*/ 743 h 2062"/>
                <a:gd name="T10" fmla="*/ 287 w 2059"/>
                <a:gd name="T11" fmla="*/ 819 h 2062"/>
                <a:gd name="T12" fmla="*/ 312 w 2059"/>
                <a:gd name="T13" fmla="*/ 1172 h 2062"/>
                <a:gd name="T14" fmla="*/ 144 w 2059"/>
                <a:gd name="T15" fmla="*/ 1304 h 2062"/>
                <a:gd name="T16" fmla="*/ 197 w 2059"/>
                <a:gd name="T17" fmla="*/ 1457 h 2062"/>
                <a:gd name="T18" fmla="*/ 336 w 2059"/>
                <a:gd name="T19" fmla="*/ 1411 h 2062"/>
                <a:gd name="T20" fmla="*/ 532 w 2059"/>
                <a:gd name="T21" fmla="*/ 1567 h 2062"/>
                <a:gd name="T22" fmla="*/ 598 w 2059"/>
                <a:gd name="T23" fmla="*/ 1845 h 2062"/>
                <a:gd name="T24" fmla="*/ 749 w 2059"/>
                <a:gd name="T25" fmla="*/ 1920 h 2062"/>
                <a:gd name="T26" fmla="*/ 867 w 2059"/>
                <a:gd name="T27" fmla="*/ 1747 h 2062"/>
                <a:gd name="T28" fmla="*/ 1184 w 2059"/>
                <a:gd name="T29" fmla="*/ 1747 h 2062"/>
                <a:gd name="T30" fmla="*/ 1303 w 2059"/>
                <a:gd name="T31" fmla="*/ 1919 h 2062"/>
                <a:gd name="T32" fmla="*/ 1457 w 2059"/>
                <a:gd name="T33" fmla="*/ 1861 h 2062"/>
                <a:gd name="T34" fmla="*/ 1405 w 2059"/>
                <a:gd name="T35" fmla="*/ 1705 h 2062"/>
                <a:gd name="T36" fmla="*/ 1603 w 2059"/>
                <a:gd name="T37" fmla="*/ 1484 h 2062"/>
                <a:gd name="T38" fmla="*/ 1845 w 2059"/>
                <a:gd name="T39" fmla="*/ 1462 h 2062"/>
                <a:gd name="T40" fmla="*/ 1917 w 2059"/>
                <a:gd name="T41" fmla="*/ 1322 h 2062"/>
                <a:gd name="T42" fmla="*/ 1788 w 2059"/>
                <a:gd name="T43" fmla="*/ 1252 h 2062"/>
                <a:gd name="T44" fmla="*/ 1756 w 2059"/>
                <a:gd name="T45" fmla="*/ 960 h 2062"/>
                <a:gd name="T46" fmla="*/ 1915 w 2059"/>
                <a:gd name="T47" fmla="*/ 755 h 2062"/>
                <a:gd name="T48" fmla="*/ 1848 w 2059"/>
                <a:gd name="T49" fmla="*/ 598 h 2062"/>
                <a:gd name="T50" fmla="*/ 1637 w 2059"/>
                <a:gd name="T51" fmla="*/ 624 h 2062"/>
                <a:gd name="T52" fmla="*/ 1406 w 2059"/>
                <a:gd name="T53" fmla="*/ 375 h 2062"/>
                <a:gd name="T54" fmla="*/ 1458 w 2059"/>
                <a:gd name="T55" fmla="*/ 200 h 2062"/>
                <a:gd name="T56" fmla="*/ 1305 w 2059"/>
                <a:gd name="T57" fmla="*/ 143 h 2062"/>
                <a:gd name="T58" fmla="*/ 1172 w 2059"/>
                <a:gd name="T59" fmla="*/ 313 h 2062"/>
                <a:gd name="T60" fmla="*/ 819 w 2059"/>
                <a:gd name="T61" fmla="*/ 287 h 2062"/>
                <a:gd name="T62" fmla="*/ 1315 w 2059"/>
                <a:gd name="T63" fmla="*/ 0 h 2062"/>
                <a:gd name="T64" fmla="*/ 1590 w 2059"/>
                <a:gd name="T65" fmla="*/ 151 h 2062"/>
                <a:gd name="T66" fmla="*/ 1684 w 2059"/>
                <a:gd name="T67" fmla="*/ 455 h 2062"/>
                <a:gd name="T68" fmla="*/ 1946 w 2059"/>
                <a:gd name="T69" fmla="*/ 492 h 2062"/>
                <a:gd name="T70" fmla="*/ 2047 w 2059"/>
                <a:gd name="T71" fmla="*/ 805 h 2062"/>
                <a:gd name="T72" fmla="*/ 1900 w 2059"/>
                <a:gd name="T73" fmla="*/ 1068 h 2062"/>
                <a:gd name="T74" fmla="*/ 2056 w 2059"/>
                <a:gd name="T75" fmla="*/ 1286 h 2062"/>
                <a:gd name="T76" fmla="*/ 1925 w 2059"/>
                <a:gd name="T77" fmla="*/ 1584 h 2062"/>
                <a:gd name="T78" fmla="*/ 1646 w 2059"/>
                <a:gd name="T79" fmla="*/ 1647 h 2062"/>
                <a:gd name="T80" fmla="*/ 1579 w 2059"/>
                <a:gd name="T81" fmla="*/ 1933 h 2062"/>
                <a:gd name="T82" fmla="*/ 1288 w 2059"/>
                <a:gd name="T83" fmla="*/ 2060 h 2062"/>
                <a:gd name="T84" fmla="*/ 1067 w 2059"/>
                <a:gd name="T85" fmla="*/ 1903 h 2062"/>
                <a:gd name="T86" fmla="*/ 797 w 2059"/>
                <a:gd name="T87" fmla="*/ 2053 h 2062"/>
                <a:gd name="T88" fmla="*/ 489 w 2059"/>
                <a:gd name="T89" fmla="*/ 1946 h 2062"/>
                <a:gd name="T90" fmla="*/ 454 w 2059"/>
                <a:gd name="T91" fmla="*/ 1687 h 2062"/>
                <a:gd name="T92" fmla="*/ 157 w 2059"/>
                <a:gd name="T93" fmla="*/ 1596 h 2062"/>
                <a:gd name="T94" fmla="*/ 0 w 2059"/>
                <a:gd name="T95" fmla="*/ 1317 h 2062"/>
                <a:gd name="T96" fmla="*/ 166 w 2059"/>
                <a:gd name="T97" fmla="*/ 1144 h 2062"/>
                <a:gd name="T98" fmla="*/ 23 w 2059"/>
                <a:gd name="T99" fmla="*/ 828 h 2062"/>
                <a:gd name="T100" fmla="*/ 94 w 2059"/>
                <a:gd name="T101" fmla="*/ 510 h 2062"/>
                <a:gd name="T102" fmla="*/ 339 w 2059"/>
                <a:gd name="T103" fmla="*/ 499 h 2062"/>
                <a:gd name="T104" fmla="*/ 460 w 2059"/>
                <a:gd name="T105" fmla="*/ 181 h 2062"/>
                <a:gd name="T106" fmla="*/ 714 w 2059"/>
                <a:gd name="T107" fmla="*/ 4 h 2062"/>
                <a:gd name="T108" fmla="*/ 888 w 2059"/>
                <a:gd name="T109" fmla="*/ 96 h 2062"/>
                <a:gd name="T110" fmla="*/ 1217 w 2059"/>
                <a:gd name="T111" fmla="*/ 34 h 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059" h="2062">
                  <a:moveTo>
                    <a:pt x="745" y="140"/>
                  </a:moveTo>
                  <a:lnTo>
                    <a:pt x="743" y="140"/>
                  </a:lnTo>
                  <a:lnTo>
                    <a:pt x="741" y="140"/>
                  </a:lnTo>
                  <a:lnTo>
                    <a:pt x="739" y="141"/>
                  </a:lnTo>
                  <a:lnTo>
                    <a:pt x="606" y="196"/>
                  </a:lnTo>
                  <a:lnTo>
                    <a:pt x="603" y="197"/>
                  </a:lnTo>
                  <a:lnTo>
                    <a:pt x="601" y="199"/>
                  </a:lnTo>
                  <a:lnTo>
                    <a:pt x="599" y="201"/>
                  </a:lnTo>
                  <a:lnTo>
                    <a:pt x="598" y="205"/>
                  </a:lnTo>
                  <a:lnTo>
                    <a:pt x="597" y="206"/>
                  </a:lnTo>
                  <a:lnTo>
                    <a:pt x="597" y="209"/>
                  </a:lnTo>
                  <a:lnTo>
                    <a:pt x="597" y="212"/>
                  </a:lnTo>
                  <a:lnTo>
                    <a:pt x="598" y="215"/>
                  </a:lnTo>
                  <a:lnTo>
                    <a:pt x="649" y="337"/>
                  </a:lnTo>
                  <a:lnTo>
                    <a:pt x="653" y="356"/>
                  </a:lnTo>
                  <a:lnTo>
                    <a:pt x="653" y="375"/>
                  </a:lnTo>
                  <a:lnTo>
                    <a:pt x="647" y="393"/>
                  </a:lnTo>
                  <a:lnTo>
                    <a:pt x="637" y="409"/>
                  </a:lnTo>
                  <a:lnTo>
                    <a:pt x="622" y="422"/>
                  </a:lnTo>
                  <a:lnTo>
                    <a:pt x="576" y="456"/>
                  </a:lnTo>
                  <a:lnTo>
                    <a:pt x="532" y="493"/>
                  </a:lnTo>
                  <a:lnTo>
                    <a:pt x="492" y="533"/>
                  </a:lnTo>
                  <a:lnTo>
                    <a:pt x="455" y="577"/>
                  </a:lnTo>
                  <a:lnTo>
                    <a:pt x="421" y="624"/>
                  </a:lnTo>
                  <a:lnTo>
                    <a:pt x="408" y="638"/>
                  </a:lnTo>
                  <a:lnTo>
                    <a:pt x="392" y="648"/>
                  </a:lnTo>
                  <a:lnTo>
                    <a:pt x="374" y="653"/>
                  </a:lnTo>
                  <a:lnTo>
                    <a:pt x="355" y="654"/>
                  </a:lnTo>
                  <a:lnTo>
                    <a:pt x="336" y="649"/>
                  </a:lnTo>
                  <a:lnTo>
                    <a:pt x="215" y="599"/>
                  </a:lnTo>
                  <a:lnTo>
                    <a:pt x="212" y="598"/>
                  </a:lnTo>
                  <a:lnTo>
                    <a:pt x="211" y="598"/>
                  </a:lnTo>
                  <a:lnTo>
                    <a:pt x="209" y="597"/>
                  </a:lnTo>
                  <a:lnTo>
                    <a:pt x="206" y="598"/>
                  </a:lnTo>
                  <a:lnTo>
                    <a:pt x="203" y="599"/>
                  </a:lnTo>
                  <a:lnTo>
                    <a:pt x="200" y="600"/>
                  </a:lnTo>
                  <a:lnTo>
                    <a:pt x="197" y="603"/>
                  </a:lnTo>
                  <a:lnTo>
                    <a:pt x="194" y="607"/>
                  </a:lnTo>
                  <a:lnTo>
                    <a:pt x="140" y="739"/>
                  </a:lnTo>
                  <a:lnTo>
                    <a:pt x="139" y="743"/>
                  </a:lnTo>
                  <a:lnTo>
                    <a:pt x="139" y="748"/>
                  </a:lnTo>
                  <a:lnTo>
                    <a:pt x="140" y="751"/>
                  </a:lnTo>
                  <a:lnTo>
                    <a:pt x="141" y="753"/>
                  </a:lnTo>
                  <a:lnTo>
                    <a:pt x="143" y="755"/>
                  </a:lnTo>
                  <a:lnTo>
                    <a:pt x="145" y="756"/>
                  </a:lnTo>
                  <a:lnTo>
                    <a:pt x="148" y="758"/>
                  </a:lnTo>
                  <a:lnTo>
                    <a:pt x="270" y="809"/>
                  </a:lnTo>
                  <a:lnTo>
                    <a:pt x="287" y="819"/>
                  </a:lnTo>
                  <a:lnTo>
                    <a:pt x="299" y="832"/>
                  </a:lnTo>
                  <a:lnTo>
                    <a:pt x="309" y="849"/>
                  </a:lnTo>
                  <a:lnTo>
                    <a:pt x="313" y="867"/>
                  </a:lnTo>
                  <a:lnTo>
                    <a:pt x="312" y="888"/>
                  </a:lnTo>
                  <a:lnTo>
                    <a:pt x="301" y="959"/>
                  </a:lnTo>
                  <a:lnTo>
                    <a:pt x="297" y="1030"/>
                  </a:lnTo>
                  <a:lnTo>
                    <a:pt x="301" y="1102"/>
                  </a:lnTo>
                  <a:lnTo>
                    <a:pt x="312" y="1172"/>
                  </a:lnTo>
                  <a:lnTo>
                    <a:pt x="313" y="1192"/>
                  </a:lnTo>
                  <a:lnTo>
                    <a:pt x="309" y="1211"/>
                  </a:lnTo>
                  <a:lnTo>
                    <a:pt x="299" y="1227"/>
                  </a:lnTo>
                  <a:lnTo>
                    <a:pt x="287" y="1241"/>
                  </a:lnTo>
                  <a:lnTo>
                    <a:pt x="270" y="1251"/>
                  </a:lnTo>
                  <a:lnTo>
                    <a:pt x="148" y="1301"/>
                  </a:lnTo>
                  <a:lnTo>
                    <a:pt x="146" y="1302"/>
                  </a:lnTo>
                  <a:lnTo>
                    <a:pt x="144" y="1304"/>
                  </a:lnTo>
                  <a:lnTo>
                    <a:pt x="141" y="1307"/>
                  </a:lnTo>
                  <a:lnTo>
                    <a:pt x="140" y="1309"/>
                  </a:lnTo>
                  <a:lnTo>
                    <a:pt x="139" y="1311"/>
                  </a:lnTo>
                  <a:lnTo>
                    <a:pt x="139" y="1314"/>
                  </a:lnTo>
                  <a:lnTo>
                    <a:pt x="139" y="1317"/>
                  </a:lnTo>
                  <a:lnTo>
                    <a:pt x="140" y="1320"/>
                  </a:lnTo>
                  <a:lnTo>
                    <a:pt x="194" y="1453"/>
                  </a:lnTo>
                  <a:lnTo>
                    <a:pt x="197" y="1457"/>
                  </a:lnTo>
                  <a:lnTo>
                    <a:pt x="200" y="1459"/>
                  </a:lnTo>
                  <a:lnTo>
                    <a:pt x="203" y="1461"/>
                  </a:lnTo>
                  <a:lnTo>
                    <a:pt x="206" y="1462"/>
                  </a:lnTo>
                  <a:lnTo>
                    <a:pt x="209" y="1462"/>
                  </a:lnTo>
                  <a:lnTo>
                    <a:pt x="211" y="1462"/>
                  </a:lnTo>
                  <a:lnTo>
                    <a:pt x="212" y="1461"/>
                  </a:lnTo>
                  <a:lnTo>
                    <a:pt x="215" y="1461"/>
                  </a:lnTo>
                  <a:lnTo>
                    <a:pt x="336" y="1411"/>
                  </a:lnTo>
                  <a:lnTo>
                    <a:pt x="355" y="1406"/>
                  </a:lnTo>
                  <a:lnTo>
                    <a:pt x="374" y="1406"/>
                  </a:lnTo>
                  <a:lnTo>
                    <a:pt x="392" y="1412"/>
                  </a:lnTo>
                  <a:lnTo>
                    <a:pt x="408" y="1422"/>
                  </a:lnTo>
                  <a:lnTo>
                    <a:pt x="421" y="1437"/>
                  </a:lnTo>
                  <a:lnTo>
                    <a:pt x="455" y="1484"/>
                  </a:lnTo>
                  <a:lnTo>
                    <a:pt x="492" y="1527"/>
                  </a:lnTo>
                  <a:lnTo>
                    <a:pt x="532" y="1567"/>
                  </a:lnTo>
                  <a:lnTo>
                    <a:pt x="576" y="1605"/>
                  </a:lnTo>
                  <a:lnTo>
                    <a:pt x="622" y="1639"/>
                  </a:lnTo>
                  <a:lnTo>
                    <a:pt x="637" y="1651"/>
                  </a:lnTo>
                  <a:lnTo>
                    <a:pt x="647" y="1667"/>
                  </a:lnTo>
                  <a:lnTo>
                    <a:pt x="652" y="1685"/>
                  </a:lnTo>
                  <a:lnTo>
                    <a:pt x="653" y="1704"/>
                  </a:lnTo>
                  <a:lnTo>
                    <a:pt x="648" y="1723"/>
                  </a:lnTo>
                  <a:lnTo>
                    <a:pt x="598" y="1845"/>
                  </a:lnTo>
                  <a:lnTo>
                    <a:pt x="596" y="1853"/>
                  </a:lnTo>
                  <a:lnTo>
                    <a:pt x="599" y="1860"/>
                  </a:lnTo>
                  <a:lnTo>
                    <a:pt x="605" y="1864"/>
                  </a:lnTo>
                  <a:lnTo>
                    <a:pt x="738" y="1920"/>
                  </a:lnTo>
                  <a:lnTo>
                    <a:pt x="741" y="1921"/>
                  </a:lnTo>
                  <a:lnTo>
                    <a:pt x="743" y="1921"/>
                  </a:lnTo>
                  <a:lnTo>
                    <a:pt x="746" y="1921"/>
                  </a:lnTo>
                  <a:lnTo>
                    <a:pt x="749" y="1920"/>
                  </a:lnTo>
                  <a:lnTo>
                    <a:pt x="752" y="1919"/>
                  </a:lnTo>
                  <a:lnTo>
                    <a:pt x="756" y="1915"/>
                  </a:lnTo>
                  <a:lnTo>
                    <a:pt x="758" y="1912"/>
                  </a:lnTo>
                  <a:lnTo>
                    <a:pt x="807" y="1790"/>
                  </a:lnTo>
                  <a:lnTo>
                    <a:pt x="818" y="1773"/>
                  </a:lnTo>
                  <a:lnTo>
                    <a:pt x="832" y="1761"/>
                  </a:lnTo>
                  <a:lnTo>
                    <a:pt x="848" y="1751"/>
                  </a:lnTo>
                  <a:lnTo>
                    <a:pt x="867" y="1747"/>
                  </a:lnTo>
                  <a:lnTo>
                    <a:pt x="886" y="1748"/>
                  </a:lnTo>
                  <a:lnTo>
                    <a:pt x="957" y="1758"/>
                  </a:lnTo>
                  <a:lnTo>
                    <a:pt x="1029" y="1762"/>
                  </a:lnTo>
                  <a:lnTo>
                    <a:pt x="1100" y="1758"/>
                  </a:lnTo>
                  <a:lnTo>
                    <a:pt x="1171" y="1748"/>
                  </a:lnTo>
                  <a:lnTo>
                    <a:pt x="1175" y="1748"/>
                  </a:lnTo>
                  <a:lnTo>
                    <a:pt x="1180" y="1747"/>
                  </a:lnTo>
                  <a:lnTo>
                    <a:pt x="1184" y="1747"/>
                  </a:lnTo>
                  <a:lnTo>
                    <a:pt x="1200" y="1749"/>
                  </a:lnTo>
                  <a:lnTo>
                    <a:pt x="1215" y="1754"/>
                  </a:lnTo>
                  <a:lnTo>
                    <a:pt x="1229" y="1763"/>
                  </a:lnTo>
                  <a:lnTo>
                    <a:pt x="1241" y="1775"/>
                  </a:lnTo>
                  <a:lnTo>
                    <a:pt x="1249" y="1790"/>
                  </a:lnTo>
                  <a:lnTo>
                    <a:pt x="1299" y="1912"/>
                  </a:lnTo>
                  <a:lnTo>
                    <a:pt x="1301" y="1915"/>
                  </a:lnTo>
                  <a:lnTo>
                    <a:pt x="1303" y="1919"/>
                  </a:lnTo>
                  <a:lnTo>
                    <a:pt x="1306" y="1920"/>
                  </a:lnTo>
                  <a:lnTo>
                    <a:pt x="1309" y="1921"/>
                  </a:lnTo>
                  <a:lnTo>
                    <a:pt x="1313" y="1921"/>
                  </a:lnTo>
                  <a:lnTo>
                    <a:pt x="1316" y="1921"/>
                  </a:lnTo>
                  <a:lnTo>
                    <a:pt x="1319" y="1920"/>
                  </a:lnTo>
                  <a:lnTo>
                    <a:pt x="1451" y="1864"/>
                  </a:lnTo>
                  <a:lnTo>
                    <a:pt x="1454" y="1863"/>
                  </a:lnTo>
                  <a:lnTo>
                    <a:pt x="1457" y="1861"/>
                  </a:lnTo>
                  <a:lnTo>
                    <a:pt x="1459" y="1859"/>
                  </a:lnTo>
                  <a:lnTo>
                    <a:pt x="1460" y="1857"/>
                  </a:lnTo>
                  <a:lnTo>
                    <a:pt x="1461" y="1855"/>
                  </a:lnTo>
                  <a:lnTo>
                    <a:pt x="1461" y="1853"/>
                  </a:lnTo>
                  <a:lnTo>
                    <a:pt x="1461" y="1850"/>
                  </a:lnTo>
                  <a:lnTo>
                    <a:pt x="1460" y="1845"/>
                  </a:lnTo>
                  <a:lnTo>
                    <a:pt x="1409" y="1723"/>
                  </a:lnTo>
                  <a:lnTo>
                    <a:pt x="1405" y="1705"/>
                  </a:lnTo>
                  <a:lnTo>
                    <a:pt x="1405" y="1686"/>
                  </a:lnTo>
                  <a:lnTo>
                    <a:pt x="1411" y="1668"/>
                  </a:lnTo>
                  <a:lnTo>
                    <a:pt x="1421" y="1652"/>
                  </a:lnTo>
                  <a:lnTo>
                    <a:pt x="1435" y="1639"/>
                  </a:lnTo>
                  <a:lnTo>
                    <a:pt x="1482" y="1606"/>
                  </a:lnTo>
                  <a:lnTo>
                    <a:pt x="1525" y="1569"/>
                  </a:lnTo>
                  <a:lnTo>
                    <a:pt x="1566" y="1527"/>
                  </a:lnTo>
                  <a:lnTo>
                    <a:pt x="1603" y="1484"/>
                  </a:lnTo>
                  <a:lnTo>
                    <a:pt x="1637" y="1437"/>
                  </a:lnTo>
                  <a:lnTo>
                    <a:pt x="1649" y="1423"/>
                  </a:lnTo>
                  <a:lnTo>
                    <a:pt x="1665" y="1413"/>
                  </a:lnTo>
                  <a:lnTo>
                    <a:pt x="1683" y="1407"/>
                  </a:lnTo>
                  <a:lnTo>
                    <a:pt x="1702" y="1407"/>
                  </a:lnTo>
                  <a:lnTo>
                    <a:pt x="1721" y="1412"/>
                  </a:lnTo>
                  <a:lnTo>
                    <a:pt x="1843" y="1462"/>
                  </a:lnTo>
                  <a:lnTo>
                    <a:pt x="1845" y="1462"/>
                  </a:lnTo>
                  <a:lnTo>
                    <a:pt x="1846" y="1464"/>
                  </a:lnTo>
                  <a:lnTo>
                    <a:pt x="1848" y="1464"/>
                  </a:lnTo>
                  <a:lnTo>
                    <a:pt x="1851" y="1464"/>
                  </a:lnTo>
                  <a:lnTo>
                    <a:pt x="1855" y="1462"/>
                  </a:lnTo>
                  <a:lnTo>
                    <a:pt x="1858" y="1460"/>
                  </a:lnTo>
                  <a:lnTo>
                    <a:pt x="1861" y="1458"/>
                  </a:lnTo>
                  <a:lnTo>
                    <a:pt x="1863" y="1454"/>
                  </a:lnTo>
                  <a:lnTo>
                    <a:pt x="1917" y="1322"/>
                  </a:lnTo>
                  <a:lnTo>
                    <a:pt x="1918" y="1318"/>
                  </a:lnTo>
                  <a:lnTo>
                    <a:pt x="1918" y="1314"/>
                  </a:lnTo>
                  <a:lnTo>
                    <a:pt x="1917" y="1311"/>
                  </a:lnTo>
                  <a:lnTo>
                    <a:pt x="1916" y="1309"/>
                  </a:lnTo>
                  <a:lnTo>
                    <a:pt x="1915" y="1307"/>
                  </a:lnTo>
                  <a:lnTo>
                    <a:pt x="1913" y="1304"/>
                  </a:lnTo>
                  <a:lnTo>
                    <a:pt x="1910" y="1302"/>
                  </a:lnTo>
                  <a:lnTo>
                    <a:pt x="1788" y="1252"/>
                  </a:lnTo>
                  <a:lnTo>
                    <a:pt x="1771" y="1243"/>
                  </a:lnTo>
                  <a:lnTo>
                    <a:pt x="1758" y="1229"/>
                  </a:lnTo>
                  <a:lnTo>
                    <a:pt x="1749" y="1212"/>
                  </a:lnTo>
                  <a:lnTo>
                    <a:pt x="1745" y="1193"/>
                  </a:lnTo>
                  <a:lnTo>
                    <a:pt x="1746" y="1174"/>
                  </a:lnTo>
                  <a:lnTo>
                    <a:pt x="1756" y="1103"/>
                  </a:lnTo>
                  <a:lnTo>
                    <a:pt x="1760" y="1031"/>
                  </a:lnTo>
                  <a:lnTo>
                    <a:pt x="1756" y="960"/>
                  </a:lnTo>
                  <a:lnTo>
                    <a:pt x="1746" y="889"/>
                  </a:lnTo>
                  <a:lnTo>
                    <a:pt x="1745" y="870"/>
                  </a:lnTo>
                  <a:lnTo>
                    <a:pt x="1749" y="851"/>
                  </a:lnTo>
                  <a:lnTo>
                    <a:pt x="1757" y="834"/>
                  </a:lnTo>
                  <a:lnTo>
                    <a:pt x="1771" y="820"/>
                  </a:lnTo>
                  <a:lnTo>
                    <a:pt x="1788" y="810"/>
                  </a:lnTo>
                  <a:lnTo>
                    <a:pt x="1910" y="760"/>
                  </a:lnTo>
                  <a:lnTo>
                    <a:pt x="1915" y="755"/>
                  </a:lnTo>
                  <a:lnTo>
                    <a:pt x="1918" y="748"/>
                  </a:lnTo>
                  <a:lnTo>
                    <a:pt x="1917" y="740"/>
                  </a:lnTo>
                  <a:lnTo>
                    <a:pt x="1863" y="608"/>
                  </a:lnTo>
                  <a:lnTo>
                    <a:pt x="1861" y="603"/>
                  </a:lnTo>
                  <a:lnTo>
                    <a:pt x="1858" y="601"/>
                  </a:lnTo>
                  <a:lnTo>
                    <a:pt x="1855" y="599"/>
                  </a:lnTo>
                  <a:lnTo>
                    <a:pt x="1851" y="598"/>
                  </a:lnTo>
                  <a:lnTo>
                    <a:pt x="1848" y="598"/>
                  </a:lnTo>
                  <a:lnTo>
                    <a:pt x="1846" y="599"/>
                  </a:lnTo>
                  <a:lnTo>
                    <a:pt x="1843" y="599"/>
                  </a:lnTo>
                  <a:lnTo>
                    <a:pt x="1721" y="650"/>
                  </a:lnTo>
                  <a:lnTo>
                    <a:pt x="1702" y="654"/>
                  </a:lnTo>
                  <a:lnTo>
                    <a:pt x="1683" y="654"/>
                  </a:lnTo>
                  <a:lnTo>
                    <a:pt x="1665" y="649"/>
                  </a:lnTo>
                  <a:lnTo>
                    <a:pt x="1649" y="638"/>
                  </a:lnTo>
                  <a:lnTo>
                    <a:pt x="1637" y="624"/>
                  </a:lnTo>
                  <a:lnTo>
                    <a:pt x="1603" y="577"/>
                  </a:lnTo>
                  <a:lnTo>
                    <a:pt x="1566" y="533"/>
                  </a:lnTo>
                  <a:lnTo>
                    <a:pt x="1525" y="493"/>
                  </a:lnTo>
                  <a:lnTo>
                    <a:pt x="1482" y="456"/>
                  </a:lnTo>
                  <a:lnTo>
                    <a:pt x="1435" y="422"/>
                  </a:lnTo>
                  <a:lnTo>
                    <a:pt x="1421" y="409"/>
                  </a:lnTo>
                  <a:lnTo>
                    <a:pt x="1411" y="393"/>
                  </a:lnTo>
                  <a:lnTo>
                    <a:pt x="1406" y="375"/>
                  </a:lnTo>
                  <a:lnTo>
                    <a:pt x="1405" y="356"/>
                  </a:lnTo>
                  <a:lnTo>
                    <a:pt x="1410" y="337"/>
                  </a:lnTo>
                  <a:lnTo>
                    <a:pt x="1460" y="215"/>
                  </a:lnTo>
                  <a:lnTo>
                    <a:pt x="1462" y="211"/>
                  </a:lnTo>
                  <a:lnTo>
                    <a:pt x="1461" y="208"/>
                  </a:lnTo>
                  <a:lnTo>
                    <a:pt x="1460" y="205"/>
                  </a:lnTo>
                  <a:lnTo>
                    <a:pt x="1460" y="202"/>
                  </a:lnTo>
                  <a:lnTo>
                    <a:pt x="1458" y="200"/>
                  </a:lnTo>
                  <a:lnTo>
                    <a:pt x="1455" y="198"/>
                  </a:lnTo>
                  <a:lnTo>
                    <a:pt x="1452" y="196"/>
                  </a:lnTo>
                  <a:lnTo>
                    <a:pt x="1320" y="142"/>
                  </a:lnTo>
                  <a:lnTo>
                    <a:pt x="1317" y="141"/>
                  </a:lnTo>
                  <a:lnTo>
                    <a:pt x="1315" y="140"/>
                  </a:lnTo>
                  <a:lnTo>
                    <a:pt x="1311" y="141"/>
                  </a:lnTo>
                  <a:lnTo>
                    <a:pt x="1308" y="142"/>
                  </a:lnTo>
                  <a:lnTo>
                    <a:pt x="1305" y="143"/>
                  </a:lnTo>
                  <a:lnTo>
                    <a:pt x="1302" y="146"/>
                  </a:lnTo>
                  <a:lnTo>
                    <a:pt x="1300" y="149"/>
                  </a:lnTo>
                  <a:lnTo>
                    <a:pt x="1250" y="271"/>
                  </a:lnTo>
                  <a:lnTo>
                    <a:pt x="1239" y="288"/>
                  </a:lnTo>
                  <a:lnTo>
                    <a:pt x="1226" y="301"/>
                  </a:lnTo>
                  <a:lnTo>
                    <a:pt x="1210" y="310"/>
                  </a:lnTo>
                  <a:lnTo>
                    <a:pt x="1191" y="314"/>
                  </a:lnTo>
                  <a:lnTo>
                    <a:pt x="1172" y="313"/>
                  </a:lnTo>
                  <a:lnTo>
                    <a:pt x="1101" y="302"/>
                  </a:lnTo>
                  <a:lnTo>
                    <a:pt x="1030" y="299"/>
                  </a:lnTo>
                  <a:lnTo>
                    <a:pt x="958" y="302"/>
                  </a:lnTo>
                  <a:lnTo>
                    <a:pt x="888" y="313"/>
                  </a:lnTo>
                  <a:lnTo>
                    <a:pt x="868" y="314"/>
                  </a:lnTo>
                  <a:lnTo>
                    <a:pt x="850" y="310"/>
                  </a:lnTo>
                  <a:lnTo>
                    <a:pt x="833" y="301"/>
                  </a:lnTo>
                  <a:lnTo>
                    <a:pt x="819" y="287"/>
                  </a:lnTo>
                  <a:lnTo>
                    <a:pt x="809" y="270"/>
                  </a:lnTo>
                  <a:lnTo>
                    <a:pt x="759" y="148"/>
                  </a:lnTo>
                  <a:lnTo>
                    <a:pt x="757" y="145"/>
                  </a:lnTo>
                  <a:lnTo>
                    <a:pt x="755" y="142"/>
                  </a:lnTo>
                  <a:lnTo>
                    <a:pt x="751" y="141"/>
                  </a:lnTo>
                  <a:lnTo>
                    <a:pt x="748" y="140"/>
                  </a:lnTo>
                  <a:lnTo>
                    <a:pt x="745" y="140"/>
                  </a:lnTo>
                  <a:close/>
                  <a:moveTo>
                    <a:pt x="1315" y="0"/>
                  </a:moveTo>
                  <a:lnTo>
                    <a:pt x="1344" y="3"/>
                  </a:lnTo>
                  <a:lnTo>
                    <a:pt x="1374" y="12"/>
                  </a:lnTo>
                  <a:lnTo>
                    <a:pt x="1506" y="67"/>
                  </a:lnTo>
                  <a:lnTo>
                    <a:pt x="1529" y="78"/>
                  </a:lnTo>
                  <a:lnTo>
                    <a:pt x="1548" y="92"/>
                  </a:lnTo>
                  <a:lnTo>
                    <a:pt x="1565" y="109"/>
                  </a:lnTo>
                  <a:lnTo>
                    <a:pt x="1579" y="129"/>
                  </a:lnTo>
                  <a:lnTo>
                    <a:pt x="1590" y="151"/>
                  </a:lnTo>
                  <a:lnTo>
                    <a:pt x="1599" y="180"/>
                  </a:lnTo>
                  <a:lnTo>
                    <a:pt x="1602" y="211"/>
                  </a:lnTo>
                  <a:lnTo>
                    <a:pt x="1599" y="241"/>
                  </a:lnTo>
                  <a:lnTo>
                    <a:pt x="1590" y="270"/>
                  </a:lnTo>
                  <a:lnTo>
                    <a:pt x="1561" y="340"/>
                  </a:lnTo>
                  <a:lnTo>
                    <a:pt x="1605" y="375"/>
                  </a:lnTo>
                  <a:lnTo>
                    <a:pt x="1646" y="415"/>
                  </a:lnTo>
                  <a:lnTo>
                    <a:pt x="1684" y="455"/>
                  </a:lnTo>
                  <a:lnTo>
                    <a:pt x="1720" y="499"/>
                  </a:lnTo>
                  <a:lnTo>
                    <a:pt x="1790" y="470"/>
                  </a:lnTo>
                  <a:lnTo>
                    <a:pt x="1819" y="461"/>
                  </a:lnTo>
                  <a:lnTo>
                    <a:pt x="1849" y="458"/>
                  </a:lnTo>
                  <a:lnTo>
                    <a:pt x="1876" y="460"/>
                  </a:lnTo>
                  <a:lnTo>
                    <a:pt x="1901" y="467"/>
                  </a:lnTo>
                  <a:lnTo>
                    <a:pt x="1925" y="477"/>
                  </a:lnTo>
                  <a:lnTo>
                    <a:pt x="1946" y="492"/>
                  </a:lnTo>
                  <a:lnTo>
                    <a:pt x="1965" y="509"/>
                  </a:lnTo>
                  <a:lnTo>
                    <a:pt x="1981" y="530"/>
                  </a:lnTo>
                  <a:lnTo>
                    <a:pt x="1993" y="554"/>
                  </a:lnTo>
                  <a:lnTo>
                    <a:pt x="2047" y="686"/>
                  </a:lnTo>
                  <a:lnTo>
                    <a:pt x="2056" y="716"/>
                  </a:lnTo>
                  <a:lnTo>
                    <a:pt x="2059" y="746"/>
                  </a:lnTo>
                  <a:lnTo>
                    <a:pt x="2056" y="776"/>
                  </a:lnTo>
                  <a:lnTo>
                    <a:pt x="2047" y="805"/>
                  </a:lnTo>
                  <a:lnTo>
                    <a:pt x="2036" y="827"/>
                  </a:lnTo>
                  <a:lnTo>
                    <a:pt x="2022" y="847"/>
                  </a:lnTo>
                  <a:lnTo>
                    <a:pt x="2005" y="864"/>
                  </a:lnTo>
                  <a:lnTo>
                    <a:pt x="1985" y="878"/>
                  </a:lnTo>
                  <a:lnTo>
                    <a:pt x="1964" y="890"/>
                  </a:lnTo>
                  <a:lnTo>
                    <a:pt x="1893" y="918"/>
                  </a:lnTo>
                  <a:lnTo>
                    <a:pt x="1900" y="994"/>
                  </a:lnTo>
                  <a:lnTo>
                    <a:pt x="1900" y="1068"/>
                  </a:lnTo>
                  <a:lnTo>
                    <a:pt x="1893" y="1143"/>
                  </a:lnTo>
                  <a:lnTo>
                    <a:pt x="1964" y="1172"/>
                  </a:lnTo>
                  <a:lnTo>
                    <a:pt x="1985" y="1184"/>
                  </a:lnTo>
                  <a:lnTo>
                    <a:pt x="2005" y="1198"/>
                  </a:lnTo>
                  <a:lnTo>
                    <a:pt x="2022" y="1215"/>
                  </a:lnTo>
                  <a:lnTo>
                    <a:pt x="2037" y="1234"/>
                  </a:lnTo>
                  <a:lnTo>
                    <a:pt x="2047" y="1257"/>
                  </a:lnTo>
                  <a:lnTo>
                    <a:pt x="2056" y="1286"/>
                  </a:lnTo>
                  <a:lnTo>
                    <a:pt x="2059" y="1316"/>
                  </a:lnTo>
                  <a:lnTo>
                    <a:pt x="2056" y="1347"/>
                  </a:lnTo>
                  <a:lnTo>
                    <a:pt x="2047" y="1376"/>
                  </a:lnTo>
                  <a:lnTo>
                    <a:pt x="1993" y="1508"/>
                  </a:lnTo>
                  <a:lnTo>
                    <a:pt x="1981" y="1532"/>
                  </a:lnTo>
                  <a:lnTo>
                    <a:pt x="1965" y="1553"/>
                  </a:lnTo>
                  <a:lnTo>
                    <a:pt x="1946" y="1571"/>
                  </a:lnTo>
                  <a:lnTo>
                    <a:pt x="1925" y="1584"/>
                  </a:lnTo>
                  <a:lnTo>
                    <a:pt x="1901" y="1595"/>
                  </a:lnTo>
                  <a:lnTo>
                    <a:pt x="1876" y="1601"/>
                  </a:lnTo>
                  <a:lnTo>
                    <a:pt x="1849" y="1605"/>
                  </a:lnTo>
                  <a:lnTo>
                    <a:pt x="1819" y="1601"/>
                  </a:lnTo>
                  <a:lnTo>
                    <a:pt x="1790" y="1592"/>
                  </a:lnTo>
                  <a:lnTo>
                    <a:pt x="1720" y="1563"/>
                  </a:lnTo>
                  <a:lnTo>
                    <a:pt x="1684" y="1607"/>
                  </a:lnTo>
                  <a:lnTo>
                    <a:pt x="1646" y="1647"/>
                  </a:lnTo>
                  <a:lnTo>
                    <a:pt x="1605" y="1686"/>
                  </a:lnTo>
                  <a:lnTo>
                    <a:pt x="1561" y="1721"/>
                  </a:lnTo>
                  <a:lnTo>
                    <a:pt x="1590" y="1792"/>
                  </a:lnTo>
                  <a:lnTo>
                    <a:pt x="1599" y="1821"/>
                  </a:lnTo>
                  <a:lnTo>
                    <a:pt x="1602" y="1852"/>
                  </a:lnTo>
                  <a:lnTo>
                    <a:pt x="1599" y="1881"/>
                  </a:lnTo>
                  <a:lnTo>
                    <a:pt x="1590" y="1911"/>
                  </a:lnTo>
                  <a:lnTo>
                    <a:pt x="1579" y="1933"/>
                  </a:lnTo>
                  <a:lnTo>
                    <a:pt x="1565" y="1952"/>
                  </a:lnTo>
                  <a:lnTo>
                    <a:pt x="1548" y="1971"/>
                  </a:lnTo>
                  <a:lnTo>
                    <a:pt x="1527" y="1984"/>
                  </a:lnTo>
                  <a:lnTo>
                    <a:pt x="1506" y="1995"/>
                  </a:lnTo>
                  <a:lnTo>
                    <a:pt x="1374" y="2050"/>
                  </a:lnTo>
                  <a:lnTo>
                    <a:pt x="1344" y="2059"/>
                  </a:lnTo>
                  <a:lnTo>
                    <a:pt x="1315" y="2062"/>
                  </a:lnTo>
                  <a:lnTo>
                    <a:pt x="1288" y="2060"/>
                  </a:lnTo>
                  <a:lnTo>
                    <a:pt x="1263" y="2053"/>
                  </a:lnTo>
                  <a:lnTo>
                    <a:pt x="1238" y="2043"/>
                  </a:lnTo>
                  <a:lnTo>
                    <a:pt x="1217" y="2029"/>
                  </a:lnTo>
                  <a:lnTo>
                    <a:pt x="1198" y="2011"/>
                  </a:lnTo>
                  <a:lnTo>
                    <a:pt x="1183" y="1990"/>
                  </a:lnTo>
                  <a:lnTo>
                    <a:pt x="1171" y="1966"/>
                  </a:lnTo>
                  <a:lnTo>
                    <a:pt x="1142" y="1896"/>
                  </a:lnTo>
                  <a:lnTo>
                    <a:pt x="1067" y="1903"/>
                  </a:lnTo>
                  <a:lnTo>
                    <a:pt x="992" y="1903"/>
                  </a:lnTo>
                  <a:lnTo>
                    <a:pt x="918" y="1896"/>
                  </a:lnTo>
                  <a:lnTo>
                    <a:pt x="888" y="1966"/>
                  </a:lnTo>
                  <a:lnTo>
                    <a:pt x="876" y="1990"/>
                  </a:lnTo>
                  <a:lnTo>
                    <a:pt x="860" y="2011"/>
                  </a:lnTo>
                  <a:lnTo>
                    <a:pt x="841" y="2029"/>
                  </a:lnTo>
                  <a:lnTo>
                    <a:pt x="820" y="2043"/>
                  </a:lnTo>
                  <a:lnTo>
                    <a:pt x="797" y="2053"/>
                  </a:lnTo>
                  <a:lnTo>
                    <a:pt x="771" y="2060"/>
                  </a:lnTo>
                  <a:lnTo>
                    <a:pt x="745" y="2062"/>
                  </a:lnTo>
                  <a:lnTo>
                    <a:pt x="714" y="2059"/>
                  </a:lnTo>
                  <a:lnTo>
                    <a:pt x="686" y="2050"/>
                  </a:lnTo>
                  <a:lnTo>
                    <a:pt x="553" y="1995"/>
                  </a:lnTo>
                  <a:lnTo>
                    <a:pt x="528" y="1982"/>
                  </a:lnTo>
                  <a:lnTo>
                    <a:pt x="507" y="1966"/>
                  </a:lnTo>
                  <a:lnTo>
                    <a:pt x="489" y="1946"/>
                  </a:lnTo>
                  <a:lnTo>
                    <a:pt x="474" y="1924"/>
                  </a:lnTo>
                  <a:lnTo>
                    <a:pt x="464" y="1899"/>
                  </a:lnTo>
                  <a:lnTo>
                    <a:pt x="458" y="1873"/>
                  </a:lnTo>
                  <a:lnTo>
                    <a:pt x="457" y="1846"/>
                  </a:lnTo>
                  <a:lnTo>
                    <a:pt x="460" y="1820"/>
                  </a:lnTo>
                  <a:lnTo>
                    <a:pt x="469" y="1792"/>
                  </a:lnTo>
                  <a:lnTo>
                    <a:pt x="497" y="1722"/>
                  </a:lnTo>
                  <a:lnTo>
                    <a:pt x="454" y="1687"/>
                  </a:lnTo>
                  <a:lnTo>
                    <a:pt x="414" y="1648"/>
                  </a:lnTo>
                  <a:lnTo>
                    <a:pt x="375" y="1607"/>
                  </a:lnTo>
                  <a:lnTo>
                    <a:pt x="339" y="1563"/>
                  </a:lnTo>
                  <a:lnTo>
                    <a:pt x="270" y="1593"/>
                  </a:lnTo>
                  <a:lnTo>
                    <a:pt x="240" y="1601"/>
                  </a:lnTo>
                  <a:lnTo>
                    <a:pt x="209" y="1605"/>
                  </a:lnTo>
                  <a:lnTo>
                    <a:pt x="183" y="1602"/>
                  </a:lnTo>
                  <a:lnTo>
                    <a:pt x="157" y="1596"/>
                  </a:lnTo>
                  <a:lnTo>
                    <a:pt x="134" y="1586"/>
                  </a:lnTo>
                  <a:lnTo>
                    <a:pt x="113" y="1571"/>
                  </a:lnTo>
                  <a:lnTo>
                    <a:pt x="94" y="1554"/>
                  </a:lnTo>
                  <a:lnTo>
                    <a:pt x="78" y="1532"/>
                  </a:lnTo>
                  <a:lnTo>
                    <a:pt x="66" y="1509"/>
                  </a:lnTo>
                  <a:lnTo>
                    <a:pt x="11" y="1377"/>
                  </a:lnTo>
                  <a:lnTo>
                    <a:pt x="3" y="1347"/>
                  </a:lnTo>
                  <a:lnTo>
                    <a:pt x="0" y="1317"/>
                  </a:lnTo>
                  <a:lnTo>
                    <a:pt x="3" y="1286"/>
                  </a:lnTo>
                  <a:lnTo>
                    <a:pt x="11" y="1258"/>
                  </a:lnTo>
                  <a:lnTo>
                    <a:pt x="23" y="1236"/>
                  </a:lnTo>
                  <a:lnTo>
                    <a:pt x="37" y="1215"/>
                  </a:lnTo>
                  <a:lnTo>
                    <a:pt x="55" y="1198"/>
                  </a:lnTo>
                  <a:lnTo>
                    <a:pt x="74" y="1185"/>
                  </a:lnTo>
                  <a:lnTo>
                    <a:pt x="96" y="1173"/>
                  </a:lnTo>
                  <a:lnTo>
                    <a:pt x="166" y="1144"/>
                  </a:lnTo>
                  <a:lnTo>
                    <a:pt x="159" y="1069"/>
                  </a:lnTo>
                  <a:lnTo>
                    <a:pt x="159" y="995"/>
                  </a:lnTo>
                  <a:lnTo>
                    <a:pt x="166" y="919"/>
                  </a:lnTo>
                  <a:lnTo>
                    <a:pt x="96" y="890"/>
                  </a:lnTo>
                  <a:lnTo>
                    <a:pt x="74" y="879"/>
                  </a:lnTo>
                  <a:lnTo>
                    <a:pt x="54" y="864"/>
                  </a:lnTo>
                  <a:lnTo>
                    <a:pt x="37" y="847"/>
                  </a:lnTo>
                  <a:lnTo>
                    <a:pt x="23" y="828"/>
                  </a:lnTo>
                  <a:lnTo>
                    <a:pt x="11" y="806"/>
                  </a:lnTo>
                  <a:lnTo>
                    <a:pt x="3" y="776"/>
                  </a:lnTo>
                  <a:lnTo>
                    <a:pt x="0" y="747"/>
                  </a:lnTo>
                  <a:lnTo>
                    <a:pt x="3" y="716"/>
                  </a:lnTo>
                  <a:lnTo>
                    <a:pt x="11" y="687"/>
                  </a:lnTo>
                  <a:lnTo>
                    <a:pt x="66" y="555"/>
                  </a:lnTo>
                  <a:lnTo>
                    <a:pt x="78" y="530"/>
                  </a:lnTo>
                  <a:lnTo>
                    <a:pt x="94" y="510"/>
                  </a:lnTo>
                  <a:lnTo>
                    <a:pt x="113" y="492"/>
                  </a:lnTo>
                  <a:lnTo>
                    <a:pt x="134" y="478"/>
                  </a:lnTo>
                  <a:lnTo>
                    <a:pt x="157" y="468"/>
                  </a:lnTo>
                  <a:lnTo>
                    <a:pt x="183" y="461"/>
                  </a:lnTo>
                  <a:lnTo>
                    <a:pt x="209" y="458"/>
                  </a:lnTo>
                  <a:lnTo>
                    <a:pt x="240" y="461"/>
                  </a:lnTo>
                  <a:lnTo>
                    <a:pt x="270" y="471"/>
                  </a:lnTo>
                  <a:lnTo>
                    <a:pt x="339" y="499"/>
                  </a:lnTo>
                  <a:lnTo>
                    <a:pt x="374" y="456"/>
                  </a:lnTo>
                  <a:lnTo>
                    <a:pt x="414" y="416"/>
                  </a:lnTo>
                  <a:lnTo>
                    <a:pt x="454" y="376"/>
                  </a:lnTo>
                  <a:lnTo>
                    <a:pt x="497" y="340"/>
                  </a:lnTo>
                  <a:lnTo>
                    <a:pt x="469" y="270"/>
                  </a:lnTo>
                  <a:lnTo>
                    <a:pt x="460" y="242"/>
                  </a:lnTo>
                  <a:lnTo>
                    <a:pt x="457" y="211"/>
                  </a:lnTo>
                  <a:lnTo>
                    <a:pt x="460" y="181"/>
                  </a:lnTo>
                  <a:lnTo>
                    <a:pt x="469" y="152"/>
                  </a:lnTo>
                  <a:lnTo>
                    <a:pt x="480" y="129"/>
                  </a:lnTo>
                  <a:lnTo>
                    <a:pt x="494" y="110"/>
                  </a:lnTo>
                  <a:lnTo>
                    <a:pt x="511" y="92"/>
                  </a:lnTo>
                  <a:lnTo>
                    <a:pt x="531" y="78"/>
                  </a:lnTo>
                  <a:lnTo>
                    <a:pt x="553" y="68"/>
                  </a:lnTo>
                  <a:lnTo>
                    <a:pt x="686" y="13"/>
                  </a:lnTo>
                  <a:lnTo>
                    <a:pt x="714" y="4"/>
                  </a:lnTo>
                  <a:lnTo>
                    <a:pt x="745" y="1"/>
                  </a:lnTo>
                  <a:lnTo>
                    <a:pt x="771" y="3"/>
                  </a:lnTo>
                  <a:lnTo>
                    <a:pt x="797" y="9"/>
                  </a:lnTo>
                  <a:lnTo>
                    <a:pt x="820" y="20"/>
                  </a:lnTo>
                  <a:lnTo>
                    <a:pt x="841" y="34"/>
                  </a:lnTo>
                  <a:lnTo>
                    <a:pt x="860" y="52"/>
                  </a:lnTo>
                  <a:lnTo>
                    <a:pt x="876" y="73"/>
                  </a:lnTo>
                  <a:lnTo>
                    <a:pt x="888" y="96"/>
                  </a:lnTo>
                  <a:lnTo>
                    <a:pt x="918" y="166"/>
                  </a:lnTo>
                  <a:lnTo>
                    <a:pt x="992" y="160"/>
                  </a:lnTo>
                  <a:lnTo>
                    <a:pt x="1067" y="160"/>
                  </a:lnTo>
                  <a:lnTo>
                    <a:pt x="1142" y="166"/>
                  </a:lnTo>
                  <a:lnTo>
                    <a:pt x="1171" y="96"/>
                  </a:lnTo>
                  <a:lnTo>
                    <a:pt x="1183" y="72"/>
                  </a:lnTo>
                  <a:lnTo>
                    <a:pt x="1198" y="52"/>
                  </a:lnTo>
                  <a:lnTo>
                    <a:pt x="1217" y="34"/>
                  </a:lnTo>
                  <a:lnTo>
                    <a:pt x="1238" y="19"/>
                  </a:lnTo>
                  <a:lnTo>
                    <a:pt x="1263" y="8"/>
                  </a:lnTo>
                  <a:lnTo>
                    <a:pt x="1288" y="2"/>
                  </a:lnTo>
                  <a:lnTo>
                    <a:pt x="13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" name="Group 40"/>
          <p:cNvGrpSpPr/>
          <p:nvPr/>
        </p:nvGrpSpPr>
        <p:grpSpPr>
          <a:xfrm>
            <a:off x="6508092" y="3240284"/>
            <a:ext cx="540000" cy="439738"/>
            <a:chOff x="10001250" y="1973263"/>
            <a:chExt cx="522288" cy="439738"/>
          </a:xfrm>
          <a:solidFill>
            <a:schemeClr val="bg2"/>
          </a:solidFill>
        </p:grpSpPr>
        <p:sp>
          <p:nvSpPr>
            <p:cNvPr id="21" name="Freeform 16"/>
            <p:cNvSpPr>
              <a:spLocks noEditPoints="1"/>
            </p:cNvSpPr>
            <p:nvPr/>
          </p:nvSpPr>
          <p:spPr bwMode="auto">
            <a:xfrm>
              <a:off x="10001250" y="1973263"/>
              <a:ext cx="522288" cy="439738"/>
            </a:xfrm>
            <a:custGeom>
              <a:avLst/>
              <a:gdLst>
                <a:gd name="T0" fmla="*/ 113 w 3288"/>
                <a:gd name="T1" fmla="*/ 2604 h 2773"/>
                <a:gd name="T2" fmla="*/ 113 w 3288"/>
                <a:gd name="T3" fmla="*/ 2661 h 2773"/>
                <a:gd name="T4" fmla="*/ 3175 w 3288"/>
                <a:gd name="T5" fmla="*/ 2661 h 2773"/>
                <a:gd name="T6" fmla="*/ 3175 w 3288"/>
                <a:gd name="T7" fmla="*/ 2604 h 2773"/>
                <a:gd name="T8" fmla="*/ 113 w 3288"/>
                <a:gd name="T9" fmla="*/ 2604 h 2773"/>
                <a:gd name="T10" fmla="*/ 113 w 3288"/>
                <a:gd name="T11" fmla="*/ 2434 h 2773"/>
                <a:gd name="T12" fmla="*/ 113 w 3288"/>
                <a:gd name="T13" fmla="*/ 2490 h 2773"/>
                <a:gd name="T14" fmla="*/ 3175 w 3288"/>
                <a:gd name="T15" fmla="*/ 2490 h 2773"/>
                <a:gd name="T16" fmla="*/ 3175 w 3288"/>
                <a:gd name="T17" fmla="*/ 2434 h 2773"/>
                <a:gd name="T18" fmla="*/ 113 w 3288"/>
                <a:gd name="T19" fmla="*/ 2434 h 2773"/>
                <a:gd name="T20" fmla="*/ 113 w 3288"/>
                <a:gd name="T21" fmla="*/ 2265 h 2773"/>
                <a:gd name="T22" fmla="*/ 113 w 3288"/>
                <a:gd name="T23" fmla="*/ 2321 h 2773"/>
                <a:gd name="T24" fmla="*/ 3175 w 3288"/>
                <a:gd name="T25" fmla="*/ 2321 h 2773"/>
                <a:gd name="T26" fmla="*/ 3175 w 3288"/>
                <a:gd name="T27" fmla="*/ 2265 h 2773"/>
                <a:gd name="T28" fmla="*/ 113 w 3288"/>
                <a:gd name="T29" fmla="*/ 2265 h 2773"/>
                <a:gd name="T30" fmla="*/ 113 w 3288"/>
                <a:gd name="T31" fmla="*/ 2094 h 2773"/>
                <a:gd name="T32" fmla="*/ 113 w 3288"/>
                <a:gd name="T33" fmla="*/ 2151 h 2773"/>
                <a:gd name="T34" fmla="*/ 3175 w 3288"/>
                <a:gd name="T35" fmla="*/ 2151 h 2773"/>
                <a:gd name="T36" fmla="*/ 3175 w 3288"/>
                <a:gd name="T37" fmla="*/ 2094 h 2773"/>
                <a:gd name="T38" fmla="*/ 113 w 3288"/>
                <a:gd name="T39" fmla="*/ 2094 h 2773"/>
                <a:gd name="T40" fmla="*/ 113 w 3288"/>
                <a:gd name="T41" fmla="*/ 1925 h 2773"/>
                <a:gd name="T42" fmla="*/ 113 w 3288"/>
                <a:gd name="T43" fmla="*/ 1981 h 2773"/>
                <a:gd name="T44" fmla="*/ 3175 w 3288"/>
                <a:gd name="T45" fmla="*/ 1981 h 2773"/>
                <a:gd name="T46" fmla="*/ 3175 w 3288"/>
                <a:gd name="T47" fmla="*/ 1925 h 2773"/>
                <a:gd name="T48" fmla="*/ 113 w 3288"/>
                <a:gd name="T49" fmla="*/ 1925 h 2773"/>
                <a:gd name="T50" fmla="*/ 113 w 3288"/>
                <a:gd name="T51" fmla="*/ 113 h 2773"/>
                <a:gd name="T52" fmla="*/ 113 w 3288"/>
                <a:gd name="T53" fmla="*/ 1811 h 2773"/>
                <a:gd name="T54" fmla="*/ 3175 w 3288"/>
                <a:gd name="T55" fmla="*/ 1811 h 2773"/>
                <a:gd name="T56" fmla="*/ 3175 w 3288"/>
                <a:gd name="T57" fmla="*/ 113 h 2773"/>
                <a:gd name="T58" fmla="*/ 113 w 3288"/>
                <a:gd name="T59" fmla="*/ 113 h 2773"/>
                <a:gd name="T60" fmla="*/ 0 w 3288"/>
                <a:gd name="T61" fmla="*/ 0 h 2773"/>
                <a:gd name="T62" fmla="*/ 3288 w 3288"/>
                <a:gd name="T63" fmla="*/ 0 h 2773"/>
                <a:gd name="T64" fmla="*/ 3288 w 3288"/>
                <a:gd name="T65" fmla="*/ 2773 h 2773"/>
                <a:gd name="T66" fmla="*/ 0 w 3288"/>
                <a:gd name="T67" fmla="*/ 2773 h 2773"/>
                <a:gd name="T68" fmla="*/ 0 w 3288"/>
                <a:gd name="T69" fmla="*/ 0 h 2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88" h="2773">
                  <a:moveTo>
                    <a:pt x="113" y="2604"/>
                  </a:moveTo>
                  <a:lnTo>
                    <a:pt x="113" y="2661"/>
                  </a:lnTo>
                  <a:lnTo>
                    <a:pt x="3175" y="2661"/>
                  </a:lnTo>
                  <a:lnTo>
                    <a:pt x="3175" y="2604"/>
                  </a:lnTo>
                  <a:lnTo>
                    <a:pt x="113" y="2604"/>
                  </a:lnTo>
                  <a:close/>
                  <a:moveTo>
                    <a:pt x="113" y="2434"/>
                  </a:moveTo>
                  <a:lnTo>
                    <a:pt x="113" y="2490"/>
                  </a:lnTo>
                  <a:lnTo>
                    <a:pt x="3175" y="2490"/>
                  </a:lnTo>
                  <a:lnTo>
                    <a:pt x="3175" y="2434"/>
                  </a:lnTo>
                  <a:lnTo>
                    <a:pt x="113" y="2434"/>
                  </a:lnTo>
                  <a:close/>
                  <a:moveTo>
                    <a:pt x="113" y="2265"/>
                  </a:moveTo>
                  <a:lnTo>
                    <a:pt x="113" y="2321"/>
                  </a:lnTo>
                  <a:lnTo>
                    <a:pt x="3175" y="2321"/>
                  </a:lnTo>
                  <a:lnTo>
                    <a:pt x="3175" y="2265"/>
                  </a:lnTo>
                  <a:lnTo>
                    <a:pt x="113" y="2265"/>
                  </a:lnTo>
                  <a:close/>
                  <a:moveTo>
                    <a:pt x="113" y="2094"/>
                  </a:moveTo>
                  <a:lnTo>
                    <a:pt x="113" y="2151"/>
                  </a:lnTo>
                  <a:lnTo>
                    <a:pt x="3175" y="2151"/>
                  </a:lnTo>
                  <a:lnTo>
                    <a:pt x="3175" y="2094"/>
                  </a:lnTo>
                  <a:lnTo>
                    <a:pt x="113" y="2094"/>
                  </a:lnTo>
                  <a:close/>
                  <a:moveTo>
                    <a:pt x="113" y="1925"/>
                  </a:moveTo>
                  <a:lnTo>
                    <a:pt x="113" y="1981"/>
                  </a:lnTo>
                  <a:lnTo>
                    <a:pt x="3175" y="1981"/>
                  </a:lnTo>
                  <a:lnTo>
                    <a:pt x="3175" y="1925"/>
                  </a:lnTo>
                  <a:lnTo>
                    <a:pt x="113" y="1925"/>
                  </a:lnTo>
                  <a:close/>
                  <a:moveTo>
                    <a:pt x="113" y="113"/>
                  </a:moveTo>
                  <a:lnTo>
                    <a:pt x="113" y="1811"/>
                  </a:lnTo>
                  <a:lnTo>
                    <a:pt x="3175" y="1811"/>
                  </a:lnTo>
                  <a:lnTo>
                    <a:pt x="3175" y="113"/>
                  </a:lnTo>
                  <a:lnTo>
                    <a:pt x="113" y="113"/>
                  </a:lnTo>
                  <a:close/>
                  <a:moveTo>
                    <a:pt x="0" y="0"/>
                  </a:moveTo>
                  <a:lnTo>
                    <a:pt x="3288" y="0"/>
                  </a:lnTo>
                  <a:lnTo>
                    <a:pt x="3288" y="2773"/>
                  </a:lnTo>
                  <a:lnTo>
                    <a:pt x="0" y="277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7"/>
            <p:cNvSpPr>
              <a:spLocks noEditPoints="1"/>
            </p:cNvSpPr>
            <p:nvPr/>
          </p:nvSpPr>
          <p:spPr bwMode="auto">
            <a:xfrm>
              <a:off x="10028238" y="2000251"/>
              <a:ext cx="63500" cy="61913"/>
            </a:xfrm>
            <a:custGeom>
              <a:avLst/>
              <a:gdLst>
                <a:gd name="T0" fmla="*/ 176 w 397"/>
                <a:gd name="T1" fmla="*/ 117 h 397"/>
                <a:gd name="T2" fmla="*/ 139 w 397"/>
                <a:gd name="T3" fmla="*/ 138 h 397"/>
                <a:gd name="T4" fmla="*/ 117 w 397"/>
                <a:gd name="T5" fmla="*/ 176 h 397"/>
                <a:gd name="T6" fmla="*/ 117 w 397"/>
                <a:gd name="T7" fmla="*/ 220 h 397"/>
                <a:gd name="T8" fmla="*/ 139 w 397"/>
                <a:gd name="T9" fmla="*/ 258 h 397"/>
                <a:gd name="T10" fmla="*/ 176 w 397"/>
                <a:gd name="T11" fmla="*/ 280 h 397"/>
                <a:gd name="T12" fmla="*/ 221 w 397"/>
                <a:gd name="T13" fmla="*/ 280 h 397"/>
                <a:gd name="T14" fmla="*/ 259 w 397"/>
                <a:gd name="T15" fmla="*/ 258 h 397"/>
                <a:gd name="T16" fmla="*/ 280 w 397"/>
                <a:gd name="T17" fmla="*/ 220 h 397"/>
                <a:gd name="T18" fmla="*/ 280 w 397"/>
                <a:gd name="T19" fmla="*/ 176 h 397"/>
                <a:gd name="T20" fmla="*/ 259 w 397"/>
                <a:gd name="T21" fmla="*/ 138 h 397"/>
                <a:gd name="T22" fmla="*/ 221 w 397"/>
                <a:gd name="T23" fmla="*/ 117 h 397"/>
                <a:gd name="T24" fmla="*/ 198 w 397"/>
                <a:gd name="T25" fmla="*/ 0 h 397"/>
                <a:gd name="T26" fmla="*/ 261 w 397"/>
                <a:gd name="T27" fmla="*/ 10 h 397"/>
                <a:gd name="T28" fmla="*/ 315 w 397"/>
                <a:gd name="T29" fmla="*/ 38 h 397"/>
                <a:gd name="T30" fmla="*/ 359 w 397"/>
                <a:gd name="T31" fmla="*/ 81 h 397"/>
                <a:gd name="T32" fmla="*/ 387 w 397"/>
                <a:gd name="T33" fmla="*/ 136 h 397"/>
                <a:gd name="T34" fmla="*/ 397 w 397"/>
                <a:gd name="T35" fmla="*/ 198 h 397"/>
                <a:gd name="T36" fmla="*/ 387 w 397"/>
                <a:gd name="T37" fmla="*/ 261 h 397"/>
                <a:gd name="T38" fmla="*/ 359 w 397"/>
                <a:gd name="T39" fmla="*/ 315 h 397"/>
                <a:gd name="T40" fmla="*/ 315 w 397"/>
                <a:gd name="T41" fmla="*/ 357 h 397"/>
                <a:gd name="T42" fmla="*/ 261 w 397"/>
                <a:gd name="T43" fmla="*/ 386 h 397"/>
                <a:gd name="T44" fmla="*/ 198 w 397"/>
                <a:gd name="T45" fmla="*/ 397 h 397"/>
                <a:gd name="T46" fmla="*/ 136 w 397"/>
                <a:gd name="T47" fmla="*/ 386 h 397"/>
                <a:gd name="T48" fmla="*/ 81 w 397"/>
                <a:gd name="T49" fmla="*/ 357 h 397"/>
                <a:gd name="T50" fmla="*/ 38 w 397"/>
                <a:gd name="T51" fmla="*/ 315 h 397"/>
                <a:gd name="T52" fmla="*/ 10 w 397"/>
                <a:gd name="T53" fmla="*/ 261 h 397"/>
                <a:gd name="T54" fmla="*/ 0 w 397"/>
                <a:gd name="T55" fmla="*/ 198 h 397"/>
                <a:gd name="T56" fmla="*/ 10 w 397"/>
                <a:gd name="T57" fmla="*/ 136 h 397"/>
                <a:gd name="T58" fmla="*/ 38 w 397"/>
                <a:gd name="T59" fmla="*/ 81 h 397"/>
                <a:gd name="T60" fmla="*/ 81 w 397"/>
                <a:gd name="T61" fmla="*/ 38 h 397"/>
                <a:gd name="T62" fmla="*/ 136 w 397"/>
                <a:gd name="T63" fmla="*/ 10 h 397"/>
                <a:gd name="T64" fmla="*/ 198 w 397"/>
                <a:gd name="T65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97" h="397">
                  <a:moveTo>
                    <a:pt x="198" y="114"/>
                  </a:moveTo>
                  <a:lnTo>
                    <a:pt x="176" y="117"/>
                  </a:lnTo>
                  <a:lnTo>
                    <a:pt x="156" y="125"/>
                  </a:lnTo>
                  <a:lnTo>
                    <a:pt x="139" y="138"/>
                  </a:lnTo>
                  <a:lnTo>
                    <a:pt x="125" y="155"/>
                  </a:lnTo>
                  <a:lnTo>
                    <a:pt x="117" y="176"/>
                  </a:lnTo>
                  <a:lnTo>
                    <a:pt x="114" y="198"/>
                  </a:lnTo>
                  <a:lnTo>
                    <a:pt x="117" y="220"/>
                  </a:lnTo>
                  <a:lnTo>
                    <a:pt x="125" y="241"/>
                  </a:lnTo>
                  <a:lnTo>
                    <a:pt x="139" y="258"/>
                  </a:lnTo>
                  <a:lnTo>
                    <a:pt x="156" y="272"/>
                  </a:lnTo>
                  <a:lnTo>
                    <a:pt x="176" y="280"/>
                  </a:lnTo>
                  <a:lnTo>
                    <a:pt x="198" y="283"/>
                  </a:lnTo>
                  <a:lnTo>
                    <a:pt x="221" y="280"/>
                  </a:lnTo>
                  <a:lnTo>
                    <a:pt x="242" y="272"/>
                  </a:lnTo>
                  <a:lnTo>
                    <a:pt x="259" y="258"/>
                  </a:lnTo>
                  <a:lnTo>
                    <a:pt x="272" y="241"/>
                  </a:lnTo>
                  <a:lnTo>
                    <a:pt x="280" y="220"/>
                  </a:lnTo>
                  <a:lnTo>
                    <a:pt x="283" y="198"/>
                  </a:lnTo>
                  <a:lnTo>
                    <a:pt x="280" y="176"/>
                  </a:lnTo>
                  <a:lnTo>
                    <a:pt x="272" y="155"/>
                  </a:lnTo>
                  <a:lnTo>
                    <a:pt x="259" y="138"/>
                  </a:lnTo>
                  <a:lnTo>
                    <a:pt x="242" y="125"/>
                  </a:lnTo>
                  <a:lnTo>
                    <a:pt x="221" y="117"/>
                  </a:lnTo>
                  <a:lnTo>
                    <a:pt x="198" y="114"/>
                  </a:lnTo>
                  <a:close/>
                  <a:moveTo>
                    <a:pt x="198" y="0"/>
                  </a:moveTo>
                  <a:lnTo>
                    <a:pt x="231" y="3"/>
                  </a:lnTo>
                  <a:lnTo>
                    <a:pt x="261" y="10"/>
                  </a:lnTo>
                  <a:lnTo>
                    <a:pt x="289" y="22"/>
                  </a:lnTo>
                  <a:lnTo>
                    <a:pt x="315" y="38"/>
                  </a:lnTo>
                  <a:lnTo>
                    <a:pt x="339" y="58"/>
                  </a:lnTo>
                  <a:lnTo>
                    <a:pt x="359" y="81"/>
                  </a:lnTo>
                  <a:lnTo>
                    <a:pt x="375" y="108"/>
                  </a:lnTo>
                  <a:lnTo>
                    <a:pt x="387" y="136"/>
                  </a:lnTo>
                  <a:lnTo>
                    <a:pt x="394" y="166"/>
                  </a:lnTo>
                  <a:lnTo>
                    <a:pt x="397" y="198"/>
                  </a:lnTo>
                  <a:lnTo>
                    <a:pt x="394" y="230"/>
                  </a:lnTo>
                  <a:lnTo>
                    <a:pt x="387" y="261"/>
                  </a:lnTo>
                  <a:lnTo>
                    <a:pt x="375" y="289"/>
                  </a:lnTo>
                  <a:lnTo>
                    <a:pt x="359" y="315"/>
                  </a:lnTo>
                  <a:lnTo>
                    <a:pt x="339" y="338"/>
                  </a:lnTo>
                  <a:lnTo>
                    <a:pt x="315" y="357"/>
                  </a:lnTo>
                  <a:lnTo>
                    <a:pt x="289" y="375"/>
                  </a:lnTo>
                  <a:lnTo>
                    <a:pt x="261" y="386"/>
                  </a:lnTo>
                  <a:lnTo>
                    <a:pt x="231" y="394"/>
                  </a:lnTo>
                  <a:lnTo>
                    <a:pt x="198" y="397"/>
                  </a:lnTo>
                  <a:lnTo>
                    <a:pt x="166" y="394"/>
                  </a:lnTo>
                  <a:lnTo>
                    <a:pt x="136" y="386"/>
                  </a:lnTo>
                  <a:lnTo>
                    <a:pt x="108" y="375"/>
                  </a:lnTo>
                  <a:lnTo>
                    <a:pt x="81" y="357"/>
                  </a:lnTo>
                  <a:lnTo>
                    <a:pt x="58" y="338"/>
                  </a:lnTo>
                  <a:lnTo>
                    <a:pt x="38" y="315"/>
                  </a:lnTo>
                  <a:lnTo>
                    <a:pt x="22" y="289"/>
                  </a:lnTo>
                  <a:lnTo>
                    <a:pt x="10" y="261"/>
                  </a:lnTo>
                  <a:lnTo>
                    <a:pt x="3" y="230"/>
                  </a:lnTo>
                  <a:lnTo>
                    <a:pt x="0" y="198"/>
                  </a:lnTo>
                  <a:lnTo>
                    <a:pt x="3" y="166"/>
                  </a:lnTo>
                  <a:lnTo>
                    <a:pt x="10" y="136"/>
                  </a:lnTo>
                  <a:lnTo>
                    <a:pt x="22" y="108"/>
                  </a:lnTo>
                  <a:lnTo>
                    <a:pt x="38" y="81"/>
                  </a:lnTo>
                  <a:lnTo>
                    <a:pt x="58" y="58"/>
                  </a:lnTo>
                  <a:lnTo>
                    <a:pt x="81" y="38"/>
                  </a:lnTo>
                  <a:lnTo>
                    <a:pt x="108" y="22"/>
                  </a:lnTo>
                  <a:lnTo>
                    <a:pt x="136" y="10"/>
                  </a:lnTo>
                  <a:lnTo>
                    <a:pt x="166" y="3"/>
                  </a:lnTo>
                  <a:lnTo>
                    <a:pt x="19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8"/>
            <p:cNvSpPr>
              <a:spLocks noEditPoints="1"/>
            </p:cNvSpPr>
            <p:nvPr/>
          </p:nvSpPr>
          <p:spPr bwMode="auto">
            <a:xfrm>
              <a:off x="10433050" y="2000251"/>
              <a:ext cx="63500" cy="61913"/>
            </a:xfrm>
            <a:custGeom>
              <a:avLst/>
              <a:gdLst>
                <a:gd name="T0" fmla="*/ 175 w 396"/>
                <a:gd name="T1" fmla="*/ 117 h 397"/>
                <a:gd name="T2" fmla="*/ 138 w 396"/>
                <a:gd name="T3" fmla="*/ 138 h 397"/>
                <a:gd name="T4" fmla="*/ 117 w 396"/>
                <a:gd name="T5" fmla="*/ 176 h 397"/>
                <a:gd name="T6" fmla="*/ 117 w 396"/>
                <a:gd name="T7" fmla="*/ 220 h 397"/>
                <a:gd name="T8" fmla="*/ 138 w 396"/>
                <a:gd name="T9" fmla="*/ 258 h 397"/>
                <a:gd name="T10" fmla="*/ 175 w 396"/>
                <a:gd name="T11" fmla="*/ 280 h 397"/>
                <a:gd name="T12" fmla="*/ 221 w 396"/>
                <a:gd name="T13" fmla="*/ 280 h 397"/>
                <a:gd name="T14" fmla="*/ 258 w 396"/>
                <a:gd name="T15" fmla="*/ 258 h 397"/>
                <a:gd name="T16" fmla="*/ 280 w 396"/>
                <a:gd name="T17" fmla="*/ 220 h 397"/>
                <a:gd name="T18" fmla="*/ 280 w 396"/>
                <a:gd name="T19" fmla="*/ 176 h 397"/>
                <a:gd name="T20" fmla="*/ 258 w 396"/>
                <a:gd name="T21" fmla="*/ 138 h 397"/>
                <a:gd name="T22" fmla="*/ 221 w 396"/>
                <a:gd name="T23" fmla="*/ 117 h 397"/>
                <a:gd name="T24" fmla="*/ 198 w 396"/>
                <a:gd name="T25" fmla="*/ 0 h 397"/>
                <a:gd name="T26" fmla="*/ 261 w 396"/>
                <a:gd name="T27" fmla="*/ 10 h 397"/>
                <a:gd name="T28" fmla="*/ 315 w 396"/>
                <a:gd name="T29" fmla="*/ 38 h 397"/>
                <a:gd name="T30" fmla="*/ 358 w 396"/>
                <a:gd name="T31" fmla="*/ 81 h 397"/>
                <a:gd name="T32" fmla="*/ 386 w 396"/>
                <a:gd name="T33" fmla="*/ 136 h 397"/>
                <a:gd name="T34" fmla="*/ 396 w 396"/>
                <a:gd name="T35" fmla="*/ 198 h 397"/>
                <a:gd name="T36" fmla="*/ 386 w 396"/>
                <a:gd name="T37" fmla="*/ 261 h 397"/>
                <a:gd name="T38" fmla="*/ 358 w 396"/>
                <a:gd name="T39" fmla="*/ 315 h 397"/>
                <a:gd name="T40" fmla="*/ 315 w 396"/>
                <a:gd name="T41" fmla="*/ 357 h 397"/>
                <a:gd name="T42" fmla="*/ 261 w 396"/>
                <a:gd name="T43" fmla="*/ 386 h 397"/>
                <a:gd name="T44" fmla="*/ 198 w 396"/>
                <a:gd name="T45" fmla="*/ 397 h 397"/>
                <a:gd name="T46" fmla="*/ 136 w 396"/>
                <a:gd name="T47" fmla="*/ 386 h 397"/>
                <a:gd name="T48" fmla="*/ 81 w 396"/>
                <a:gd name="T49" fmla="*/ 357 h 397"/>
                <a:gd name="T50" fmla="*/ 38 w 396"/>
                <a:gd name="T51" fmla="*/ 315 h 397"/>
                <a:gd name="T52" fmla="*/ 10 w 396"/>
                <a:gd name="T53" fmla="*/ 261 h 397"/>
                <a:gd name="T54" fmla="*/ 0 w 396"/>
                <a:gd name="T55" fmla="*/ 198 h 397"/>
                <a:gd name="T56" fmla="*/ 10 w 396"/>
                <a:gd name="T57" fmla="*/ 136 h 397"/>
                <a:gd name="T58" fmla="*/ 38 w 396"/>
                <a:gd name="T59" fmla="*/ 81 h 397"/>
                <a:gd name="T60" fmla="*/ 81 w 396"/>
                <a:gd name="T61" fmla="*/ 38 h 397"/>
                <a:gd name="T62" fmla="*/ 136 w 396"/>
                <a:gd name="T63" fmla="*/ 10 h 397"/>
                <a:gd name="T64" fmla="*/ 198 w 396"/>
                <a:gd name="T65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96" h="397">
                  <a:moveTo>
                    <a:pt x="198" y="114"/>
                  </a:moveTo>
                  <a:lnTo>
                    <a:pt x="175" y="117"/>
                  </a:lnTo>
                  <a:lnTo>
                    <a:pt x="155" y="125"/>
                  </a:lnTo>
                  <a:lnTo>
                    <a:pt x="138" y="138"/>
                  </a:lnTo>
                  <a:lnTo>
                    <a:pt x="125" y="155"/>
                  </a:lnTo>
                  <a:lnTo>
                    <a:pt x="117" y="176"/>
                  </a:lnTo>
                  <a:lnTo>
                    <a:pt x="114" y="198"/>
                  </a:lnTo>
                  <a:lnTo>
                    <a:pt x="117" y="220"/>
                  </a:lnTo>
                  <a:lnTo>
                    <a:pt x="125" y="241"/>
                  </a:lnTo>
                  <a:lnTo>
                    <a:pt x="138" y="258"/>
                  </a:lnTo>
                  <a:lnTo>
                    <a:pt x="155" y="272"/>
                  </a:lnTo>
                  <a:lnTo>
                    <a:pt x="175" y="280"/>
                  </a:lnTo>
                  <a:lnTo>
                    <a:pt x="198" y="283"/>
                  </a:lnTo>
                  <a:lnTo>
                    <a:pt x="221" y="280"/>
                  </a:lnTo>
                  <a:lnTo>
                    <a:pt x="241" y="272"/>
                  </a:lnTo>
                  <a:lnTo>
                    <a:pt x="258" y="258"/>
                  </a:lnTo>
                  <a:lnTo>
                    <a:pt x="271" y="241"/>
                  </a:lnTo>
                  <a:lnTo>
                    <a:pt x="280" y="220"/>
                  </a:lnTo>
                  <a:lnTo>
                    <a:pt x="283" y="198"/>
                  </a:lnTo>
                  <a:lnTo>
                    <a:pt x="280" y="176"/>
                  </a:lnTo>
                  <a:lnTo>
                    <a:pt x="271" y="155"/>
                  </a:lnTo>
                  <a:lnTo>
                    <a:pt x="258" y="138"/>
                  </a:lnTo>
                  <a:lnTo>
                    <a:pt x="241" y="125"/>
                  </a:lnTo>
                  <a:lnTo>
                    <a:pt x="221" y="117"/>
                  </a:lnTo>
                  <a:lnTo>
                    <a:pt x="198" y="114"/>
                  </a:lnTo>
                  <a:close/>
                  <a:moveTo>
                    <a:pt x="198" y="0"/>
                  </a:moveTo>
                  <a:lnTo>
                    <a:pt x="231" y="3"/>
                  </a:lnTo>
                  <a:lnTo>
                    <a:pt x="261" y="10"/>
                  </a:lnTo>
                  <a:lnTo>
                    <a:pt x="289" y="22"/>
                  </a:lnTo>
                  <a:lnTo>
                    <a:pt x="315" y="38"/>
                  </a:lnTo>
                  <a:lnTo>
                    <a:pt x="339" y="58"/>
                  </a:lnTo>
                  <a:lnTo>
                    <a:pt x="358" y="81"/>
                  </a:lnTo>
                  <a:lnTo>
                    <a:pt x="374" y="108"/>
                  </a:lnTo>
                  <a:lnTo>
                    <a:pt x="386" y="136"/>
                  </a:lnTo>
                  <a:lnTo>
                    <a:pt x="394" y="166"/>
                  </a:lnTo>
                  <a:lnTo>
                    <a:pt x="396" y="198"/>
                  </a:lnTo>
                  <a:lnTo>
                    <a:pt x="394" y="230"/>
                  </a:lnTo>
                  <a:lnTo>
                    <a:pt x="386" y="261"/>
                  </a:lnTo>
                  <a:lnTo>
                    <a:pt x="374" y="289"/>
                  </a:lnTo>
                  <a:lnTo>
                    <a:pt x="358" y="315"/>
                  </a:lnTo>
                  <a:lnTo>
                    <a:pt x="339" y="338"/>
                  </a:lnTo>
                  <a:lnTo>
                    <a:pt x="315" y="357"/>
                  </a:lnTo>
                  <a:lnTo>
                    <a:pt x="289" y="375"/>
                  </a:lnTo>
                  <a:lnTo>
                    <a:pt x="261" y="386"/>
                  </a:lnTo>
                  <a:lnTo>
                    <a:pt x="231" y="394"/>
                  </a:lnTo>
                  <a:lnTo>
                    <a:pt x="198" y="397"/>
                  </a:lnTo>
                  <a:lnTo>
                    <a:pt x="166" y="394"/>
                  </a:lnTo>
                  <a:lnTo>
                    <a:pt x="136" y="386"/>
                  </a:lnTo>
                  <a:lnTo>
                    <a:pt x="106" y="375"/>
                  </a:lnTo>
                  <a:lnTo>
                    <a:pt x="81" y="357"/>
                  </a:lnTo>
                  <a:lnTo>
                    <a:pt x="58" y="338"/>
                  </a:lnTo>
                  <a:lnTo>
                    <a:pt x="38" y="315"/>
                  </a:lnTo>
                  <a:lnTo>
                    <a:pt x="22" y="289"/>
                  </a:lnTo>
                  <a:lnTo>
                    <a:pt x="10" y="261"/>
                  </a:lnTo>
                  <a:lnTo>
                    <a:pt x="3" y="230"/>
                  </a:lnTo>
                  <a:lnTo>
                    <a:pt x="0" y="198"/>
                  </a:lnTo>
                  <a:lnTo>
                    <a:pt x="3" y="166"/>
                  </a:lnTo>
                  <a:lnTo>
                    <a:pt x="10" y="136"/>
                  </a:lnTo>
                  <a:lnTo>
                    <a:pt x="22" y="108"/>
                  </a:lnTo>
                  <a:lnTo>
                    <a:pt x="38" y="81"/>
                  </a:lnTo>
                  <a:lnTo>
                    <a:pt x="58" y="58"/>
                  </a:lnTo>
                  <a:lnTo>
                    <a:pt x="81" y="38"/>
                  </a:lnTo>
                  <a:lnTo>
                    <a:pt x="106" y="22"/>
                  </a:lnTo>
                  <a:lnTo>
                    <a:pt x="136" y="10"/>
                  </a:lnTo>
                  <a:lnTo>
                    <a:pt x="166" y="3"/>
                  </a:lnTo>
                  <a:lnTo>
                    <a:pt x="19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9"/>
            <p:cNvSpPr>
              <a:spLocks noEditPoints="1"/>
            </p:cNvSpPr>
            <p:nvPr/>
          </p:nvSpPr>
          <p:spPr bwMode="auto">
            <a:xfrm>
              <a:off x="10028238" y="2187576"/>
              <a:ext cx="63500" cy="63500"/>
            </a:xfrm>
            <a:custGeom>
              <a:avLst/>
              <a:gdLst>
                <a:gd name="T0" fmla="*/ 176 w 397"/>
                <a:gd name="T1" fmla="*/ 116 h 396"/>
                <a:gd name="T2" fmla="*/ 139 w 397"/>
                <a:gd name="T3" fmla="*/ 138 h 396"/>
                <a:gd name="T4" fmla="*/ 117 w 397"/>
                <a:gd name="T5" fmla="*/ 175 h 396"/>
                <a:gd name="T6" fmla="*/ 117 w 397"/>
                <a:gd name="T7" fmla="*/ 220 h 396"/>
                <a:gd name="T8" fmla="*/ 139 w 397"/>
                <a:gd name="T9" fmla="*/ 258 h 396"/>
                <a:gd name="T10" fmla="*/ 176 w 397"/>
                <a:gd name="T11" fmla="*/ 280 h 396"/>
                <a:gd name="T12" fmla="*/ 221 w 397"/>
                <a:gd name="T13" fmla="*/ 280 h 396"/>
                <a:gd name="T14" fmla="*/ 259 w 397"/>
                <a:gd name="T15" fmla="*/ 258 h 396"/>
                <a:gd name="T16" fmla="*/ 280 w 397"/>
                <a:gd name="T17" fmla="*/ 220 h 396"/>
                <a:gd name="T18" fmla="*/ 280 w 397"/>
                <a:gd name="T19" fmla="*/ 175 h 396"/>
                <a:gd name="T20" fmla="*/ 259 w 397"/>
                <a:gd name="T21" fmla="*/ 138 h 396"/>
                <a:gd name="T22" fmla="*/ 221 w 397"/>
                <a:gd name="T23" fmla="*/ 116 h 396"/>
                <a:gd name="T24" fmla="*/ 198 w 397"/>
                <a:gd name="T25" fmla="*/ 0 h 396"/>
                <a:gd name="T26" fmla="*/ 261 w 397"/>
                <a:gd name="T27" fmla="*/ 10 h 396"/>
                <a:gd name="T28" fmla="*/ 315 w 397"/>
                <a:gd name="T29" fmla="*/ 38 h 396"/>
                <a:gd name="T30" fmla="*/ 359 w 397"/>
                <a:gd name="T31" fmla="*/ 80 h 396"/>
                <a:gd name="T32" fmla="*/ 387 w 397"/>
                <a:gd name="T33" fmla="*/ 135 h 396"/>
                <a:gd name="T34" fmla="*/ 397 w 397"/>
                <a:gd name="T35" fmla="*/ 197 h 396"/>
                <a:gd name="T36" fmla="*/ 387 w 397"/>
                <a:gd name="T37" fmla="*/ 261 h 396"/>
                <a:gd name="T38" fmla="*/ 359 w 397"/>
                <a:gd name="T39" fmla="*/ 315 h 396"/>
                <a:gd name="T40" fmla="*/ 315 w 397"/>
                <a:gd name="T41" fmla="*/ 357 h 396"/>
                <a:gd name="T42" fmla="*/ 261 w 397"/>
                <a:gd name="T43" fmla="*/ 386 h 396"/>
                <a:gd name="T44" fmla="*/ 198 w 397"/>
                <a:gd name="T45" fmla="*/ 396 h 396"/>
                <a:gd name="T46" fmla="*/ 136 w 397"/>
                <a:gd name="T47" fmla="*/ 386 h 396"/>
                <a:gd name="T48" fmla="*/ 81 w 397"/>
                <a:gd name="T49" fmla="*/ 357 h 396"/>
                <a:gd name="T50" fmla="*/ 38 w 397"/>
                <a:gd name="T51" fmla="*/ 315 h 396"/>
                <a:gd name="T52" fmla="*/ 10 w 397"/>
                <a:gd name="T53" fmla="*/ 261 h 396"/>
                <a:gd name="T54" fmla="*/ 0 w 397"/>
                <a:gd name="T55" fmla="*/ 197 h 396"/>
                <a:gd name="T56" fmla="*/ 10 w 397"/>
                <a:gd name="T57" fmla="*/ 135 h 396"/>
                <a:gd name="T58" fmla="*/ 38 w 397"/>
                <a:gd name="T59" fmla="*/ 80 h 396"/>
                <a:gd name="T60" fmla="*/ 81 w 397"/>
                <a:gd name="T61" fmla="*/ 38 h 396"/>
                <a:gd name="T62" fmla="*/ 136 w 397"/>
                <a:gd name="T63" fmla="*/ 10 h 396"/>
                <a:gd name="T64" fmla="*/ 198 w 397"/>
                <a:gd name="T65" fmla="*/ 0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97" h="396">
                  <a:moveTo>
                    <a:pt x="198" y="113"/>
                  </a:moveTo>
                  <a:lnTo>
                    <a:pt x="176" y="116"/>
                  </a:lnTo>
                  <a:lnTo>
                    <a:pt x="156" y="125"/>
                  </a:lnTo>
                  <a:lnTo>
                    <a:pt x="139" y="138"/>
                  </a:lnTo>
                  <a:lnTo>
                    <a:pt x="125" y="155"/>
                  </a:lnTo>
                  <a:lnTo>
                    <a:pt x="117" y="175"/>
                  </a:lnTo>
                  <a:lnTo>
                    <a:pt x="114" y="197"/>
                  </a:lnTo>
                  <a:lnTo>
                    <a:pt x="117" y="220"/>
                  </a:lnTo>
                  <a:lnTo>
                    <a:pt x="125" y="241"/>
                  </a:lnTo>
                  <a:lnTo>
                    <a:pt x="139" y="258"/>
                  </a:lnTo>
                  <a:lnTo>
                    <a:pt x="156" y="271"/>
                  </a:lnTo>
                  <a:lnTo>
                    <a:pt x="176" y="280"/>
                  </a:lnTo>
                  <a:lnTo>
                    <a:pt x="198" y="283"/>
                  </a:lnTo>
                  <a:lnTo>
                    <a:pt x="221" y="280"/>
                  </a:lnTo>
                  <a:lnTo>
                    <a:pt x="242" y="271"/>
                  </a:lnTo>
                  <a:lnTo>
                    <a:pt x="259" y="258"/>
                  </a:lnTo>
                  <a:lnTo>
                    <a:pt x="272" y="241"/>
                  </a:lnTo>
                  <a:lnTo>
                    <a:pt x="280" y="220"/>
                  </a:lnTo>
                  <a:lnTo>
                    <a:pt x="283" y="197"/>
                  </a:lnTo>
                  <a:lnTo>
                    <a:pt x="280" y="175"/>
                  </a:lnTo>
                  <a:lnTo>
                    <a:pt x="272" y="155"/>
                  </a:lnTo>
                  <a:lnTo>
                    <a:pt x="259" y="138"/>
                  </a:lnTo>
                  <a:lnTo>
                    <a:pt x="242" y="125"/>
                  </a:lnTo>
                  <a:lnTo>
                    <a:pt x="221" y="116"/>
                  </a:lnTo>
                  <a:lnTo>
                    <a:pt x="198" y="113"/>
                  </a:lnTo>
                  <a:close/>
                  <a:moveTo>
                    <a:pt x="198" y="0"/>
                  </a:moveTo>
                  <a:lnTo>
                    <a:pt x="231" y="2"/>
                  </a:lnTo>
                  <a:lnTo>
                    <a:pt x="261" y="10"/>
                  </a:lnTo>
                  <a:lnTo>
                    <a:pt x="289" y="22"/>
                  </a:lnTo>
                  <a:lnTo>
                    <a:pt x="315" y="38"/>
                  </a:lnTo>
                  <a:lnTo>
                    <a:pt x="339" y="58"/>
                  </a:lnTo>
                  <a:lnTo>
                    <a:pt x="359" y="80"/>
                  </a:lnTo>
                  <a:lnTo>
                    <a:pt x="375" y="107"/>
                  </a:lnTo>
                  <a:lnTo>
                    <a:pt x="387" y="135"/>
                  </a:lnTo>
                  <a:lnTo>
                    <a:pt x="394" y="166"/>
                  </a:lnTo>
                  <a:lnTo>
                    <a:pt x="397" y="197"/>
                  </a:lnTo>
                  <a:lnTo>
                    <a:pt x="394" y="229"/>
                  </a:lnTo>
                  <a:lnTo>
                    <a:pt x="387" y="261"/>
                  </a:lnTo>
                  <a:lnTo>
                    <a:pt x="375" y="289"/>
                  </a:lnTo>
                  <a:lnTo>
                    <a:pt x="359" y="315"/>
                  </a:lnTo>
                  <a:lnTo>
                    <a:pt x="339" y="337"/>
                  </a:lnTo>
                  <a:lnTo>
                    <a:pt x="315" y="357"/>
                  </a:lnTo>
                  <a:lnTo>
                    <a:pt x="289" y="374"/>
                  </a:lnTo>
                  <a:lnTo>
                    <a:pt x="261" y="386"/>
                  </a:lnTo>
                  <a:lnTo>
                    <a:pt x="231" y="394"/>
                  </a:lnTo>
                  <a:lnTo>
                    <a:pt x="198" y="396"/>
                  </a:lnTo>
                  <a:lnTo>
                    <a:pt x="166" y="394"/>
                  </a:lnTo>
                  <a:lnTo>
                    <a:pt x="136" y="386"/>
                  </a:lnTo>
                  <a:lnTo>
                    <a:pt x="108" y="374"/>
                  </a:lnTo>
                  <a:lnTo>
                    <a:pt x="81" y="357"/>
                  </a:lnTo>
                  <a:lnTo>
                    <a:pt x="58" y="337"/>
                  </a:lnTo>
                  <a:lnTo>
                    <a:pt x="38" y="315"/>
                  </a:lnTo>
                  <a:lnTo>
                    <a:pt x="22" y="289"/>
                  </a:lnTo>
                  <a:lnTo>
                    <a:pt x="10" y="261"/>
                  </a:lnTo>
                  <a:lnTo>
                    <a:pt x="3" y="229"/>
                  </a:lnTo>
                  <a:lnTo>
                    <a:pt x="0" y="197"/>
                  </a:lnTo>
                  <a:lnTo>
                    <a:pt x="3" y="166"/>
                  </a:lnTo>
                  <a:lnTo>
                    <a:pt x="10" y="135"/>
                  </a:lnTo>
                  <a:lnTo>
                    <a:pt x="22" y="107"/>
                  </a:lnTo>
                  <a:lnTo>
                    <a:pt x="38" y="80"/>
                  </a:lnTo>
                  <a:lnTo>
                    <a:pt x="58" y="58"/>
                  </a:lnTo>
                  <a:lnTo>
                    <a:pt x="81" y="38"/>
                  </a:lnTo>
                  <a:lnTo>
                    <a:pt x="108" y="22"/>
                  </a:lnTo>
                  <a:lnTo>
                    <a:pt x="136" y="10"/>
                  </a:lnTo>
                  <a:lnTo>
                    <a:pt x="166" y="2"/>
                  </a:lnTo>
                  <a:lnTo>
                    <a:pt x="19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0"/>
            <p:cNvSpPr>
              <a:spLocks noEditPoints="1"/>
            </p:cNvSpPr>
            <p:nvPr/>
          </p:nvSpPr>
          <p:spPr bwMode="auto">
            <a:xfrm>
              <a:off x="10433050" y="2187576"/>
              <a:ext cx="63500" cy="63500"/>
            </a:xfrm>
            <a:custGeom>
              <a:avLst/>
              <a:gdLst>
                <a:gd name="T0" fmla="*/ 175 w 396"/>
                <a:gd name="T1" fmla="*/ 116 h 396"/>
                <a:gd name="T2" fmla="*/ 138 w 396"/>
                <a:gd name="T3" fmla="*/ 138 h 396"/>
                <a:gd name="T4" fmla="*/ 117 w 396"/>
                <a:gd name="T5" fmla="*/ 175 h 396"/>
                <a:gd name="T6" fmla="*/ 117 w 396"/>
                <a:gd name="T7" fmla="*/ 220 h 396"/>
                <a:gd name="T8" fmla="*/ 138 w 396"/>
                <a:gd name="T9" fmla="*/ 258 h 396"/>
                <a:gd name="T10" fmla="*/ 175 w 396"/>
                <a:gd name="T11" fmla="*/ 280 h 396"/>
                <a:gd name="T12" fmla="*/ 221 w 396"/>
                <a:gd name="T13" fmla="*/ 280 h 396"/>
                <a:gd name="T14" fmla="*/ 258 w 396"/>
                <a:gd name="T15" fmla="*/ 258 h 396"/>
                <a:gd name="T16" fmla="*/ 280 w 396"/>
                <a:gd name="T17" fmla="*/ 220 h 396"/>
                <a:gd name="T18" fmla="*/ 280 w 396"/>
                <a:gd name="T19" fmla="*/ 175 h 396"/>
                <a:gd name="T20" fmla="*/ 258 w 396"/>
                <a:gd name="T21" fmla="*/ 138 h 396"/>
                <a:gd name="T22" fmla="*/ 221 w 396"/>
                <a:gd name="T23" fmla="*/ 116 h 396"/>
                <a:gd name="T24" fmla="*/ 198 w 396"/>
                <a:gd name="T25" fmla="*/ 0 h 396"/>
                <a:gd name="T26" fmla="*/ 261 w 396"/>
                <a:gd name="T27" fmla="*/ 10 h 396"/>
                <a:gd name="T28" fmla="*/ 315 w 396"/>
                <a:gd name="T29" fmla="*/ 38 h 396"/>
                <a:gd name="T30" fmla="*/ 358 w 396"/>
                <a:gd name="T31" fmla="*/ 80 h 396"/>
                <a:gd name="T32" fmla="*/ 386 w 396"/>
                <a:gd name="T33" fmla="*/ 135 h 396"/>
                <a:gd name="T34" fmla="*/ 396 w 396"/>
                <a:gd name="T35" fmla="*/ 197 h 396"/>
                <a:gd name="T36" fmla="*/ 386 w 396"/>
                <a:gd name="T37" fmla="*/ 261 h 396"/>
                <a:gd name="T38" fmla="*/ 358 w 396"/>
                <a:gd name="T39" fmla="*/ 315 h 396"/>
                <a:gd name="T40" fmla="*/ 315 w 396"/>
                <a:gd name="T41" fmla="*/ 357 h 396"/>
                <a:gd name="T42" fmla="*/ 261 w 396"/>
                <a:gd name="T43" fmla="*/ 386 h 396"/>
                <a:gd name="T44" fmla="*/ 198 w 396"/>
                <a:gd name="T45" fmla="*/ 396 h 396"/>
                <a:gd name="T46" fmla="*/ 136 w 396"/>
                <a:gd name="T47" fmla="*/ 386 h 396"/>
                <a:gd name="T48" fmla="*/ 81 w 396"/>
                <a:gd name="T49" fmla="*/ 357 h 396"/>
                <a:gd name="T50" fmla="*/ 38 w 396"/>
                <a:gd name="T51" fmla="*/ 315 h 396"/>
                <a:gd name="T52" fmla="*/ 10 w 396"/>
                <a:gd name="T53" fmla="*/ 261 h 396"/>
                <a:gd name="T54" fmla="*/ 0 w 396"/>
                <a:gd name="T55" fmla="*/ 197 h 396"/>
                <a:gd name="T56" fmla="*/ 10 w 396"/>
                <a:gd name="T57" fmla="*/ 135 h 396"/>
                <a:gd name="T58" fmla="*/ 38 w 396"/>
                <a:gd name="T59" fmla="*/ 80 h 396"/>
                <a:gd name="T60" fmla="*/ 81 w 396"/>
                <a:gd name="T61" fmla="*/ 38 h 396"/>
                <a:gd name="T62" fmla="*/ 136 w 396"/>
                <a:gd name="T63" fmla="*/ 10 h 396"/>
                <a:gd name="T64" fmla="*/ 198 w 396"/>
                <a:gd name="T65" fmla="*/ 0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96" h="396">
                  <a:moveTo>
                    <a:pt x="198" y="113"/>
                  </a:moveTo>
                  <a:lnTo>
                    <a:pt x="175" y="116"/>
                  </a:lnTo>
                  <a:lnTo>
                    <a:pt x="155" y="125"/>
                  </a:lnTo>
                  <a:lnTo>
                    <a:pt x="138" y="138"/>
                  </a:lnTo>
                  <a:lnTo>
                    <a:pt x="125" y="155"/>
                  </a:lnTo>
                  <a:lnTo>
                    <a:pt x="117" y="175"/>
                  </a:lnTo>
                  <a:lnTo>
                    <a:pt x="114" y="197"/>
                  </a:lnTo>
                  <a:lnTo>
                    <a:pt x="117" y="220"/>
                  </a:lnTo>
                  <a:lnTo>
                    <a:pt x="125" y="241"/>
                  </a:lnTo>
                  <a:lnTo>
                    <a:pt x="138" y="258"/>
                  </a:lnTo>
                  <a:lnTo>
                    <a:pt x="155" y="271"/>
                  </a:lnTo>
                  <a:lnTo>
                    <a:pt x="175" y="280"/>
                  </a:lnTo>
                  <a:lnTo>
                    <a:pt x="198" y="283"/>
                  </a:lnTo>
                  <a:lnTo>
                    <a:pt x="221" y="280"/>
                  </a:lnTo>
                  <a:lnTo>
                    <a:pt x="241" y="271"/>
                  </a:lnTo>
                  <a:lnTo>
                    <a:pt x="258" y="258"/>
                  </a:lnTo>
                  <a:lnTo>
                    <a:pt x="271" y="241"/>
                  </a:lnTo>
                  <a:lnTo>
                    <a:pt x="280" y="220"/>
                  </a:lnTo>
                  <a:lnTo>
                    <a:pt x="283" y="197"/>
                  </a:lnTo>
                  <a:lnTo>
                    <a:pt x="280" y="175"/>
                  </a:lnTo>
                  <a:lnTo>
                    <a:pt x="271" y="155"/>
                  </a:lnTo>
                  <a:lnTo>
                    <a:pt x="258" y="138"/>
                  </a:lnTo>
                  <a:lnTo>
                    <a:pt x="241" y="125"/>
                  </a:lnTo>
                  <a:lnTo>
                    <a:pt x="221" y="116"/>
                  </a:lnTo>
                  <a:lnTo>
                    <a:pt x="198" y="113"/>
                  </a:lnTo>
                  <a:close/>
                  <a:moveTo>
                    <a:pt x="198" y="0"/>
                  </a:moveTo>
                  <a:lnTo>
                    <a:pt x="231" y="2"/>
                  </a:lnTo>
                  <a:lnTo>
                    <a:pt x="261" y="10"/>
                  </a:lnTo>
                  <a:lnTo>
                    <a:pt x="289" y="22"/>
                  </a:lnTo>
                  <a:lnTo>
                    <a:pt x="315" y="38"/>
                  </a:lnTo>
                  <a:lnTo>
                    <a:pt x="339" y="58"/>
                  </a:lnTo>
                  <a:lnTo>
                    <a:pt x="358" y="80"/>
                  </a:lnTo>
                  <a:lnTo>
                    <a:pt x="374" y="107"/>
                  </a:lnTo>
                  <a:lnTo>
                    <a:pt x="386" y="135"/>
                  </a:lnTo>
                  <a:lnTo>
                    <a:pt x="394" y="166"/>
                  </a:lnTo>
                  <a:lnTo>
                    <a:pt x="396" y="197"/>
                  </a:lnTo>
                  <a:lnTo>
                    <a:pt x="394" y="229"/>
                  </a:lnTo>
                  <a:lnTo>
                    <a:pt x="386" y="261"/>
                  </a:lnTo>
                  <a:lnTo>
                    <a:pt x="374" y="289"/>
                  </a:lnTo>
                  <a:lnTo>
                    <a:pt x="358" y="315"/>
                  </a:lnTo>
                  <a:lnTo>
                    <a:pt x="339" y="337"/>
                  </a:lnTo>
                  <a:lnTo>
                    <a:pt x="315" y="357"/>
                  </a:lnTo>
                  <a:lnTo>
                    <a:pt x="289" y="374"/>
                  </a:lnTo>
                  <a:lnTo>
                    <a:pt x="261" y="386"/>
                  </a:lnTo>
                  <a:lnTo>
                    <a:pt x="231" y="394"/>
                  </a:lnTo>
                  <a:lnTo>
                    <a:pt x="198" y="396"/>
                  </a:lnTo>
                  <a:lnTo>
                    <a:pt x="166" y="394"/>
                  </a:lnTo>
                  <a:lnTo>
                    <a:pt x="136" y="386"/>
                  </a:lnTo>
                  <a:lnTo>
                    <a:pt x="106" y="374"/>
                  </a:lnTo>
                  <a:lnTo>
                    <a:pt x="81" y="357"/>
                  </a:lnTo>
                  <a:lnTo>
                    <a:pt x="58" y="337"/>
                  </a:lnTo>
                  <a:lnTo>
                    <a:pt x="38" y="315"/>
                  </a:lnTo>
                  <a:lnTo>
                    <a:pt x="22" y="289"/>
                  </a:lnTo>
                  <a:lnTo>
                    <a:pt x="10" y="261"/>
                  </a:lnTo>
                  <a:lnTo>
                    <a:pt x="3" y="229"/>
                  </a:lnTo>
                  <a:lnTo>
                    <a:pt x="0" y="197"/>
                  </a:lnTo>
                  <a:lnTo>
                    <a:pt x="3" y="166"/>
                  </a:lnTo>
                  <a:lnTo>
                    <a:pt x="10" y="135"/>
                  </a:lnTo>
                  <a:lnTo>
                    <a:pt x="22" y="107"/>
                  </a:lnTo>
                  <a:lnTo>
                    <a:pt x="38" y="80"/>
                  </a:lnTo>
                  <a:lnTo>
                    <a:pt x="58" y="58"/>
                  </a:lnTo>
                  <a:lnTo>
                    <a:pt x="81" y="38"/>
                  </a:lnTo>
                  <a:lnTo>
                    <a:pt x="106" y="22"/>
                  </a:lnTo>
                  <a:lnTo>
                    <a:pt x="136" y="10"/>
                  </a:lnTo>
                  <a:lnTo>
                    <a:pt x="166" y="2"/>
                  </a:lnTo>
                  <a:lnTo>
                    <a:pt x="19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1"/>
            <p:cNvSpPr>
              <a:spLocks noEditPoints="1"/>
            </p:cNvSpPr>
            <p:nvPr/>
          </p:nvSpPr>
          <p:spPr bwMode="auto">
            <a:xfrm>
              <a:off x="10045700" y="2000251"/>
              <a:ext cx="431800" cy="250825"/>
            </a:xfrm>
            <a:custGeom>
              <a:avLst/>
              <a:gdLst>
                <a:gd name="T0" fmla="*/ 1138 w 2720"/>
                <a:gd name="T1" fmla="*/ 529 h 1585"/>
                <a:gd name="T2" fmla="*/ 1155 w 2720"/>
                <a:gd name="T3" fmla="*/ 752 h 1585"/>
                <a:gd name="T4" fmla="*/ 1189 w 2720"/>
                <a:gd name="T5" fmla="*/ 934 h 1585"/>
                <a:gd name="T6" fmla="*/ 1229 w 2720"/>
                <a:gd name="T7" fmla="*/ 1130 h 1585"/>
                <a:gd name="T8" fmla="*/ 1105 w 2720"/>
                <a:gd name="T9" fmla="*/ 1421 h 1585"/>
                <a:gd name="T10" fmla="*/ 1289 w 2720"/>
                <a:gd name="T11" fmla="*/ 1468 h 1585"/>
                <a:gd name="T12" fmla="*/ 1499 w 2720"/>
                <a:gd name="T13" fmla="*/ 1457 h 1585"/>
                <a:gd name="T14" fmla="*/ 1676 w 2720"/>
                <a:gd name="T15" fmla="*/ 1393 h 1585"/>
                <a:gd name="T16" fmla="*/ 1474 w 2720"/>
                <a:gd name="T17" fmla="*/ 1046 h 1585"/>
                <a:gd name="T18" fmla="*/ 1551 w 2720"/>
                <a:gd name="T19" fmla="*/ 904 h 1585"/>
                <a:gd name="T20" fmla="*/ 1659 w 2720"/>
                <a:gd name="T21" fmla="*/ 800 h 1585"/>
                <a:gd name="T22" fmla="*/ 1623 w 2720"/>
                <a:gd name="T23" fmla="*/ 644 h 1585"/>
                <a:gd name="T24" fmla="*/ 1396 w 2720"/>
                <a:gd name="T25" fmla="*/ 470 h 1585"/>
                <a:gd name="T26" fmla="*/ 1958 w 2720"/>
                <a:gd name="T27" fmla="*/ 274 h 1585"/>
                <a:gd name="T28" fmla="*/ 2139 w 2720"/>
                <a:gd name="T29" fmla="*/ 643 h 1585"/>
                <a:gd name="T30" fmla="*/ 2148 w 2720"/>
                <a:gd name="T31" fmla="*/ 879 h 1585"/>
                <a:gd name="T32" fmla="*/ 1971 w 2720"/>
                <a:gd name="T33" fmla="*/ 1298 h 1585"/>
                <a:gd name="T34" fmla="*/ 2301 w 2720"/>
                <a:gd name="T35" fmla="*/ 1231 h 1585"/>
                <a:gd name="T36" fmla="*/ 2607 w 2720"/>
                <a:gd name="T37" fmla="*/ 1020 h 1585"/>
                <a:gd name="T38" fmla="*/ 2321 w 2720"/>
                <a:gd name="T39" fmla="*/ 392 h 1585"/>
                <a:gd name="T40" fmla="*/ 418 w 2720"/>
                <a:gd name="T41" fmla="*/ 353 h 1585"/>
                <a:gd name="T42" fmla="*/ 113 w 2720"/>
                <a:gd name="T43" fmla="*/ 565 h 1585"/>
                <a:gd name="T44" fmla="*/ 398 w 2720"/>
                <a:gd name="T45" fmla="*/ 1194 h 1585"/>
                <a:gd name="T46" fmla="*/ 748 w 2720"/>
                <a:gd name="T47" fmla="*/ 1298 h 1585"/>
                <a:gd name="T48" fmla="*/ 571 w 2720"/>
                <a:gd name="T49" fmla="*/ 879 h 1585"/>
                <a:gd name="T50" fmla="*/ 581 w 2720"/>
                <a:gd name="T51" fmla="*/ 643 h 1585"/>
                <a:gd name="T52" fmla="*/ 761 w 2720"/>
                <a:gd name="T53" fmla="*/ 274 h 1585"/>
                <a:gd name="T54" fmla="*/ 1193 w 2720"/>
                <a:gd name="T55" fmla="*/ 134 h 1585"/>
                <a:gd name="T56" fmla="*/ 820 w 2720"/>
                <a:gd name="T57" fmla="*/ 381 h 1585"/>
                <a:gd name="T58" fmla="*/ 699 w 2720"/>
                <a:gd name="T59" fmla="*/ 637 h 1585"/>
                <a:gd name="T60" fmla="*/ 706 w 2720"/>
                <a:gd name="T61" fmla="*/ 977 h 1585"/>
                <a:gd name="T62" fmla="*/ 804 w 2720"/>
                <a:gd name="T63" fmla="*/ 1182 h 1585"/>
                <a:gd name="T64" fmla="*/ 1125 w 2720"/>
                <a:gd name="T65" fmla="*/ 1086 h 1585"/>
                <a:gd name="T66" fmla="*/ 1076 w 2720"/>
                <a:gd name="T67" fmla="*/ 982 h 1585"/>
                <a:gd name="T68" fmla="*/ 1040 w 2720"/>
                <a:gd name="T69" fmla="*/ 733 h 1585"/>
                <a:gd name="T70" fmla="*/ 1018 w 2720"/>
                <a:gd name="T71" fmla="*/ 477 h 1585"/>
                <a:gd name="T72" fmla="*/ 1115 w 2720"/>
                <a:gd name="T73" fmla="*/ 377 h 1585"/>
                <a:gd name="T74" fmla="*/ 1417 w 2720"/>
                <a:gd name="T75" fmla="*/ 359 h 1585"/>
                <a:gd name="T76" fmla="*/ 1665 w 2720"/>
                <a:gd name="T77" fmla="*/ 512 h 1585"/>
                <a:gd name="T78" fmla="*/ 1783 w 2720"/>
                <a:gd name="T79" fmla="*/ 739 h 1585"/>
                <a:gd name="T80" fmla="*/ 1682 w 2720"/>
                <a:gd name="T81" fmla="*/ 922 h 1585"/>
                <a:gd name="T82" fmla="*/ 1588 w 2720"/>
                <a:gd name="T83" fmla="*/ 1037 h 1585"/>
                <a:gd name="T84" fmla="*/ 1899 w 2720"/>
                <a:gd name="T85" fmla="*/ 1205 h 1585"/>
                <a:gd name="T86" fmla="*/ 2014 w 2720"/>
                <a:gd name="T87" fmla="*/ 977 h 1585"/>
                <a:gd name="T88" fmla="*/ 2021 w 2720"/>
                <a:gd name="T89" fmla="*/ 637 h 1585"/>
                <a:gd name="T90" fmla="*/ 1899 w 2720"/>
                <a:gd name="T91" fmla="*/ 381 h 1585"/>
                <a:gd name="T92" fmla="*/ 1526 w 2720"/>
                <a:gd name="T93" fmla="*/ 134 h 1585"/>
                <a:gd name="T94" fmla="*/ 1660 w 2720"/>
                <a:gd name="T95" fmla="*/ 59 h 1585"/>
                <a:gd name="T96" fmla="*/ 2421 w 2720"/>
                <a:gd name="T97" fmla="*/ 336 h 1585"/>
                <a:gd name="T98" fmla="*/ 2720 w 2720"/>
                <a:gd name="T99" fmla="*/ 446 h 1585"/>
                <a:gd name="T100" fmla="*/ 2443 w 2720"/>
                <a:gd name="T101" fmla="*/ 1220 h 1585"/>
                <a:gd name="T102" fmla="*/ 1763 w 2720"/>
                <a:gd name="T103" fmla="*/ 1474 h 1585"/>
                <a:gd name="T104" fmla="*/ 1509 w 2720"/>
                <a:gd name="T105" fmla="*/ 1571 h 1585"/>
                <a:gd name="T106" fmla="*/ 1210 w 2720"/>
                <a:gd name="T107" fmla="*/ 1571 h 1585"/>
                <a:gd name="T108" fmla="*/ 956 w 2720"/>
                <a:gd name="T109" fmla="*/ 1474 h 1585"/>
                <a:gd name="T110" fmla="*/ 277 w 2720"/>
                <a:gd name="T111" fmla="*/ 1220 h 1585"/>
                <a:gd name="T112" fmla="*/ 0 w 2720"/>
                <a:gd name="T113" fmla="*/ 446 h 1585"/>
                <a:gd name="T114" fmla="*/ 298 w 2720"/>
                <a:gd name="T115" fmla="*/ 336 h 1585"/>
                <a:gd name="T116" fmla="*/ 1060 w 2720"/>
                <a:gd name="T117" fmla="*/ 59 h 1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720" h="1585">
                  <a:moveTo>
                    <a:pt x="1288" y="459"/>
                  </a:moveTo>
                  <a:lnTo>
                    <a:pt x="1255" y="461"/>
                  </a:lnTo>
                  <a:lnTo>
                    <a:pt x="1225" y="465"/>
                  </a:lnTo>
                  <a:lnTo>
                    <a:pt x="1196" y="471"/>
                  </a:lnTo>
                  <a:lnTo>
                    <a:pt x="1171" y="477"/>
                  </a:lnTo>
                  <a:lnTo>
                    <a:pt x="1149" y="484"/>
                  </a:lnTo>
                  <a:lnTo>
                    <a:pt x="1131" y="491"/>
                  </a:lnTo>
                  <a:lnTo>
                    <a:pt x="1134" y="510"/>
                  </a:lnTo>
                  <a:lnTo>
                    <a:pt x="1138" y="529"/>
                  </a:lnTo>
                  <a:lnTo>
                    <a:pt x="1144" y="549"/>
                  </a:lnTo>
                  <a:lnTo>
                    <a:pt x="1151" y="569"/>
                  </a:lnTo>
                  <a:lnTo>
                    <a:pt x="1159" y="586"/>
                  </a:lnTo>
                  <a:lnTo>
                    <a:pt x="1167" y="599"/>
                  </a:lnTo>
                  <a:lnTo>
                    <a:pt x="1174" y="608"/>
                  </a:lnTo>
                  <a:lnTo>
                    <a:pt x="1255" y="637"/>
                  </a:lnTo>
                  <a:lnTo>
                    <a:pt x="1192" y="697"/>
                  </a:lnTo>
                  <a:lnTo>
                    <a:pt x="1171" y="723"/>
                  </a:lnTo>
                  <a:lnTo>
                    <a:pt x="1155" y="752"/>
                  </a:lnTo>
                  <a:lnTo>
                    <a:pt x="1143" y="784"/>
                  </a:lnTo>
                  <a:lnTo>
                    <a:pt x="1136" y="816"/>
                  </a:lnTo>
                  <a:lnTo>
                    <a:pt x="1133" y="849"/>
                  </a:lnTo>
                  <a:lnTo>
                    <a:pt x="1135" y="865"/>
                  </a:lnTo>
                  <a:lnTo>
                    <a:pt x="1141" y="879"/>
                  </a:lnTo>
                  <a:lnTo>
                    <a:pt x="1149" y="893"/>
                  </a:lnTo>
                  <a:lnTo>
                    <a:pt x="1160" y="907"/>
                  </a:lnTo>
                  <a:lnTo>
                    <a:pt x="1174" y="920"/>
                  </a:lnTo>
                  <a:lnTo>
                    <a:pt x="1189" y="934"/>
                  </a:lnTo>
                  <a:lnTo>
                    <a:pt x="1204" y="946"/>
                  </a:lnTo>
                  <a:lnTo>
                    <a:pt x="1218" y="959"/>
                  </a:lnTo>
                  <a:lnTo>
                    <a:pt x="1228" y="973"/>
                  </a:lnTo>
                  <a:lnTo>
                    <a:pt x="1236" y="989"/>
                  </a:lnTo>
                  <a:lnTo>
                    <a:pt x="1244" y="1018"/>
                  </a:lnTo>
                  <a:lnTo>
                    <a:pt x="1247" y="1049"/>
                  </a:lnTo>
                  <a:lnTo>
                    <a:pt x="1245" y="1077"/>
                  </a:lnTo>
                  <a:lnTo>
                    <a:pt x="1239" y="1104"/>
                  </a:lnTo>
                  <a:lnTo>
                    <a:pt x="1229" y="1130"/>
                  </a:lnTo>
                  <a:lnTo>
                    <a:pt x="1215" y="1156"/>
                  </a:lnTo>
                  <a:lnTo>
                    <a:pt x="1197" y="1180"/>
                  </a:lnTo>
                  <a:lnTo>
                    <a:pt x="1176" y="1202"/>
                  </a:lnTo>
                  <a:lnTo>
                    <a:pt x="996" y="1365"/>
                  </a:lnTo>
                  <a:lnTo>
                    <a:pt x="1021" y="1380"/>
                  </a:lnTo>
                  <a:lnTo>
                    <a:pt x="1043" y="1393"/>
                  </a:lnTo>
                  <a:lnTo>
                    <a:pt x="1089" y="1415"/>
                  </a:lnTo>
                  <a:lnTo>
                    <a:pt x="1096" y="1418"/>
                  </a:lnTo>
                  <a:lnTo>
                    <a:pt x="1105" y="1421"/>
                  </a:lnTo>
                  <a:lnTo>
                    <a:pt x="1150" y="1439"/>
                  </a:lnTo>
                  <a:lnTo>
                    <a:pt x="1156" y="1440"/>
                  </a:lnTo>
                  <a:lnTo>
                    <a:pt x="1161" y="1442"/>
                  </a:lnTo>
                  <a:lnTo>
                    <a:pt x="1191" y="1450"/>
                  </a:lnTo>
                  <a:lnTo>
                    <a:pt x="1221" y="1457"/>
                  </a:lnTo>
                  <a:lnTo>
                    <a:pt x="1225" y="1458"/>
                  </a:lnTo>
                  <a:lnTo>
                    <a:pt x="1229" y="1459"/>
                  </a:lnTo>
                  <a:lnTo>
                    <a:pt x="1282" y="1467"/>
                  </a:lnTo>
                  <a:lnTo>
                    <a:pt x="1289" y="1468"/>
                  </a:lnTo>
                  <a:lnTo>
                    <a:pt x="1297" y="1469"/>
                  </a:lnTo>
                  <a:lnTo>
                    <a:pt x="1329" y="1471"/>
                  </a:lnTo>
                  <a:lnTo>
                    <a:pt x="1360" y="1472"/>
                  </a:lnTo>
                  <a:lnTo>
                    <a:pt x="1391" y="1471"/>
                  </a:lnTo>
                  <a:lnTo>
                    <a:pt x="1422" y="1469"/>
                  </a:lnTo>
                  <a:lnTo>
                    <a:pt x="1429" y="1468"/>
                  </a:lnTo>
                  <a:lnTo>
                    <a:pt x="1438" y="1467"/>
                  </a:lnTo>
                  <a:lnTo>
                    <a:pt x="1491" y="1459"/>
                  </a:lnTo>
                  <a:lnTo>
                    <a:pt x="1499" y="1457"/>
                  </a:lnTo>
                  <a:lnTo>
                    <a:pt x="1528" y="1451"/>
                  </a:lnTo>
                  <a:lnTo>
                    <a:pt x="1558" y="1443"/>
                  </a:lnTo>
                  <a:lnTo>
                    <a:pt x="1564" y="1441"/>
                  </a:lnTo>
                  <a:lnTo>
                    <a:pt x="1570" y="1439"/>
                  </a:lnTo>
                  <a:lnTo>
                    <a:pt x="1614" y="1421"/>
                  </a:lnTo>
                  <a:lnTo>
                    <a:pt x="1622" y="1418"/>
                  </a:lnTo>
                  <a:lnTo>
                    <a:pt x="1630" y="1415"/>
                  </a:lnTo>
                  <a:lnTo>
                    <a:pt x="1653" y="1404"/>
                  </a:lnTo>
                  <a:lnTo>
                    <a:pt x="1676" y="1393"/>
                  </a:lnTo>
                  <a:lnTo>
                    <a:pt x="1699" y="1380"/>
                  </a:lnTo>
                  <a:lnTo>
                    <a:pt x="1724" y="1365"/>
                  </a:lnTo>
                  <a:lnTo>
                    <a:pt x="1545" y="1204"/>
                  </a:lnTo>
                  <a:lnTo>
                    <a:pt x="1523" y="1182"/>
                  </a:lnTo>
                  <a:lnTo>
                    <a:pt x="1506" y="1156"/>
                  </a:lnTo>
                  <a:lnTo>
                    <a:pt x="1491" y="1130"/>
                  </a:lnTo>
                  <a:lnTo>
                    <a:pt x="1481" y="1103"/>
                  </a:lnTo>
                  <a:lnTo>
                    <a:pt x="1475" y="1075"/>
                  </a:lnTo>
                  <a:lnTo>
                    <a:pt x="1474" y="1046"/>
                  </a:lnTo>
                  <a:lnTo>
                    <a:pt x="1476" y="1017"/>
                  </a:lnTo>
                  <a:lnTo>
                    <a:pt x="1484" y="988"/>
                  </a:lnTo>
                  <a:lnTo>
                    <a:pt x="1488" y="978"/>
                  </a:lnTo>
                  <a:lnTo>
                    <a:pt x="1493" y="969"/>
                  </a:lnTo>
                  <a:lnTo>
                    <a:pt x="1501" y="958"/>
                  </a:lnTo>
                  <a:lnTo>
                    <a:pt x="1512" y="946"/>
                  </a:lnTo>
                  <a:lnTo>
                    <a:pt x="1525" y="931"/>
                  </a:lnTo>
                  <a:lnTo>
                    <a:pt x="1541" y="913"/>
                  </a:lnTo>
                  <a:lnTo>
                    <a:pt x="1551" y="904"/>
                  </a:lnTo>
                  <a:lnTo>
                    <a:pt x="1561" y="892"/>
                  </a:lnTo>
                  <a:lnTo>
                    <a:pt x="1570" y="881"/>
                  </a:lnTo>
                  <a:lnTo>
                    <a:pt x="1579" y="871"/>
                  </a:lnTo>
                  <a:lnTo>
                    <a:pt x="1586" y="862"/>
                  </a:lnTo>
                  <a:lnTo>
                    <a:pt x="1588" y="840"/>
                  </a:lnTo>
                  <a:lnTo>
                    <a:pt x="1619" y="827"/>
                  </a:lnTo>
                  <a:lnTo>
                    <a:pt x="1636" y="818"/>
                  </a:lnTo>
                  <a:lnTo>
                    <a:pt x="1649" y="809"/>
                  </a:lnTo>
                  <a:lnTo>
                    <a:pt x="1659" y="800"/>
                  </a:lnTo>
                  <a:lnTo>
                    <a:pt x="1665" y="792"/>
                  </a:lnTo>
                  <a:lnTo>
                    <a:pt x="1669" y="784"/>
                  </a:lnTo>
                  <a:lnTo>
                    <a:pt x="1671" y="777"/>
                  </a:lnTo>
                  <a:lnTo>
                    <a:pt x="1672" y="757"/>
                  </a:lnTo>
                  <a:lnTo>
                    <a:pt x="1668" y="736"/>
                  </a:lnTo>
                  <a:lnTo>
                    <a:pt x="1661" y="714"/>
                  </a:lnTo>
                  <a:lnTo>
                    <a:pt x="1650" y="691"/>
                  </a:lnTo>
                  <a:lnTo>
                    <a:pt x="1637" y="667"/>
                  </a:lnTo>
                  <a:lnTo>
                    <a:pt x="1623" y="644"/>
                  </a:lnTo>
                  <a:lnTo>
                    <a:pt x="1607" y="621"/>
                  </a:lnTo>
                  <a:lnTo>
                    <a:pt x="1591" y="600"/>
                  </a:lnTo>
                  <a:lnTo>
                    <a:pt x="1575" y="581"/>
                  </a:lnTo>
                  <a:lnTo>
                    <a:pt x="1560" y="564"/>
                  </a:lnTo>
                  <a:lnTo>
                    <a:pt x="1546" y="550"/>
                  </a:lnTo>
                  <a:lnTo>
                    <a:pt x="1509" y="522"/>
                  </a:lnTo>
                  <a:lnTo>
                    <a:pt x="1472" y="500"/>
                  </a:lnTo>
                  <a:lnTo>
                    <a:pt x="1434" y="482"/>
                  </a:lnTo>
                  <a:lnTo>
                    <a:pt x="1396" y="470"/>
                  </a:lnTo>
                  <a:lnTo>
                    <a:pt x="1360" y="463"/>
                  </a:lnTo>
                  <a:lnTo>
                    <a:pt x="1323" y="460"/>
                  </a:lnTo>
                  <a:lnTo>
                    <a:pt x="1288" y="459"/>
                  </a:lnTo>
                  <a:close/>
                  <a:moveTo>
                    <a:pt x="1915" y="226"/>
                  </a:moveTo>
                  <a:lnTo>
                    <a:pt x="1916" y="227"/>
                  </a:lnTo>
                  <a:lnTo>
                    <a:pt x="1917" y="229"/>
                  </a:lnTo>
                  <a:lnTo>
                    <a:pt x="1931" y="244"/>
                  </a:lnTo>
                  <a:lnTo>
                    <a:pt x="1945" y="259"/>
                  </a:lnTo>
                  <a:lnTo>
                    <a:pt x="1958" y="274"/>
                  </a:lnTo>
                  <a:lnTo>
                    <a:pt x="1971" y="288"/>
                  </a:lnTo>
                  <a:lnTo>
                    <a:pt x="1976" y="294"/>
                  </a:lnTo>
                  <a:lnTo>
                    <a:pt x="1980" y="301"/>
                  </a:lnTo>
                  <a:lnTo>
                    <a:pt x="2019" y="351"/>
                  </a:lnTo>
                  <a:lnTo>
                    <a:pt x="2052" y="406"/>
                  </a:lnTo>
                  <a:lnTo>
                    <a:pt x="2080" y="461"/>
                  </a:lnTo>
                  <a:lnTo>
                    <a:pt x="2105" y="520"/>
                  </a:lnTo>
                  <a:lnTo>
                    <a:pt x="2125" y="580"/>
                  </a:lnTo>
                  <a:lnTo>
                    <a:pt x="2139" y="643"/>
                  </a:lnTo>
                  <a:lnTo>
                    <a:pt x="2149" y="706"/>
                  </a:lnTo>
                  <a:lnTo>
                    <a:pt x="2149" y="709"/>
                  </a:lnTo>
                  <a:lnTo>
                    <a:pt x="2149" y="711"/>
                  </a:lnTo>
                  <a:lnTo>
                    <a:pt x="2152" y="751"/>
                  </a:lnTo>
                  <a:lnTo>
                    <a:pt x="2153" y="793"/>
                  </a:lnTo>
                  <a:lnTo>
                    <a:pt x="2152" y="833"/>
                  </a:lnTo>
                  <a:lnTo>
                    <a:pt x="2149" y="873"/>
                  </a:lnTo>
                  <a:lnTo>
                    <a:pt x="2149" y="876"/>
                  </a:lnTo>
                  <a:lnTo>
                    <a:pt x="2148" y="879"/>
                  </a:lnTo>
                  <a:lnTo>
                    <a:pt x="2139" y="943"/>
                  </a:lnTo>
                  <a:lnTo>
                    <a:pt x="2124" y="1004"/>
                  </a:lnTo>
                  <a:lnTo>
                    <a:pt x="2105" y="1065"/>
                  </a:lnTo>
                  <a:lnTo>
                    <a:pt x="2080" y="1123"/>
                  </a:lnTo>
                  <a:lnTo>
                    <a:pt x="2051" y="1180"/>
                  </a:lnTo>
                  <a:lnTo>
                    <a:pt x="2019" y="1233"/>
                  </a:lnTo>
                  <a:lnTo>
                    <a:pt x="1980" y="1284"/>
                  </a:lnTo>
                  <a:lnTo>
                    <a:pt x="1976" y="1291"/>
                  </a:lnTo>
                  <a:lnTo>
                    <a:pt x="1971" y="1298"/>
                  </a:lnTo>
                  <a:lnTo>
                    <a:pt x="1945" y="1326"/>
                  </a:lnTo>
                  <a:lnTo>
                    <a:pt x="1931" y="1341"/>
                  </a:lnTo>
                  <a:lnTo>
                    <a:pt x="1917" y="1356"/>
                  </a:lnTo>
                  <a:lnTo>
                    <a:pt x="1916" y="1357"/>
                  </a:lnTo>
                  <a:lnTo>
                    <a:pt x="1915" y="1359"/>
                  </a:lnTo>
                  <a:lnTo>
                    <a:pt x="2268" y="1359"/>
                  </a:lnTo>
                  <a:lnTo>
                    <a:pt x="2274" y="1315"/>
                  </a:lnTo>
                  <a:lnTo>
                    <a:pt x="2285" y="1271"/>
                  </a:lnTo>
                  <a:lnTo>
                    <a:pt x="2301" y="1231"/>
                  </a:lnTo>
                  <a:lnTo>
                    <a:pt x="2321" y="1194"/>
                  </a:lnTo>
                  <a:lnTo>
                    <a:pt x="2347" y="1159"/>
                  </a:lnTo>
                  <a:lnTo>
                    <a:pt x="2375" y="1127"/>
                  </a:lnTo>
                  <a:lnTo>
                    <a:pt x="2406" y="1098"/>
                  </a:lnTo>
                  <a:lnTo>
                    <a:pt x="2442" y="1074"/>
                  </a:lnTo>
                  <a:lnTo>
                    <a:pt x="2480" y="1054"/>
                  </a:lnTo>
                  <a:lnTo>
                    <a:pt x="2520" y="1038"/>
                  </a:lnTo>
                  <a:lnTo>
                    <a:pt x="2563" y="1027"/>
                  </a:lnTo>
                  <a:lnTo>
                    <a:pt x="2607" y="1020"/>
                  </a:lnTo>
                  <a:lnTo>
                    <a:pt x="2607" y="565"/>
                  </a:lnTo>
                  <a:lnTo>
                    <a:pt x="2563" y="559"/>
                  </a:lnTo>
                  <a:lnTo>
                    <a:pt x="2520" y="548"/>
                  </a:lnTo>
                  <a:lnTo>
                    <a:pt x="2480" y="532"/>
                  </a:lnTo>
                  <a:lnTo>
                    <a:pt x="2442" y="512"/>
                  </a:lnTo>
                  <a:lnTo>
                    <a:pt x="2406" y="486"/>
                  </a:lnTo>
                  <a:lnTo>
                    <a:pt x="2375" y="458"/>
                  </a:lnTo>
                  <a:lnTo>
                    <a:pt x="2347" y="426"/>
                  </a:lnTo>
                  <a:lnTo>
                    <a:pt x="2321" y="392"/>
                  </a:lnTo>
                  <a:lnTo>
                    <a:pt x="2301" y="353"/>
                  </a:lnTo>
                  <a:lnTo>
                    <a:pt x="2285" y="313"/>
                  </a:lnTo>
                  <a:lnTo>
                    <a:pt x="2274" y="271"/>
                  </a:lnTo>
                  <a:lnTo>
                    <a:pt x="2268" y="226"/>
                  </a:lnTo>
                  <a:lnTo>
                    <a:pt x="1915" y="226"/>
                  </a:lnTo>
                  <a:close/>
                  <a:moveTo>
                    <a:pt x="452" y="226"/>
                  </a:moveTo>
                  <a:lnTo>
                    <a:pt x="446" y="271"/>
                  </a:lnTo>
                  <a:lnTo>
                    <a:pt x="434" y="313"/>
                  </a:lnTo>
                  <a:lnTo>
                    <a:pt x="418" y="353"/>
                  </a:lnTo>
                  <a:lnTo>
                    <a:pt x="398" y="392"/>
                  </a:lnTo>
                  <a:lnTo>
                    <a:pt x="373" y="426"/>
                  </a:lnTo>
                  <a:lnTo>
                    <a:pt x="345" y="458"/>
                  </a:lnTo>
                  <a:lnTo>
                    <a:pt x="313" y="486"/>
                  </a:lnTo>
                  <a:lnTo>
                    <a:pt x="278" y="512"/>
                  </a:lnTo>
                  <a:lnTo>
                    <a:pt x="240" y="532"/>
                  </a:lnTo>
                  <a:lnTo>
                    <a:pt x="199" y="548"/>
                  </a:lnTo>
                  <a:lnTo>
                    <a:pt x="157" y="559"/>
                  </a:lnTo>
                  <a:lnTo>
                    <a:pt x="113" y="565"/>
                  </a:lnTo>
                  <a:lnTo>
                    <a:pt x="113" y="1020"/>
                  </a:lnTo>
                  <a:lnTo>
                    <a:pt x="157" y="1027"/>
                  </a:lnTo>
                  <a:lnTo>
                    <a:pt x="199" y="1038"/>
                  </a:lnTo>
                  <a:lnTo>
                    <a:pt x="240" y="1054"/>
                  </a:lnTo>
                  <a:lnTo>
                    <a:pt x="278" y="1074"/>
                  </a:lnTo>
                  <a:lnTo>
                    <a:pt x="313" y="1098"/>
                  </a:lnTo>
                  <a:lnTo>
                    <a:pt x="345" y="1127"/>
                  </a:lnTo>
                  <a:lnTo>
                    <a:pt x="373" y="1159"/>
                  </a:lnTo>
                  <a:lnTo>
                    <a:pt x="398" y="1194"/>
                  </a:lnTo>
                  <a:lnTo>
                    <a:pt x="418" y="1231"/>
                  </a:lnTo>
                  <a:lnTo>
                    <a:pt x="434" y="1271"/>
                  </a:lnTo>
                  <a:lnTo>
                    <a:pt x="446" y="1315"/>
                  </a:lnTo>
                  <a:lnTo>
                    <a:pt x="452" y="1359"/>
                  </a:lnTo>
                  <a:lnTo>
                    <a:pt x="805" y="1359"/>
                  </a:lnTo>
                  <a:lnTo>
                    <a:pt x="804" y="1357"/>
                  </a:lnTo>
                  <a:lnTo>
                    <a:pt x="803" y="1356"/>
                  </a:lnTo>
                  <a:lnTo>
                    <a:pt x="775" y="1326"/>
                  </a:lnTo>
                  <a:lnTo>
                    <a:pt x="748" y="1298"/>
                  </a:lnTo>
                  <a:lnTo>
                    <a:pt x="743" y="1291"/>
                  </a:lnTo>
                  <a:lnTo>
                    <a:pt x="738" y="1284"/>
                  </a:lnTo>
                  <a:lnTo>
                    <a:pt x="701" y="1233"/>
                  </a:lnTo>
                  <a:lnTo>
                    <a:pt x="668" y="1180"/>
                  </a:lnTo>
                  <a:lnTo>
                    <a:pt x="639" y="1123"/>
                  </a:lnTo>
                  <a:lnTo>
                    <a:pt x="615" y="1065"/>
                  </a:lnTo>
                  <a:lnTo>
                    <a:pt x="595" y="1004"/>
                  </a:lnTo>
                  <a:lnTo>
                    <a:pt x="581" y="943"/>
                  </a:lnTo>
                  <a:lnTo>
                    <a:pt x="571" y="879"/>
                  </a:lnTo>
                  <a:lnTo>
                    <a:pt x="571" y="876"/>
                  </a:lnTo>
                  <a:lnTo>
                    <a:pt x="571" y="873"/>
                  </a:lnTo>
                  <a:lnTo>
                    <a:pt x="568" y="833"/>
                  </a:lnTo>
                  <a:lnTo>
                    <a:pt x="567" y="793"/>
                  </a:lnTo>
                  <a:lnTo>
                    <a:pt x="568" y="751"/>
                  </a:lnTo>
                  <a:lnTo>
                    <a:pt x="571" y="711"/>
                  </a:lnTo>
                  <a:lnTo>
                    <a:pt x="571" y="709"/>
                  </a:lnTo>
                  <a:lnTo>
                    <a:pt x="571" y="706"/>
                  </a:lnTo>
                  <a:lnTo>
                    <a:pt x="581" y="643"/>
                  </a:lnTo>
                  <a:lnTo>
                    <a:pt x="595" y="580"/>
                  </a:lnTo>
                  <a:lnTo>
                    <a:pt x="615" y="520"/>
                  </a:lnTo>
                  <a:lnTo>
                    <a:pt x="639" y="461"/>
                  </a:lnTo>
                  <a:lnTo>
                    <a:pt x="668" y="406"/>
                  </a:lnTo>
                  <a:lnTo>
                    <a:pt x="701" y="351"/>
                  </a:lnTo>
                  <a:lnTo>
                    <a:pt x="738" y="301"/>
                  </a:lnTo>
                  <a:lnTo>
                    <a:pt x="743" y="294"/>
                  </a:lnTo>
                  <a:lnTo>
                    <a:pt x="748" y="288"/>
                  </a:lnTo>
                  <a:lnTo>
                    <a:pt x="761" y="274"/>
                  </a:lnTo>
                  <a:lnTo>
                    <a:pt x="775" y="259"/>
                  </a:lnTo>
                  <a:lnTo>
                    <a:pt x="789" y="244"/>
                  </a:lnTo>
                  <a:lnTo>
                    <a:pt x="803" y="229"/>
                  </a:lnTo>
                  <a:lnTo>
                    <a:pt x="805" y="226"/>
                  </a:lnTo>
                  <a:lnTo>
                    <a:pt x="452" y="226"/>
                  </a:lnTo>
                  <a:close/>
                  <a:moveTo>
                    <a:pt x="1360" y="114"/>
                  </a:moveTo>
                  <a:lnTo>
                    <a:pt x="1303" y="116"/>
                  </a:lnTo>
                  <a:lnTo>
                    <a:pt x="1248" y="123"/>
                  </a:lnTo>
                  <a:lnTo>
                    <a:pt x="1193" y="134"/>
                  </a:lnTo>
                  <a:lnTo>
                    <a:pt x="1141" y="150"/>
                  </a:lnTo>
                  <a:lnTo>
                    <a:pt x="1090" y="169"/>
                  </a:lnTo>
                  <a:lnTo>
                    <a:pt x="1042" y="192"/>
                  </a:lnTo>
                  <a:lnTo>
                    <a:pt x="996" y="219"/>
                  </a:lnTo>
                  <a:lnTo>
                    <a:pt x="951" y="251"/>
                  </a:lnTo>
                  <a:lnTo>
                    <a:pt x="909" y="285"/>
                  </a:lnTo>
                  <a:lnTo>
                    <a:pt x="869" y="322"/>
                  </a:lnTo>
                  <a:lnTo>
                    <a:pt x="855" y="338"/>
                  </a:lnTo>
                  <a:lnTo>
                    <a:pt x="820" y="381"/>
                  </a:lnTo>
                  <a:lnTo>
                    <a:pt x="804" y="403"/>
                  </a:lnTo>
                  <a:lnTo>
                    <a:pt x="775" y="448"/>
                  </a:lnTo>
                  <a:lnTo>
                    <a:pt x="768" y="458"/>
                  </a:lnTo>
                  <a:lnTo>
                    <a:pt x="762" y="468"/>
                  </a:lnTo>
                  <a:lnTo>
                    <a:pt x="745" y="501"/>
                  </a:lnTo>
                  <a:lnTo>
                    <a:pt x="731" y="534"/>
                  </a:lnTo>
                  <a:lnTo>
                    <a:pt x="721" y="560"/>
                  </a:lnTo>
                  <a:lnTo>
                    <a:pt x="706" y="608"/>
                  </a:lnTo>
                  <a:lnTo>
                    <a:pt x="699" y="637"/>
                  </a:lnTo>
                  <a:lnTo>
                    <a:pt x="689" y="688"/>
                  </a:lnTo>
                  <a:lnTo>
                    <a:pt x="685" y="713"/>
                  </a:lnTo>
                  <a:lnTo>
                    <a:pt x="681" y="752"/>
                  </a:lnTo>
                  <a:lnTo>
                    <a:pt x="680" y="793"/>
                  </a:lnTo>
                  <a:lnTo>
                    <a:pt x="681" y="832"/>
                  </a:lnTo>
                  <a:lnTo>
                    <a:pt x="685" y="871"/>
                  </a:lnTo>
                  <a:lnTo>
                    <a:pt x="689" y="897"/>
                  </a:lnTo>
                  <a:lnTo>
                    <a:pt x="699" y="949"/>
                  </a:lnTo>
                  <a:lnTo>
                    <a:pt x="706" y="977"/>
                  </a:lnTo>
                  <a:lnTo>
                    <a:pt x="722" y="1025"/>
                  </a:lnTo>
                  <a:lnTo>
                    <a:pt x="726" y="1039"/>
                  </a:lnTo>
                  <a:lnTo>
                    <a:pt x="731" y="1051"/>
                  </a:lnTo>
                  <a:lnTo>
                    <a:pt x="746" y="1084"/>
                  </a:lnTo>
                  <a:lnTo>
                    <a:pt x="762" y="1117"/>
                  </a:lnTo>
                  <a:lnTo>
                    <a:pt x="768" y="1127"/>
                  </a:lnTo>
                  <a:lnTo>
                    <a:pt x="775" y="1136"/>
                  </a:lnTo>
                  <a:lnTo>
                    <a:pt x="789" y="1160"/>
                  </a:lnTo>
                  <a:lnTo>
                    <a:pt x="804" y="1182"/>
                  </a:lnTo>
                  <a:lnTo>
                    <a:pt x="821" y="1205"/>
                  </a:lnTo>
                  <a:lnTo>
                    <a:pt x="837" y="1226"/>
                  </a:lnTo>
                  <a:lnTo>
                    <a:pt x="855" y="1246"/>
                  </a:lnTo>
                  <a:lnTo>
                    <a:pt x="870" y="1262"/>
                  </a:lnTo>
                  <a:lnTo>
                    <a:pt x="888" y="1279"/>
                  </a:lnTo>
                  <a:lnTo>
                    <a:pt x="905" y="1295"/>
                  </a:lnTo>
                  <a:lnTo>
                    <a:pt x="1099" y="1118"/>
                  </a:lnTo>
                  <a:lnTo>
                    <a:pt x="1114" y="1103"/>
                  </a:lnTo>
                  <a:lnTo>
                    <a:pt x="1125" y="1086"/>
                  </a:lnTo>
                  <a:lnTo>
                    <a:pt x="1131" y="1069"/>
                  </a:lnTo>
                  <a:lnTo>
                    <a:pt x="1133" y="1051"/>
                  </a:lnTo>
                  <a:lnTo>
                    <a:pt x="1131" y="1033"/>
                  </a:lnTo>
                  <a:lnTo>
                    <a:pt x="1127" y="1029"/>
                  </a:lnTo>
                  <a:lnTo>
                    <a:pt x="1122" y="1024"/>
                  </a:lnTo>
                  <a:lnTo>
                    <a:pt x="1117" y="1019"/>
                  </a:lnTo>
                  <a:lnTo>
                    <a:pt x="1104" y="1009"/>
                  </a:lnTo>
                  <a:lnTo>
                    <a:pt x="1090" y="997"/>
                  </a:lnTo>
                  <a:lnTo>
                    <a:pt x="1076" y="982"/>
                  </a:lnTo>
                  <a:lnTo>
                    <a:pt x="1062" y="966"/>
                  </a:lnTo>
                  <a:lnTo>
                    <a:pt x="1049" y="948"/>
                  </a:lnTo>
                  <a:lnTo>
                    <a:pt x="1037" y="927"/>
                  </a:lnTo>
                  <a:lnTo>
                    <a:pt x="1028" y="904"/>
                  </a:lnTo>
                  <a:lnTo>
                    <a:pt x="1022" y="877"/>
                  </a:lnTo>
                  <a:lnTo>
                    <a:pt x="1020" y="849"/>
                  </a:lnTo>
                  <a:lnTo>
                    <a:pt x="1022" y="810"/>
                  </a:lnTo>
                  <a:lnTo>
                    <a:pt x="1029" y="772"/>
                  </a:lnTo>
                  <a:lnTo>
                    <a:pt x="1040" y="733"/>
                  </a:lnTo>
                  <a:lnTo>
                    <a:pt x="1055" y="698"/>
                  </a:lnTo>
                  <a:lnTo>
                    <a:pt x="1075" y="664"/>
                  </a:lnTo>
                  <a:lnTo>
                    <a:pt x="1060" y="641"/>
                  </a:lnTo>
                  <a:lnTo>
                    <a:pt x="1048" y="614"/>
                  </a:lnTo>
                  <a:lnTo>
                    <a:pt x="1038" y="586"/>
                  </a:lnTo>
                  <a:lnTo>
                    <a:pt x="1029" y="558"/>
                  </a:lnTo>
                  <a:lnTo>
                    <a:pt x="1023" y="530"/>
                  </a:lnTo>
                  <a:lnTo>
                    <a:pt x="1019" y="503"/>
                  </a:lnTo>
                  <a:lnTo>
                    <a:pt x="1018" y="477"/>
                  </a:lnTo>
                  <a:lnTo>
                    <a:pt x="1019" y="455"/>
                  </a:lnTo>
                  <a:lnTo>
                    <a:pt x="1022" y="437"/>
                  </a:lnTo>
                  <a:lnTo>
                    <a:pt x="1029" y="414"/>
                  </a:lnTo>
                  <a:lnTo>
                    <a:pt x="1050" y="403"/>
                  </a:lnTo>
                  <a:lnTo>
                    <a:pt x="1055" y="401"/>
                  </a:lnTo>
                  <a:lnTo>
                    <a:pt x="1063" y="397"/>
                  </a:lnTo>
                  <a:lnTo>
                    <a:pt x="1076" y="391"/>
                  </a:lnTo>
                  <a:lnTo>
                    <a:pt x="1093" y="384"/>
                  </a:lnTo>
                  <a:lnTo>
                    <a:pt x="1115" y="377"/>
                  </a:lnTo>
                  <a:lnTo>
                    <a:pt x="1139" y="370"/>
                  </a:lnTo>
                  <a:lnTo>
                    <a:pt x="1166" y="362"/>
                  </a:lnTo>
                  <a:lnTo>
                    <a:pt x="1195" y="355"/>
                  </a:lnTo>
                  <a:lnTo>
                    <a:pt x="1228" y="350"/>
                  </a:lnTo>
                  <a:lnTo>
                    <a:pt x="1263" y="347"/>
                  </a:lnTo>
                  <a:lnTo>
                    <a:pt x="1299" y="345"/>
                  </a:lnTo>
                  <a:lnTo>
                    <a:pt x="1338" y="347"/>
                  </a:lnTo>
                  <a:lnTo>
                    <a:pt x="1377" y="351"/>
                  </a:lnTo>
                  <a:lnTo>
                    <a:pt x="1417" y="359"/>
                  </a:lnTo>
                  <a:lnTo>
                    <a:pt x="1458" y="371"/>
                  </a:lnTo>
                  <a:lnTo>
                    <a:pt x="1500" y="387"/>
                  </a:lnTo>
                  <a:lnTo>
                    <a:pt x="1541" y="408"/>
                  </a:lnTo>
                  <a:lnTo>
                    <a:pt x="1583" y="435"/>
                  </a:lnTo>
                  <a:lnTo>
                    <a:pt x="1624" y="466"/>
                  </a:lnTo>
                  <a:lnTo>
                    <a:pt x="1630" y="472"/>
                  </a:lnTo>
                  <a:lnTo>
                    <a:pt x="1639" y="482"/>
                  </a:lnTo>
                  <a:lnTo>
                    <a:pt x="1651" y="495"/>
                  </a:lnTo>
                  <a:lnTo>
                    <a:pt x="1665" y="512"/>
                  </a:lnTo>
                  <a:lnTo>
                    <a:pt x="1681" y="530"/>
                  </a:lnTo>
                  <a:lnTo>
                    <a:pt x="1697" y="551"/>
                  </a:lnTo>
                  <a:lnTo>
                    <a:pt x="1713" y="574"/>
                  </a:lnTo>
                  <a:lnTo>
                    <a:pt x="1729" y="599"/>
                  </a:lnTo>
                  <a:lnTo>
                    <a:pt x="1744" y="625"/>
                  </a:lnTo>
                  <a:lnTo>
                    <a:pt x="1757" y="653"/>
                  </a:lnTo>
                  <a:lnTo>
                    <a:pt x="1768" y="681"/>
                  </a:lnTo>
                  <a:lnTo>
                    <a:pt x="1778" y="710"/>
                  </a:lnTo>
                  <a:lnTo>
                    <a:pt x="1783" y="739"/>
                  </a:lnTo>
                  <a:lnTo>
                    <a:pt x="1785" y="769"/>
                  </a:lnTo>
                  <a:lnTo>
                    <a:pt x="1782" y="798"/>
                  </a:lnTo>
                  <a:lnTo>
                    <a:pt x="1778" y="815"/>
                  </a:lnTo>
                  <a:lnTo>
                    <a:pt x="1771" y="833"/>
                  </a:lnTo>
                  <a:lnTo>
                    <a:pt x="1761" y="851"/>
                  </a:lnTo>
                  <a:lnTo>
                    <a:pt x="1748" y="870"/>
                  </a:lnTo>
                  <a:lnTo>
                    <a:pt x="1731" y="888"/>
                  </a:lnTo>
                  <a:lnTo>
                    <a:pt x="1709" y="906"/>
                  </a:lnTo>
                  <a:lnTo>
                    <a:pt x="1682" y="922"/>
                  </a:lnTo>
                  <a:lnTo>
                    <a:pt x="1673" y="935"/>
                  </a:lnTo>
                  <a:lnTo>
                    <a:pt x="1661" y="950"/>
                  </a:lnTo>
                  <a:lnTo>
                    <a:pt x="1644" y="968"/>
                  </a:lnTo>
                  <a:lnTo>
                    <a:pt x="1625" y="989"/>
                  </a:lnTo>
                  <a:lnTo>
                    <a:pt x="1615" y="999"/>
                  </a:lnTo>
                  <a:lnTo>
                    <a:pt x="1605" y="1010"/>
                  </a:lnTo>
                  <a:lnTo>
                    <a:pt x="1596" y="1020"/>
                  </a:lnTo>
                  <a:lnTo>
                    <a:pt x="1590" y="1029"/>
                  </a:lnTo>
                  <a:lnTo>
                    <a:pt x="1588" y="1037"/>
                  </a:lnTo>
                  <a:lnTo>
                    <a:pt x="1588" y="1058"/>
                  </a:lnTo>
                  <a:lnTo>
                    <a:pt x="1594" y="1080"/>
                  </a:lnTo>
                  <a:lnTo>
                    <a:pt x="1605" y="1101"/>
                  </a:lnTo>
                  <a:lnTo>
                    <a:pt x="1622" y="1120"/>
                  </a:lnTo>
                  <a:lnTo>
                    <a:pt x="1815" y="1296"/>
                  </a:lnTo>
                  <a:lnTo>
                    <a:pt x="1832" y="1279"/>
                  </a:lnTo>
                  <a:lnTo>
                    <a:pt x="1849" y="1262"/>
                  </a:lnTo>
                  <a:lnTo>
                    <a:pt x="1864" y="1246"/>
                  </a:lnTo>
                  <a:lnTo>
                    <a:pt x="1899" y="1205"/>
                  </a:lnTo>
                  <a:lnTo>
                    <a:pt x="1916" y="1183"/>
                  </a:lnTo>
                  <a:lnTo>
                    <a:pt x="1931" y="1160"/>
                  </a:lnTo>
                  <a:lnTo>
                    <a:pt x="1945" y="1137"/>
                  </a:lnTo>
                  <a:lnTo>
                    <a:pt x="1957" y="1117"/>
                  </a:lnTo>
                  <a:lnTo>
                    <a:pt x="1973" y="1085"/>
                  </a:lnTo>
                  <a:lnTo>
                    <a:pt x="1988" y="1052"/>
                  </a:lnTo>
                  <a:lnTo>
                    <a:pt x="1998" y="1025"/>
                  </a:lnTo>
                  <a:lnTo>
                    <a:pt x="2007" y="1001"/>
                  </a:lnTo>
                  <a:lnTo>
                    <a:pt x="2014" y="977"/>
                  </a:lnTo>
                  <a:lnTo>
                    <a:pt x="2021" y="949"/>
                  </a:lnTo>
                  <a:lnTo>
                    <a:pt x="2031" y="897"/>
                  </a:lnTo>
                  <a:lnTo>
                    <a:pt x="2035" y="871"/>
                  </a:lnTo>
                  <a:lnTo>
                    <a:pt x="2039" y="832"/>
                  </a:lnTo>
                  <a:lnTo>
                    <a:pt x="2040" y="793"/>
                  </a:lnTo>
                  <a:lnTo>
                    <a:pt x="2039" y="752"/>
                  </a:lnTo>
                  <a:lnTo>
                    <a:pt x="2035" y="713"/>
                  </a:lnTo>
                  <a:lnTo>
                    <a:pt x="2031" y="688"/>
                  </a:lnTo>
                  <a:lnTo>
                    <a:pt x="2021" y="637"/>
                  </a:lnTo>
                  <a:lnTo>
                    <a:pt x="2014" y="608"/>
                  </a:lnTo>
                  <a:lnTo>
                    <a:pt x="1998" y="560"/>
                  </a:lnTo>
                  <a:lnTo>
                    <a:pt x="1988" y="534"/>
                  </a:lnTo>
                  <a:lnTo>
                    <a:pt x="1973" y="501"/>
                  </a:lnTo>
                  <a:lnTo>
                    <a:pt x="1957" y="468"/>
                  </a:lnTo>
                  <a:lnTo>
                    <a:pt x="1951" y="458"/>
                  </a:lnTo>
                  <a:lnTo>
                    <a:pt x="1945" y="448"/>
                  </a:lnTo>
                  <a:lnTo>
                    <a:pt x="1916" y="403"/>
                  </a:lnTo>
                  <a:lnTo>
                    <a:pt x="1899" y="381"/>
                  </a:lnTo>
                  <a:lnTo>
                    <a:pt x="1864" y="338"/>
                  </a:lnTo>
                  <a:lnTo>
                    <a:pt x="1849" y="322"/>
                  </a:lnTo>
                  <a:lnTo>
                    <a:pt x="1811" y="285"/>
                  </a:lnTo>
                  <a:lnTo>
                    <a:pt x="1768" y="251"/>
                  </a:lnTo>
                  <a:lnTo>
                    <a:pt x="1723" y="219"/>
                  </a:lnTo>
                  <a:lnTo>
                    <a:pt x="1677" y="192"/>
                  </a:lnTo>
                  <a:lnTo>
                    <a:pt x="1628" y="169"/>
                  </a:lnTo>
                  <a:lnTo>
                    <a:pt x="1578" y="150"/>
                  </a:lnTo>
                  <a:lnTo>
                    <a:pt x="1526" y="134"/>
                  </a:lnTo>
                  <a:lnTo>
                    <a:pt x="1472" y="123"/>
                  </a:lnTo>
                  <a:lnTo>
                    <a:pt x="1416" y="116"/>
                  </a:lnTo>
                  <a:lnTo>
                    <a:pt x="1360" y="114"/>
                  </a:lnTo>
                  <a:close/>
                  <a:moveTo>
                    <a:pt x="1360" y="0"/>
                  </a:moveTo>
                  <a:lnTo>
                    <a:pt x="1422" y="3"/>
                  </a:lnTo>
                  <a:lnTo>
                    <a:pt x="1485" y="10"/>
                  </a:lnTo>
                  <a:lnTo>
                    <a:pt x="1544" y="22"/>
                  </a:lnTo>
                  <a:lnTo>
                    <a:pt x="1603" y="39"/>
                  </a:lnTo>
                  <a:lnTo>
                    <a:pt x="1660" y="59"/>
                  </a:lnTo>
                  <a:lnTo>
                    <a:pt x="1714" y="84"/>
                  </a:lnTo>
                  <a:lnTo>
                    <a:pt x="1766" y="114"/>
                  </a:lnTo>
                  <a:lnTo>
                    <a:pt x="2387" y="114"/>
                  </a:lnTo>
                  <a:lnTo>
                    <a:pt x="2381" y="175"/>
                  </a:lnTo>
                  <a:lnTo>
                    <a:pt x="2380" y="198"/>
                  </a:lnTo>
                  <a:lnTo>
                    <a:pt x="2383" y="236"/>
                  </a:lnTo>
                  <a:lnTo>
                    <a:pt x="2391" y="272"/>
                  </a:lnTo>
                  <a:lnTo>
                    <a:pt x="2404" y="305"/>
                  </a:lnTo>
                  <a:lnTo>
                    <a:pt x="2421" y="336"/>
                  </a:lnTo>
                  <a:lnTo>
                    <a:pt x="2443" y="365"/>
                  </a:lnTo>
                  <a:lnTo>
                    <a:pt x="2468" y="391"/>
                  </a:lnTo>
                  <a:lnTo>
                    <a:pt x="2496" y="412"/>
                  </a:lnTo>
                  <a:lnTo>
                    <a:pt x="2527" y="429"/>
                  </a:lnTo>
                  <a:lnTo>
                    <a:pt x="2562" y="442"/>
                  </a:lnTo>
                  <a:lnTo>
                    <a:pt x="2597" y="450"/>
                  </a:lnTo>
                  <a:lnTo>
                    <a:pt x="2635" y="453"/>
                  </a:lnTo>
                  <a:lnTo>
                    <a:pt x="2659" y="451"/>
                  </a:lnTo>
                  <a:lnTo>
                    <a:pt x="2720" y="446"/>
                  </a:lnTo>
                  <a:lnTo>
                    <a:pt x="2720" y="1138"/>
                  </a:lnTo>
                  <a:lnTo>
                    <a:pt x="2659" y="1133"/>
                  </a:lnTo>
                  <a:lnTo>
                    <a:pt x="2635" y="1132"/>
                  </a:lnTo>
                  <a:lnTo>
                    <a:pt x="2597" y="1134"/>
                  </a:lnTo>
                  <a:lnTo>
                    <a:pt x="2562" y="1142"/>
                  </a:lnTo>
                  <a:lnTo>
                    <a:pt x="2527" y="1155"/>
                  </a:lnTo>
                  <a:lnTo>
                    <a:pt x="2496" y="1173"/>
                  </a:lnTo>
                  <a:lnTo>
                    <a:pt x="2468" y="1195"/>
                  </a:lnTo>
                  <a:lnTo>
                    <a:pt x="2443" y="1220"/>
                  </a:lnTo>
                  <a:lnTo>
                    <a:pt x="2421" y="1248"/>
                  </a:lnTo>
                  <a:lnTo>
                    <a:pt x="2404" y="1279"/>
                  </a:lnTo>
                  <a:lnTo>
                    <a:pt x="2391" y="1314"/>
                  </a:lnTo>
                  <a:lnTo>
                    <a:pt x="2383" y="1349"/>
                  </a:lnTo>
                  <a:lnTo>
                    <a:pt x="2380" y="1386"/>
                  </a:lnTo>
                  <a:lnTo>
                    <a:pt x="2381" y="1410"/>
                  </a:lnTo>
                  <a:lnTo>
                    <a:pt x="2387" y="1472"/>
                  </a:lnTo>
                  <a:lnTo>
                    <a:pt x="1766" y="1472"/>
                  </a:lnTo>
                  <a:lnTo>
                    <a:pt x="1763" y="1474"/>
                  </a:lnTo>
                  <a:lnTo>
                    <a:pt x="1760" y="1476"/>
                  </a:lnTo>
                  <a:lnTo>
                    <a:pt x="1725" y="1495"/>
                  </a:lnTo>
                  <a:lnTo>
                    <a:pt x="1699" y="1508"/>
                  </a:lnTo>
                  <a:lnTo>
                    <a:pt x="1673" y="1520"/>
                  </a:lnTo>
                  <a:lnTo>
                    <a:pt x="1653" y="1528"/>
                  </a:lnTo>
                  <a:lnTo>
                    <a:pt x="1604" y="1546"/>
                  </a:lnTo>
                  <a:lnTo>
                    <a:pt x="1583" y="1552"/>
                  </a:lnTo>
                  <a:lnTo>
                    <a:pt x="1532" y="1566"/>
                  </a:lnTo>
                  <a:lnTo>
                    <a:pt x="1509" y="1571"/>
                  </a:lnTo>
                  <a:lnTo>
                    <a:pt x="1457" y="1579"/>
                  </a:lnTo>
                  <a:lnTo>
                    <a:pt x="1435" y="1581"/>
                  </a:lnTo>
                  <a:lnTo>
                    <a:pt x="1397" y="1584"/>
                  </a:lnTo>
                  <a:lnTo>
                    <a:pt x="1360" y="1585"/>
                  </a:lnTo>
                  <a:lnTo>
                    <a:pt x="1322" y="1584"/>
                  </a:lnTo>
                  <a:lnTo>
                    <a:pt x="1285" y="1581"/>
                  </a:lnTo>
                  <a:lnTo>
                    <a:pt x="1263" y="1579"/>
                  </a:lnTo>
                  <a:lnTo>
                    <a:pt x="1237" y="1575"/>
                  </a:lnTo>
                  <a:lnTo>
                    <a:pt x="1210" y="1571"/>
                  </a:lnTo>
                  <a:lnTo>
                    <a:pt x="1187" y="1566"/>
                  </a:lnTo>
                  <a:lnTo>
                    <a:pt x="1137" y="1552"/>
                  </a:lnTo>
                  <a:lnTo>
                    <a:pt x="1116" y="1546"/>
                  </a:lnTo>
                  <a:lnTo>
                    <a:pt x="1066" y="1528"/>
                  </a:lnTo>
                  <a:lnTo>
                    <a:pt x="1047" y="1520"/>
                  </a:lnTo>
                  <a:lnTo>
                    <a:pt x="1021" y="1508"/>
                  </a:lnTo>
                  <a:lnTo>
                    <a:pt x="995" y="1495"/>
                  </a:lnTo>
                  <a:lnTo>
                    <a:pt x="959" y="1476"/>
                  </a:lnTo>
                  <a:lnTo>
                    <a:pt x="956" y="1474"/>
                  </a:lnTo>
                  <a:lnTo>
                    <a:pt x="953" y="1472"/>
                  </a:lnTo>
                  <a:lnTo>
                    <a:pt x="333" y="1472"/>
                  </a:lnTo>
                  <a:lnTo>
                    <a:pt x="339" y="1410"/>
                  </a:lnTo>
                  <a:lnTo>
                    <a:pt x="340" y="1386"/>
                  </a:lnTo>
                  <a:lnTo>
                    <a:pt x="337" y="1349"/>
                  </a:lnTo>
                  <a:lnTo>
                    <a:pt x="329" y="1314"/>
                  </a:lnTo>
                  <a:lnTo>
                    <a:pt x="315" y="1279"/>
                  </a:lnTo>
                  <a:lnTo>
                    <a:pt x="298" y="1248"/>
                  </a:lnTo>
                  <a:lnTo>
                    <a:pt x="277" y="1220"/>
                  </a:lnTo>
                  <a:lnTo>
                    <a:pt x="252" y="1195"/>
                  </a:lnTo>
                  <a:lnTo>
                    <a:pt x="224" y="1173"/>
                  </a:lnTo>
                  <a:lnTo>
                    <a:pt x="192" y="1155"/>
                  </a:lnTo>
                  <a:lnTo>
                    <a:pt x="158" y="1142"/>
                  </a:lnTo>
                  <a:lnTo>
                    <a:pt x="122" y="1134"/>
                  </a:lnTo>
                  <a:lnTo>
                    <a:pt x="84" y="1132"/>
                  </a:lnTo>
                  <a:lnTo>
                    <a:pt x="61" y="1133"/>
                  </a:lnTo>
                  <a:lnTo>
                    <a:pt x="0" y="1138"/>
                  </a:lnTo>
                  <a:lnTo>
                    <a:pt x="0" y="446"/>
                  </a:lnTo>
                  <a:lnTo>
                    <a:pt x="61" y="451"/>
                  </a:lnTo>
                  <a:lnTo>
                    <a:pt x="84" y="453"/>
                  </a:lnTo>
                  <a:lnTo>
                    <a:pt x="122" y="450"/>
                  </a:lnTo>
                  <a:lnTo>
                    <a:pt x="158" y="442"/>
                  </a:lnTo>
                  <a:lnTo>
                    <a:pt x="192" y="429"/>
                  </a:lnTo>
                  <a:lnTo>
                    <a:pt x="224" y="412"/>
                  </a:lnTo>
                  <a:lnTo>
                    <a:pt x="252" y="391"/>
                  </a:lnTo>
                  <a:lnTo>
                    <a:pt x="277" y="365"/>
                  </a:lnTo>
                  <a:lnTo>
                    <a:pt x="298" y="336"/>
                  </a:lnTo>
                  <a:lnTo>
                    <a:pt x="315" y="305"/>
                  </a:lnTo>
                  <a:lnTo>
                    <a:pt x="329" y="272"/>
                  </a:lnTo>
                  <a:lnTo>
                    <a:pt x="337" y="236"/>
                  </a:lnTo>
                  <a:lnTo>
                    <a:pt x="340" y="198"/>
                  </a:lnTo>
                  <a:lnTo>
                    <a:pt x="339" y="175"/>
                  </a:lnTo>
                  <a:lnTo>
                    <a:pt x="333" y="114"/>
                  </a:lnTo>
                  <a:lnTo>
                    <a:pt x="953" y="114"/>
                  </a:lnTo>
                  <a:lnTo>
                    <a:pt x="1006" y="84"/>
                  </a:lnTo>
                  <a:lnTo>
                    <a:pt x="1060" y="59"/>
                  </a:lnTo>
                  <a:lnTo>
                    <a:pt x="1117" y="39"/>
                  </a:lnTo>
                  <a:lnTo>
                    <a:pt x="1175" y="22"/>
                  </a:lnTo>
                  <a:lnTo>
                    <a:pt x="1235" y="10"/>
                  </a:lnTo>
                  <a:lnTo>
                    <a:pt x="1296" y="3"/>
                  </a:lnTo>
                  <a:lnTo>
                    <a:pt x="136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779465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343467"/>
                </a:solidFill>
              </a:rPr>
              <a:t>Trends in TA projects provision and criticism of it</a:t>
            </a:r>
            <a:endParaRPr lang="ru-RU" dirty="0">
              <a:solidFill>
                <a:srgbClr val="343467"/>
              </a:solidFill>
            </a:endParaRPr>
          </a:p>
        </p:txBody>
      </p:sp>
      <p:sp>
        <p:nvSpPr>
          <p:cNvPr id="5" name="Дата 4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idx="16"/>
          </p:nvPr>
        </p:nvSpPr>
        <p:spPr/>
        <p:txBody>
          <a:bodyPr/>
          <a:lstStyle/>
          <a:p>
            <a:r>
              <a:rPr lang="en-US" smtClean="0"/>
              <a:t>Footer goes here</a:t>
            </a:r>
            <a:endParaRPr lang="en-US" dirty="0" smtClean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idx="17"/>
          </p:nvPr>
        </p:nvSpPr>
        <p:spPr/>
        <p:txBody>
          <a:bodyPr/>
          <a:lstStyle/>
          <a:p>
            <a:fld id="{00000000-1234-1234-1234-123412341234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8" name="Текст 11"/>
          <p:cNvSpPr txBox="1">
            <a:spLocks/>
          </p:cNvSpPr>
          <p:nvPr/>
        </p:nvSpPr>
        <p:spPr>
          <a:xfrm>
            <a:off x="306386" y="1396794"/>
            <a:ext cx="5473700" cy="46513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/>
              <a:defRPr sz="1800" b="0" i="0" u="none" strike="noStrike" cap="none">
                <a:solidFill>
                  <a:srgbClr val="000000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  <a:sym typeface="Arial"/>
              </a:defRPr>
            </a:lvl1pPr>
            <a:lvl2pPr marL="0" marR="0" lvl="1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285750" marR="0" lvl="2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800" b="0" i="0" u="none" strike="noStrike" cap="none">
                <a:solidFill>
                  <a:srgbClr val="000000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  <a:sym typeface="Arial"/>
              </a:defRPr>
            </a:lvl3pPr>
            <a:lvl4pPr marL="285750" marR="0" lvl="3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38163" marR="0" lvl="4" indent="-25558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­"/>
              <a:defRPr sz="1800" b="0" i="0" u="none" strike="noStrike" cap="none">
                <a:solidFill>
                  <a:srgbClr val="000000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  <a:sym typeface="Arial"/>
              </a:defRPr>
            </a:lvl5pPr>
            <a:lvl6pPr marL="285750" marR="0" lvl="5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 dirty="0" smtClean="0">
                <a:solidFill>
                  <a:schemeClr val="bg2"/>
                </a:solidFill>
              </a:rPr>
              <a:t>Trends in TA provision</a:t>
            </a:r>
            <a:endParaRPr lang="ru-RU" dirty="0">
              <a:solidFill>
                <a:schemeClr val="bg2"/>
              </a:solidFill>
            </a:endParaRPr>
          </a:p>
        </p:txBody>
      </p:sp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1576547639"/>
              </p:ext>
            </p:extLst>
          </p:nvPr>
        </p:nvGraphicFramePr>
        <p:xfrm>
          <a:off x="-343430" y="1742946"/>
          <a:ext cx="6773331" cy="44292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0" name="Схема 9"/>
          <p:cNvGraphicFramePr/>
          <p:nvPr>
            <p:extLst>
              <p:ext uri="{D42A27DB-BD31-4B8C-83A1-F6EECF244321}">
                <p14:modId xmlns:p14="http://schemas.microsoft.com/office/powerpoint/2010/main" val="4155101023"/>
              </p:ext>
            </p:extLst>
          </p:nvPr>
        </p:nvGraphicFramePr>
        <p:xfrm>
          <a:off x="5453240" y="1555245"/>
          <a:ext cx="6295956" cy="47117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9635122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es and TA Tools </a:t>
            </a:r>
            <a:r>
              <a:rPr lang="en-US" dirty="0" smtClean="0"/>
              <a:t>used </a:t>
            </a:r>
            <a:r>
              <a:rPr lang="en-US" dirty="0"/>
              <a:t>by </a:t>
            </a:r>
            <a:r>
              <a:rPr lang="en-US" dirty="0" smtClean="0"/>
              <a:t>IFIs and Development Agencies</a:t>
            </a:r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idx="16"/>
          </p:nvPr>
        </p:nvSpPr>
        <p:spPr/>
        <p:txBody>
          <a:bodyPr/>
          <a:lstStyle/>
          <a:p>
            <a:r>
              <a:rPr lang="en-US" smtClean="0"/>
              <a:t>Footer goes here</a:t>
            </a:r>
            <a:endParaRPr lang="en-US" dirty="0" smtClean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idx="17"/>
          </p:nvPr>
        </p:nvSpPr>
        <p:spPr/>
        <p:txBody>
          <a:bodyPr/>
          <a:lstStyle/>
          <a:p>
            <a:fld id="{00000000-1234-1234-1234-123412341234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9" name="Текст 6"/>
          <p:cNvSpPr txBox="1">
            <a:spLocks/>
          </p:cNvSpPr>
          <p:nvPr/>
        </p:nvSpPr>
        <p:spPr>
          <a:xfrm>
            <a:off x="442913" y="1424167"/>
            <a:ext cx="11306176" cy="1814238"/>
          </a:xfrm>
          <a:prstGeom prst="rect">
            <a:avLst/>
          </a:prstGeom>
          <a:gradFill flip="none" rotWithShape="1">
            <a:gsLst>
              <a:gs pos="0">
                <a:srgbClr val="7F9ACA">
                  <a:tint val="66000"/>
                  <a:satMod val="160000"/>
                </a:srgbClr>
              </a:gs>
              <a:gs pos="50000">
                <a:srgbClr val="7F9ACA">
                  <a:tint val="44500"/>
                  <a:satMod val="160000"/>
                </a:srgbClr>
              </a:gs>
              <a:gs pos="100000">
                <a:srgbClr val="7F9ACA">
                  <a:tint val="23500"/>
                  <a:satMod val="160000"/>
                </a:srgbClr>
              </a:gs>
            </a:gsLst>
            <a:lin ang="5400000" scaled="1"/>
            <a:tileRect/>
          </a:gradFill>
        </p:spPr>
        <p:txBody>
          <a:bodyPr vert="horz" lIns="180000" tIns="180000" rIns="180000" bIns="180000" rtlCol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/>
              <a:defRPr sz="1800" b="0" i="0" u="none" strike="noStrike" cap="none">
                <a:solidFill>
                  <a:srgbClr val="000000"/>
                </a:solidFill>
                <a:latin typeface="+mn-lt"/>
                <a:ea typeface="Source Sans Pro" panose="020B0503030403020204" pitchFamily="34" charset="0"/>
                <a:cs typeface="Arial"/>
                <a:sym typeface="Arial"/>
              </a:defRPr>
            </a:lvl1pPr>
            <a:lvl2pPr marL="0" marR="0" lvl="1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00" b="0" i="0" u="none" strike="noStrike" cap="none">
                <a:solidFill>
                  <a:srgbClr val="000000"/>
                </a:solidFill>
                <a:latin typeface="+mn-lt"/>
                <a:ea typeface="Arial"/>
                <a:cs typeface="Arial"/>
                <a:sym typeface="Arial"/>
              </a:defRPr>
            </a:lvl2pPr>
            <a:lvl3pPr marL="285750" marR="0" lvl="2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800" b="0" i="0" u="none" strike="noStrike" cap="none">
                <a:solidFill>
                  <a:srgbClr val="000000"/>
                </a:solidFill>
                <a:latin typeface="+mn-lt"/>
                <a:ea typeface="Source Sans Pro" panose="020B0503030403020204" pitchFamily="34" charset="0"/>
                <a:cs typeface="Arial"/>
                <a:sym typeface="Arial"/>
              </a:defRPr>
            </a:lvl3pPr>
            <a:lvl4pPr marL="285750" marR="0" lvl="3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800" b="0" i="0" u="none" strike="noStrike" cap="none">
                <a:solidFill>
                  <a:srgbClr val="000000"/>
                </a:solidFill>
                <a:latin typeface="+mn-lt"/>
                <a:ea typeface="Arial"/>
                <a:cs typeface="Arial"/>
                <a:sym typeface="Arial"/>
              </a:defRPr>
            </a:lvl4pPr>
            <a:lvl5pPr marL="538163" marR="0" lvl="4" indent="-25558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­"/>
              <a:defRPr sz="1800" b="0" i="0" u="none" strike="noStrike" cap="none">
                <a:solidFill>
                  <a:srgbClr val="000000"/>
                </a:solidFill>
                <a:latin typeface="+mn-lt"/>
                <a:ea typeface="Source Sans Pro" panose="020B0503030403020204" pitchFamily="34" charset="0"/>
                <a:cs typeface="Arial"/>
                <a:sym typeface="Arial"/>
              </a:defRPr>
            </a:lvl5pPr>
            <a:lvl6pPr marL="285750" marR="0" lvl="5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just"/>
            <a:r>
              <a:rPr lang="en-US" dirty="0">
                <a:solidFill>
                  <a:srgbClr val="343467"/>
                </a:solidFill>
                <a:latin typeface="Source Sans Pro SemiBold" panose="020B0603030403020204" pitchFamily="34" charset="0"/>
              </a:rPr>
              <a:t>E</a:t>
            </a:r>
            <a:r>
              <a:rPr lang="en-US" dirty="0" smtClean="0">
                <a:solidFill>
                  <a:srgbClr val="343467"/>
                </a:solidFill>
                <a:latin typeface="Source Sans Pro SemiBold" panose="020B0603030403020204" pitchFamily="34" charset="0"/>
              </a:rPr>
              <a:t>ach </a:t>
            </a:r>
            <a:r>
              <a:rPr lang="en-US" dirty="0">
                <a:solidFill>
                  <a:srgbClr val="343467"/>
                </a:solidFill>
                <a:latin typeface="Source Sans Pro SemiBold" panose="020B0603030403020204" pitchFamily="34" charset="0"/>
              </a:rPr>
              <a:t>IFI determines its standards and procedures</a:t>
            </a:r>
            <a:r>
              <a:rPr lang="en-US" dirty="0">
                <a:solidFill>
                  <a:srgbClr val="343467"/>
                </a:solidFill>
              </a:rPr>
              <a:t> for TA, ranging from the procedure for </a:t>
            </a:r>
            <a:r>
              <a:rPr lang="en-US" dirty="0" smtClean="0">
                <a:solidFill>
                  <a:srgbClr val="343467"/>
                </a:solidFill>
              </a:rPr>
              <a:t>TA approval </a:t>
            </a:r>
            <a:r>
              <a:rPr lang="en-US" dirty="0">
                <a:solidFill>
                  <a:srgbClr val="343467"/>
                </a:solidFill>
              </a:rPr>
              <a:t>to the thematic areas of such assistance. TA </a:t>
            </a:r>
            <a:r>
              <a:rPr lang="en-US" dirty="0" err="1">
                <a:solidFill>
                  <a:srgbClr val="343467"/>
                </a:solidFill>
              </a:rPr>
              <a:t>programmes</a:t>
            </a:r>
            <a:r>
              <a:rPr lang="en-US" dirty="0">
                <a:solidFill>
                  <a:srgbClr val="343467"/>
                </a:solidFill>
              </a:rPr>
              <a:t> contribute to the achievement </a:t>
            </a:r>
            <a:r>
              <a:rPr lang="en-US" dirty="0" smtClean="0">
                <a:solidFill>
                  <a:srgbClr val="343467"/>
                </a:solidFill>
              </a:rPr>
              <a:t>of </a:t>
            </a:r>
            <a:r>
              <a:rPr lang="en-US" dirty="0">
                <a:solidFill>
                  <a:srgbClr val="343467"/>
                </a:solidFill>
              </a:rPr>
              <a:t>goals and objectives set out in country strategies. TA is one of the key tools used by IFIs to provide </a:t>
            </a:r>
            <a:r>
              <a:rPr lang="en-US" dirty="0">
                <a:solidFill>
                  <a:srgbClr val="343467"/>
                </a:solidFill>
                <a:latin typeface="Source Sans Pro SemiBold" panose="020B0603030403020204" pitchFamily="34" charset="0"/>
              </a:rPr>
              <a:t>Official Development Assistance</a:t>
            </a:r>
            <a:r>
              <a:rPr lang="en-US" dirty="0" smtClean="0">
                <a:solidFill>
                  <a:srgbClr val="343467"/>
                </a:solidFill>
                <a:latin typeface="Source Sans Pro SemiBold" panose="020B0603030403020204" pitchFamily="34" charset="0"/>
              </a:rPr>
              <a:t> </a:t>
            </a:r>
            <a:r>
              <a:rPr lang="en-US" dirty="0">
                <a:solidFill>
                  <a:srgbClr val="343467"/>
                </a:solidFill>
              </a:rPr>
              <a:t>and contribute to the achievement of </a:t>
            </a:r>
            <a:r>
              <a:rPr lang="en-US" dirty="0" smtClean="0">
                <a:solidFill>
                  <a:srgbClr val="343467"/>
                </a:solidFill>
              </a:rPr>
              <a:t>the </a:t>
            </a:r>
            <a:r>
              <a:rPr lang="en-US" dirty="0">
                <a:solidFill>
                  <a:srgbClr val="343467"/>
                </a:solidFill>
                <a:latin typeface="Source Sans Pro SemiBold" panose="020B0603030403020204" pitchFamily="34" charset="0"/>
              </a:rPr>
              <a:t>Sustainable Development Goals</a:t>
            </a:r>
            <a:r>
              <a:rPr lang="en-US" dirty="0" smtClean="0">
                <a:solidFill>
                  <a:srgbClr val="343467"/>
                </a:solidFill>
              </a:rPr>
              <a:t>. </a:t>
            </a:r>
          </a:p>
          <a:p>
            <a:pPr algn="just"/>
            <a:r>
              <a:rPr lang="en-US" dirty="0" smtClean="0">
                <a:solidFill>
                  <a:srgbClr val="343467"/>
                </a:solidFill>
              </a:rPr>
              <a:t>EFSD </a:t>
            </a:r>
            <a:r>
              <a:rPr lang="en-US" dirty="0">
                <a:solidFill>
                  <a:srgbClr val="343467"/>
                </a:solidFill>
                <a:cs typeface="Arial" panose="020B0604020202020204" pitchFamily="34" charset="0"/>
              </a:rPr>
              <a:t>database of sovereign </a:t>
            </a:r>
            <a:r>
              <a:rPr lang="en-US" dirty="0" smtClean="0">
                <a:solidFill>
                  <a:srgbClr val="343467"/>
                </a:solidFill>
                <a:cs typeface="Arial" panose="020B0604020202020204" pitchFamily="34" charset="0"/>
              </a:rPr>
              <a:t>financing includes activities of </a:t>
            </a:r>
            <a:r>
              <a:rPr lang="en-US" dirty="0" smtClean="0">
                <a:solidFill>
                  <a:srgbClr val="343467"/>
                </a:solidFill>
                <a:latin typeface="Source Sans Pro SemiBold" panose="020B0603030403020204" pitchFamily="34" charset="0"/>
                <a:cs typeface="Arial" panose="020B0604020202020204" pitchFamily="34" charset="0"/>
              </a:rPr>
              <a:t>9 IFIs </a:t>
            </a:r>
            <a:r>
              <a:rPr lang="en-US" dirty="0" smtClean="0">
                <a:solidFill>
                  <a:srgbClr val="343467"/>
                </a:solidFill>
                <a:cs typeface="Arial" panose="020B0604020202020204" pitchFamily="34" charset="0"/>
              </a:rPr>
              <a:t>and </a:t>
            </a:r>
            <a:r>
              <a:rPr lang="en-US" dirty="0" smtClean="0">
                <a:solidFill>
                  <a:srgbClr val="343467"/>
                </a:solidFill>
                <a:latin typeface="Source Sans Pro SemiBold" panose="020B0603030403020204" pitchFamily="34" charset="0"/>
                <a:cs typeface="Arial" panose="020B0604020202020204" pitchFamily="34" charset="0"/>
              </a:rPr>
              <a:t>5 development agencies</a:t>
            </a:r>
            <a:r>
              <a:rPr lang="en-US" dirty="0" smtClean="0">
                <a:solidFill>
                  <a:srgbClr val="343467"/>
                </a:solidFill>
                <a:cs typeface="Arial" panose="020B0604020202020204" pitchFamily="34" charset="0"/>
              </a:rPr>
              <a:t>.</a:t>
            </a:r>
            <a:endParaRPr lang="ru-RU" dirty="0">
              <a:solidFill>
                <a:srgbClr val="343467"/>
              </a:solidFill>
            </a:endParaRPr>
          </a:p>
        </p:txBody>
      </p:sp>
      <p:pic>
        <p:nvPicPr>
          <p:cNvPr id="10" name="Picture 6" descr="Asian Development Bank – United Nations Environment ...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545" y="5006136"/>
            <a:ext cx="2710289" cy="1355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4" descr="Файл:The World Bank logo.svg — Википеди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6151" y="3648304"/>
            <a:ext cx="3223245" cy="649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0" descr="File:Ebrd logo.sv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4637" y="4208246"/>
            <a:ext cx="2207252" cy="1379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6" descr="Islamic Development Bank - Wikipedia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5971" y="3582019"/>
            <a:ext cx="1990742" cy="1043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0" descr="New Development Bank - GKToday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5273" y="5632354"/>
            <a:ext cx="2329039" cy="904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www.greenindustryplatform.org/sites/default/fil...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6026" y="4382033"/>
            <a:ext cx="2073062" cy="662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74296" y="5294271"/>
            <a:ext cx="1439883" cy="969974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681398" y="3480847"/>
            <a:ext cx="2302400" cy="874975"/>
          </a:xfrm>
          <a:prstGeom prst="rect">
            <a:avLst/>
          </a:prstGeom>
        </p:spPr>
      </p:pic>
      <p:pic>
        <p:nvPicPr>
          <p:cNvPr id="20" name="Picture 48" descr="Файл:Seal of the United States Agency for International Development.sv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6407" y="5207142"/>
            <a:ext cx="1326184" cy="1326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099792" y="4962625"/>
            <a:ext cx="1370981" cy="422693"/>
          </a:xfrm>
          <a:prstGeom prst="rect">
            <a:avLst/>
          </a:prstGeom>
        </p:spPr>
      </p:pic>
      <p:pic>
        <p:nvPicPr>
          <p:cNvPr id="22" name="Picture 4" descr="International Monetary Fund - Wikipedia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661" y="3506602"/>
            <a:ext cx="1383293" cy="1409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356" name="Picture 4" descr="The Eurasian Congress focuses on effective solutions for the development of  EAEU+ economies - ADFIAP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1176" y="4530048"/>
            <a:ext cx="1921841" cy="1441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2" descr="Datei:EIB-Logo.svg – Wikipedia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5995" y="5728186"/>
            <a:ext cx="2144675" cy="914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154082" y="4123538"/>
            <a:ext cx="1307381" cy="941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65223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343467"/>
                </a:solidFill>
              </a:rPr>
              <a:t>Activity of IFIs and development agencies</a:t>
            </a:r>
            <a:endParaRPr lang="ru-RU" dirty="0">
              <a:solidFill>
                <a:srgbClr val="343467"/>
              </a:solidFill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4015" y="1523875"/>
            <a:ext cx="5386517" cy="2279651"/>
          </a:xfrm>
          <a:prstGeom prst="rect">
            <a:avLst/>
          </a:prstGeom>
        </p:spPr>
      </p:pic>
      <p:sp>
        <p:nvSpPr>
          <p:cNvPr id="5" name="Дата 4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idx="16"/>
          </p:nvPr>
        </p:nvSpPr>
        <p:spPr/>
        <p:txBody>
          <a:bodyPr/>
          <a:lstStyle/>
          <a:p>
            <a:r>
              <a:rPr lang="en-US" smtClean="0"/>
              <a:t>Footer goes here</a:t>
            </a:r>
            <a:endParaRPr lang="en-US" dirty="0" smtClean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idx="17"/>
          </p:nvPr>
        </p:nvSpPr>
        <p:spPr/>
        <p:txBody>
          <a:bodyPr/>
          <a:lstStyle/>
          <a:p>
            <a:fld id="{00000000-1234-1234-1234-123412341234}" type="slidenum">
              <a:rPr lang="en-GB" smtClean="0"/>
              <a:pPr/>
              <a:t>7</a:t>
            </a:fld>
            <a:endParaRPr lang="en-GB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4114544"/>
              </p:ext>
            </p:extLst>
          </p:nvPr>
        </p:nvGraphicFramePr>
        <p:xfrm>
          <a:off x="456638" y="1523875"/>
          <a:ext cx="5676510" cy="108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7489">
                  <a:extLst>
                    <a:ext uri="{9D8B030D-6E8A-4147-A177-3AD203B41FA5}">
                      <a16:colId xmlns:a16="http://schemas.microsoft.com/office/drawing/2014/main" val="3119130539"/>
                    </a:ext>
                  </a:extLst>
                </a:gridCol>
                <a:gridCol w="4189021">
                  <a:extLst>
                    <a:ext uri="{9D8B030D-6E8A-4147-A177-3AD203B41FA5}">
                      <a16:colId xmlns:a16="http://schemas.microsoft.com/office/drawing/2014/main" val="2165735546"/>
                    </a:ext>
                  </a:extLst>
                </a:gridCol>
              </a:tblGrid>
              <a:tr h="1080000">
                <a:tc>
                  <a:txBody>
                    <a:bodyPr/>
                    <a:lstStyle/>
                    <a:p>
                      <a:pPr algn="ctr"/>
                      <a:r>
                        <a:rPr lang="en-US" sz="4800" b="0" dirty="0" smtClean="0">
                          <a:latin typeface="Source Sans Pro SemiBold" panose="020B0603030403020204" pitchFamily="34" charset="0"/>
                        </a:rPr>
                        <a:t>2848</a:t>
                      </a:r>
                      <a:endParaRPr lang="ru-RU" b="0" dirty="0">
                        <a:latin typeface="Source Sans Pro SemiBold" panose="020B0603030403020204" pitchFamily="34" charset="0"/>
                      </a:endParaRPr>
                    </a:p>
                  </a:txBody>
                  <a:tcPr anchor="ctr">
                    <a:solidFill>
                      <a:srgbClr val="FDAC5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0" baseline="0" dirty="0" smtClean="0"/>
                        <a:t>TA projects in Eurasia in the Database </a:t>
                      </a:r>
                      <a:r>
                        <a:rPr lang="ru-RU" sz="1800" b="0" baseline="0" dirty="0" smtClean="0"/>
                        <a:t>(</a:t>
                      </a:r>
                      <a:r>
                        <a:rPr lang="en-US" sz="1800" b="0" baseline="0" dirty="0" smtClean="0"/>
                        <a:t>quarterly updated</a:t>
                      </a:r>
                      <a:r>
                        <a:rPr lang="ru-RU" sz="1800" b="0" baseline="0" dirty="0" smtClean="0"/>
                        <a:t>)</a:t>
                      </a:r>
                      <a:endParaRPr lang="ru-RU" sz="1800" b="0" dirty="0"/>
                    </a:p>
                  </a:txBody>
                  <a:tcPr anchor="ctr">
                    <a:solidFill>
                      <a:srgbClr val="3273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1836974"/>
                  </a:ext>
                </a:extLst>
              </a:tr>
            </a:tbl>
          </a:graphicData>
        </a:graphic>
      </p:graphicFrame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9858010"/>
              </p:ext>
            </p:extLst>
          </p:nvPr>
        </p:nvGraphicFramePr>
        <p:xfrm>
          <a:off x="456638" y="2687085"/>
          <a:ext cx="5665138" cy="108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6000">
                  <a:extLst>
                    <a:ext uri="{9D8B030D-6E8A-4147-A177-3AD203B41FA5}">
                      <a16:colId xmlns:a16="http://schemas.microsoft.com/office/drawing/2014/main" val="3119130539"/>
                    </a:ext>
                  </a:extLst>
                </a:gridCol>
                <a:gridCol w="1754355">
                  <a:extLst>
                    <a:ext uri="{9D8B030D-6E8A-4147-A177-3AD203B41FA5}">
                      <a16:colId xmlns:a16="http://schemas.microsoft.com/office/drawing/2014/main" val="2165735546"/>
                    </a:ext>
                  </a:extLst>
                </a:gridCol>
                <a:gridCol w="1151068">
                  <a:extLst>
                    <a:ext uri="{9D8B030D-6E8A-4147-A177-3AD203B41FA5}">
                      <a16:colId xmlns:a16="http://schemas.microsoft.com/office/drawing/2014/main" val="943924771"/>
                    </a:ext>
                  </a:extLst>
                </a:gridCol>
                <a:gridCol w="1463715">
                  <a:extLst>
                    <a:ext uri="{9D8B030D-6E8A-4147-A177-3AD203B41FA5}">
                      <a16:colId xmlns:a16="http://schemas.microsoft.com/office/drawing/2014/main" val="1505185031"/>
                    </a:ext>
                  </a:extLst>
                </a:gridCol>
              </a:tblGrid>
              <a:tr h="1080000">
                <a:tc>
                  <a:txBody>
                    <a:bodyPr/>
                    <a:lstStyle/>
                    <a:p>
                      <a:pPr algn="ctr"/>
                      <a:r>
                        <a:rPr lang="en-US" sz="4000" b="0" i="0" u="none" strike="noStrike" cap="none" dirty="0" smtClean="0">
                          <a:solidFill>
                            <a:schemeClr val="lt1"/>
                          </a:solidFill>
                          <a:latin typeface="Source Sans Pro SemiBold" panose="020B0603030403020204" pitchFamily="34" charset="0"/>
                          <a:ea typeface="+mn-ea"/>
                          <a:cs typeface="+mn-cs"/>
                          <a:sym typeface="Arial"/>
                        </a:rPr>
                        <a:t>IFIs</a:t>
                      </a:r>
                      <a:endParaRPr lang="ru-RU" sz="4000" b="0" i="0" u="none" strike="noStrike" cap="none" dirty="0">
                        <a:solidFill>
                          <a:schemeClr val="lt1"/>
                        </a:solidFill>
                        <a:latin typeface="Source Sans Pro SemiBold" panose="020B0603030403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anchor="ctr">
                    <a:solidFill>
                      <a:srgbClr val="3273A7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4000" b="0" i="0" u="none" strike="noStrike" cap="none" dirty="0" smtClean="0">
                          <a:solidFill>
                            <a:schemeClr val="lt1"/>
                          </a:solidFill>
                          <a:latin typeface="Source Sans Pro SemiBold" panose="020B0603030403020204" pitchFamily="34" charset="0"/>
                          <a:ea typeface="+mn-ea"/>
                          <a:cs typeface="+mn-cs"/>
                          <a:sym typeface="Arial"/>
                        </a:rPr>
                        <a:t>65%</a:t>
                      </a:r>
                      <a:endParaRPr lang="ru-RU" sz="4000" b="0" i="0" u="none" strike="noStrike" cap="none" dirty="0">
                        <a:solidFill>
                          <a:schemeClr val="lt1"/>
                        </a:solidFill>
                        <a:latin typeface="Source Sans Pro SemiBold" panose="020B0603030403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anchor="ctr">
                    <a:solidFill>
                      <a:srgbClr val="919BC9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4000" b="0" i="0" u="none" strike="noStrike" cap="none" dirty="0" smtClean="0">
                          <a:solidFill>
                            <a:schemeClr val="lt1"/>
                          </a:solidFill>
                          <a:latin typeface="Source Sans Pro SemiBold" panose="020B0603030403020204" pitchFamily="34" charset="0"/>
                          <a:ea typeface="+mn-ea"/>
                          <a:cs typeface="+mn-cs"/>
                          <a:sym typeface="Arial"/>
                        </a:rPr>
                        <a:t>35%</a:t>
                      </a:r>
                      <a:endParaRPr lang="ru-RU" sz="4000" b="0" i="0" u="none" strike="noStrike" cap="none" dirty="0">
                        <a:solidFill>
                          <a:schemeClr val="lt1"/>
                        </a:solidFill>
                        <a:latin typeface="Source Sans Pro SemiBold" panose="020B0603030403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anchor="ctr">
                    <a:solidFill>
                      <a:srgbClr val="C3D36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 smtClean="0"/>
                        <a:t>development</a:t>
                      </a:r>
                      <a:r>
                        <a:rPr lang="en-US" sz="1800" b="0" baseline="0" dirty="0" smtClean="0"/>
                        <a:t> agencies</a:t>
                      </a:r>
                      <a:endParaRPr lang="ru-RU" sz="1800" b="0" dirty="0"/>
                    </a:p>
                  </a:txBody>
                  <a:tcPr anchor="ctr">
                    <a:solidFill>
                      <a:srgbClr val="3273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1836974"/>
                  </a:ext>
                </a:extLst>
              </a:tr>
            </a:tbl>
          </a:graphicData>
        </a:graphic>
      </p:graphicFrame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5327448"/>
              </p:ext>
            </p:extLst>
          </p:nvPr>
        </p:nvGraphicFramePr>
        <p:xfrm>
          <a:off x="445266" y="3850295"/>
          <a:ext cx="5660060" cy="108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8000">
                  <a:extLst>
                    <a:ext uri="{9D8B030D-6E8A-4147-A177-3AD203B41FA5}">
                      <a16:colId xmlns:a16="http://schemas.microsoft.com/office/drawing/2014/main" val="3119130539"/>
                    </a:ext>
                  </a:extLst>
                </a:gridCol>
                <a:gridCol w="4112060">
                  <a:extLst>
                    <a:ext uri="{9D8B030D-6E8A-4147-A177-3AD203B41FA5}">
                      <a16:colId xmlns:a16="http://schemas.microsoft.com/office/drawing/2014/main" val="2165735546"/>
                    </a:ext>
                  </a:extLst>
                </a:gridCol>
              </a:tblGrid>
              <a:tr h="1080000">
                <a:tc>
                  <a:txBody>
                    <a:bodyPr/>
                    <a:lstStyle/>
                    <a:p>
                      <a:pPr algn="ctr"/>
                      <a:r>
                        <a:rPr lang="ru-RU" sz="4000" b="0" dirty="0" smtClean="0">
                          <a:latin typeface="Source Sans Pro SemiBold" panose="020B0603030403020204" pitchFamily="34" charset="0"/>
                        </a:rPr>
                        <a:t>92,5%</a:t>
                      </a:r>
                      <a:endParaRPr lang="ru-RU" b="0" dirty="0">
                        <a:latin typeface="Source Sans Pro SemiBold" panose="020B0603030403020204" pitchFamily="34" charset="0"/>
                      </a:endParaRPr>
                    </a:p>
                  </a:txBody>
                  <a:tcPr anchor="ctr">
                    <a:solidFill>
                      <a:srgbClr val="00B2CD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0" dirty="0" smtClean="0"/>
                        <a:t>of 1872 IFIs’</a:t>
                      </a:r>
                      <a:r>
                        <a:rPr lang="en-US" sz="1800" b="0" baseline="0" dirty="0" smtClean="0"/>
                        <a:t> TA projects were implemented by three major IFIs — </a:t>
                      </a:r>
                      <a:br>
                        <a:rPr lang="en-US" sz="1800" b="0" baseline="0" dirty="0" smtClean="0"/>
                      </a:br>
                      <a:r>
                        <a:rPr lang="en-US" sz="1800" b="0" baseline="0" dirty="0" smtClean="0"/>
                        <a:t>the IMF, WB, and ADB</a:t>
                      </a:r>
                      <a:endParaRPr lang="ru-RU" sz="1800" b="0" dirty="0"/>
                    </a:p>
                  </a:txBody>
                  <a:tcPr anchor="ctr">
                    <a:solidFill>
                      <a:srgbClr val="3273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1836974"/>
                  </a:ext>
                </a:extLst>
              </a:tr>
            </a:tbl>
          </a:graphicData>
        </a:graphic>
      </p:graphicFrame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0245138"/>
              </p:ext>
            </p:extLst>
          </p:nvPr>
        </p:nvGraphicFramePr>
        <p:xfrm>
          <a:off x="445266" y="5013504"/>
          <a:ext cx="5660060" cy="108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8000">
                  <a:extLst>
                    <a:ext uri="{9D8B030D-6E8A-4147-A177-3AD203B41FA5}">
                      <a16:colId xmlns:a16="http://schemas.microsoft.com/office/drawing/2014/main" val="3119130539"/>
                    </a:ext>
                  </a:extLst>
                </a:gridCol>
                <a:gridCol w="4112060">
                  <a:extLst>
                    <a:ext uri="{9D8B030D-6E8A-4147-A177-3AD203B41FA5}">
                      <a16:colId xmlns:a16="http://schemas.microsoft.com/office/drawing/2014/main" val="2165735546"/>
                    </a:ext>
                  </a:extLst>
                </a:gridCol>
              </a:tblGrid>
              <a:tr h="1080000">
                <a:tc>
                  <a:txBody>
                    <a:bodyPr/>
                    <a:lstStyle/>
                    <a:p>
                      <a:pPr algn="ctr"/>
                      <a:r>
                        <a:rPr lang="ru-RU" sz="4000" b="0" dirty="0" smtClean="0">
                          <a:latin typeface="Source Sans Pro SemiBold" panose="020B0603030403020204" pitchFamily="34" charset="0"/>
                        </a:rPr>
                        <a:t>95%</a:t>
                      </a:r>
                      <a:endParaRPr lang="ru-RU" b="0" dirty="0">
                        <a:latin typeface="Source Sans Pro SemiBold" panose="020B0603030403020204" pitchFamily="34" charset="0"/>
                      </a:endParaRPr>
                    </a:p>
                  </a:txBody>
                  <a:tcPr anchor="ctr">
                    <a:solidFill>
                      <a:srgbClr val="00B2CD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b="0" dirty="0" smtClean="0"/>
                        <a:t>of 976 development agencies’ TA projects were implemented by</a:t>
                      </a:r>
                      <a:r>
                        <a:rPr lang="en-US" sz="1800" b="0" baseline="0" dirty="0" smtClean="0"/>
                        <a:t> USAID</a:t>
                      </a:r>
                      <a:r>
                        <a:rPr lang="ru-RU" sz="1800" b="0" baseline="0" dirty="0" smtClean="0"/>
                        <a:t> </a:t>
                      </a:r>
                      <a:r>
                        <a:rPr lang="en-US" sz="1800" b="0" baseline="0" dirty="0" smtClean="0"/>
                        <a:t/>
                      </a:r>
                      <a:br>
                        <a:rPr lang="en-US" sz="1800" b="0" baseline="0" dirty="0" smtClean="0"/>
                      </a:br>
                      <a:r>
                        <a:rPr lang="ru-RU" sz="1200" b="0" i="1" baseline="0" dirty="0" smtClean="0"/>
                        <a:t>(</a:t>
                      </a:r>
                      <a:r>
                        <a:rPr lang="en-US" sz="1200" b="0" i="1" baseline="0" dirty="0" smtClean="0"/>
                        <a:t>the number of TA </a:t>
                      </a:r>
                      <a:r>
                        <a:rPr lang="en-US" sz="1200" b="0" i="1" baseline="0" dirty="0" err="1" smtClean="0"/>
                        <a:t>programmes</a:t>
                      </a:r>
                      <a:r>
                        <a:rPr lang="en-US" sz="1200" b="0" i="1" baseline="0" dirty="0" smtClean="0"/>
                        <a:t> of other agencies is much smaller, largely due to the low transparency</a:t>
                      </a:r>
                      <a:r>
                        <a:rPr lang="ru-RU" sz="1200" b="0" i="1" baseline="0" dirty="0" smtClean="0"/>
                        <a:t>)</a:t>
                      </a:r>
                      <a:endParaRPr lang="ru-RU" sz="1200" b="0" i="1" dirty="0"/>
                    </a:p>
                  </a:txBody>
                  <a:tcPr anchor="ctr">
                    <a:solidFill>
                      <a:srgbClr val="3273A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1836974"/>
                  </a:ext>
                </a:extLst>
              </a:tr>
            </a:tbl>
          </a:graphicData>
        </a:graphic>
      </p:graphicFrame>
      <p:pic>
        <p:nvPicPr>
          <p:cNvPr id="13" name="Рисунок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4737" y="3850295"/>
            <a:ext cx="5485072" cy="2316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04229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343467"/>
                </a:solidFill>
              </a:rPr>
              <a:t>Technical Assistance to </a:t>
            </a:r>
            <a:r>
              <a:rPr lang="en-US" dirty="0">
                <a:solidFill>
                  <a:srgbClr val="92D050"/>
                </a:solidFill>
              </a:rPr>
              <a:t>EFSD </a:t>
            </a:r>
            <a:r>
              <a:rPr lang="en-US" dirty="0" smtClean="0">
                <a:solidFill>
                  <a:srgbClr val="92D050"/>
                </a:solidFill>
              </a:rPr>
              <a:t>Member </a:t>
            </a:r>
            <a:r>
              <a:rPr lang="en-US" dirty="0">
                <a:solidFill>
                  <a:srgbClr val="92D050"/>
                </a:solidFill>
              </a:rPr>
              <a:t>States</a:t>
            </a:r>
            <a:endParaRPr lang="ru-RU" dirty="0">
              <a:solidFill>
                <a:srgbClr val="92D050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13099" y="3596674"/>
            <a:ext cx="4798274" cy="2892576"/>
          </a:xfrm>
          <a:prstGeom prst="rect">
            <a:avLst/>
          </a:prstGeom>
        </p:spPr>
      </p:pic>
      <p:sp>
        <p:nvSpPr>
          <p:cNvPr id="5" name="Дата 4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idx="16"/>
          </p:nvPr>
        </p:nvSpPr>
        <p:spPr/>
        <p:txBody>
          <a:bodyPr/>
          <a:lstStyle/>
          <a:p>
            <a:r>
              <a:rPr lang="en-US" smtClean="0"/>
              <a:t>Footer goes here</a:t>
            </a:r>
            <a:endParaRPr lang="en-US" dirty="0" smtClean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idx="17"/>
          </p:nvPr>
        </p:nvSpPr>
        <p:spPr/>
        <p:txBody>
          <a:bodyPr/>
          <a:lstStyle/>
          <a:p>
            <a:fld id="{00000000-1234-1234-1234-123412341234}" type="slidenum">
              <a:rPr lang="en-GB" smtClean="0"/>
              <a:pPr/>
              <a:t>8</a:t>
            </a:fld>
            <a:endParaRPr lang="en-GB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3099" y="1520825"/>
            <a:ext cx="4798274" cy="2075849"/>
          </a:xfrm>
          <a:prstGeom prst="rect">
            <a:avLst/>
          </a:prstGeom>
        </p:spPr>
      </p:pic>
      <p:sp>
        <p:nvSpPr>
          <p:cNvPr id="10" name="Текст 4"/>
          <p:cNvSpPr>
            <a:spLocks noGrp="1"/>
          </p:cNvSpPr>
          <p:nvPr>
            <p:ph type="body" sz="quarter" idx="13"/>
          </p:nvPr>
        </p:nvSpPr>
        <p:spPr>
          <a:xfrm>
            <a:off x="438975" y="1520825"/>
            <a:ext cx="5760000" cy="2998870"/>
          </a:xfrm>
          <a:gradFill flip="none" rotWithShape="1">
            <a:gsLst>
              <a:gs pos="0">
                <a:srgbClr val="7F9ACA">
                  <a:tint val="66000"/>
                  <a:satMod val="160000"/>
                </a:srgbClr>
              </a:gs>
              <a:gs pos="50000">
                <a:srgbClr val="7F9ACA">
                  <a:tint val="44500"/>
                  <a:satMod val="160000"/>
                </a:srgbClr>
              </a:gs>
              <a:gs pos="100000">
                <a:srgbClr val="7F9ACA">
                  <a:tint val="23500"/>
                  <a:satMod val="160000"/>
                </a:srgbClr>
              </a:gs>
            </a:gsLst>
            <a:lin ang="0" scaled="1"/>
            <a:tileRect/>
          </a:gradFill>
        </p:spPr>
        <p:txBody>
          <a:bodyPr vert="horz" lIns="180000" tIns="180000" rIns="180000" bIns="0" rtlCol="0">
            <a:normAutofit/>
          </a:bodyPr>
          <a:lstStyle/>
          <a:p>
            <a:pPr algn="just"/>
            <a:r>
              <a:rPr lang="en-US" sz="1700" dirty="0">
                <a:solidFill>
                  <a:schemeClr val="bg2"/>
                </a:solidFill>
              </a:rPr>
              <a:t>In Eurasia, </a:t>
            </a:r>
            <a:r>
              <a:rPr lang="en-US" sz="1700" dirty="0">
                <a:solidFill>
                  <a:schemeClr val="bg2"/>
                </a:solidFill>
                <a:latin typeface="Source Sans Pro SemiBold" panose="020B0603030403020204" pitchFamily="34" charset="0"/>
              </a:rPr>
              <a:t>1,590</a:t>
            </a:r>
            <a:r>
              <a:rPr lang="en-US" sz="1700" dirty="0">
                <a:solidFill>
                  <a:schemeClr val="bg2"/>
                </a:solidFill>
              </a:rPr>
              <a:t> </a:t>
            </a:r>
            <a:r>
              <a:rPr lang="en-US" sz="1700" dirty="0">
                <a:solidFill>
                  <a:schemeClr val="bg2"/>
                </a:solidFill>
                <a:latin typeface="Source Sans Pro SemiBold" panose="020B0603030403020204" pitchFamily="34" charset="0"/>
              </a:rPr>
              <a:t>TA projects </a:t>
            </a:r>
            <a:r>
              <a:rPr lang="en-US" sz="1700" dirty="0">
                <a:solidFill>
                  <a:schemeClr val="bg2"/>
                </a:solidFill>
              </a:rPr>
              <a:t>were implemented </a:t>
            </a:r>
            <a:r>
              <a:rPr lang="en-US" sz="1700" dirty="0">
                <a:solidFill>
                  <a:schemeClr val="bg2"/>
                </a:solidFill>
                <a:latin typeface="Source Sans Pro SemiBold" panose="020B0603030403020204" pitchFamily="34" charset="0"/>
              </a:rPr>
              <a:t>in the EFSD member </a:t>
            </a:r>
            <a:r>
              <a:rPr lang="en-US" sz="1700" dirty="0" smtClean="0">
                <a:solidFill>
                  <a:schemeClr val="bg2"/>
                </a:solidFill>
                <a:latin typeface="Source Sans Pro SemiBold" panose="020B0603030403020204" pitchFamily="34" charset="0"/>
              </a:rPr>
              <a:t>states</a:t>
            </a:r>
            <a:r>
              <a:rPr lang="en-US" sz="1700" dirty="0" smtClean="0">
                <a:solidFill>
                  <a:schemeClr val="bg2"/>
                </a:solidFill>
              </a:rPr>
              <a:t> in the </a:t>
            </a:r>
            <a:r>
              <a:rPr lang="en-US" sz="1700" dirty="0" err="1" smtClean="0">
                <a:solidFill>
                  <a:schemeClr val="bg2"/>
                </a:solidFill>
              </a:rPr>
              <a:t>analysed</a:t>
            </a:r>
            <a:r>
              <a:rPr lang="en-US" sz="1700" dirty="0" smtClean="0">
                <a:solidFill>
                  <a:schemeClr val="bg2"/>
                </a:solidFill>
              </a:rPr>
              <a:t> period, </a:t>
            </a:r>
            <a:r>
              <a:rPr lang="en-US" sz="1700" dirty="0">
                <a:solidFill>
                  <a:schemeClr val="bg2"/>
                </a:solidFill>
              </a:rPr>
              <a:t>while Azerbaijan, Georgia, Mongolia, Turkmenistan, and Uzbekistan accounted for </a:t>
            </a:r>
            <a:r>
              <a:rPr lang="en-US" sz="1700" dirty="0" smtClean="0">
                <a:solidFill>
                  <a:schemeClr val="bg2"/>
                </a:solidFill>
              </a:rPr>
              <a:t>a total </a:t>
            </a:r>
            <a:r>
              <a:rPr lang="en-US" sz="1700" dirty="0">
                <a:solidFill>
                  <a:schemeClr val="bg2"/>
                </a:solidFill>
              </a:rPr>
              <a:t>of 1,216 TA projects, and 64 projects covered several countries of the region</a:t>
            </a:r>
            <a:r>
              <a:rPr lang="ru-RU" sz="1700" dirty="0" smtClean="0">
                <a:solidFill>
                  <a:schemeClr val="bg2"/>
                </a:solidFill>
              </a:rPr>
              <a:t>. </a:t>
            </a:r>
            <a:endParaRPr lang="ru-RU" sz="1700" dirty="0">
              <a:solidFill>
                <a:schemeClr val="bg2"/>
              </a:solidFill>
            </a:endParaRPr>
          </a:p>
          <a:p>
            <a:pPr algn="just"/>
            <a:r>
              <a:rPr lang="en-US" sz="1700" dirty="0">
                <a:solidFill>
                  <a:schemeClr val="bg2"/>
                </a:solidFill>
                <a:latin typeface="Source Sans Pro SemiBold" panose="020B0603030403020204" pitchFamily="34" charset="0"/>
              </a:rPr>
              <a:t>Armenia is the leader </a:t>
            </a:r>
            <a:r>
              <a:rPr lang="en-US" sz="1700" dirty="0">
                <a:solidFill>
                  <a:schemeClr val="bg2"/>
                </a:solidFill>
              </a:rPr>
              <a:t>among the EFSD member states in the number of TA projects, </a:t>
            </a:r>
            <a:r>
              <a:rPr lang="en-US" sz="1700" dirty="0" smtClean="0">
                <a:solidFill>
                  <a:schemeClr val="bg2"/>
                </a:solidFill>
              </a:rPr>
              <a:t>accounting </a:t>
            </a:r>
            <a:r>
              <a:rPr lang="en-US" sz="1700" dirty="0">
                <a:solidFill>
                  <a:schemeClr val="bg2"/>
                </a:solidFill>
              </a:rPr>
              <a:t>for 340 projects or 21.4% of all projects implemented in the EFSD </a:t>
            </a:r>
            <a:r>
              <a:rPr lang="en-US" sz="1700" dirty="0" smtClean="0">
                <a:solidFill>
                  <a:schemeClr val="bg2"/>
                </a:solidFill>
              </a:rPr>
              <a:t>region. The </a:t>
            </a:r>
            <a:r>
              <a:rPr lang="en-US" sz="1700" dirty="0">
                <a:solidFill>
                  <a:schemeClr val="bg2"/>
                </a:solidFill>
              </a:rPr>
              <a:t>Kyrgyz Republic comes in </a:t>
            </a:r>
            <a:r>
              <a:rPr lang="en-US" sz="1700" dirty="0" smtClean="0">
                <a:solidFill>
                  <a:schemeClr val="bg2"/>
                </a:solidFill>
              </a:rPr>
              <a:t>second (328 projects, 20.6</a:t>
            </a:r>
            <a:r>
              <a:rPr lang="en-US" sz="1700" dirty="0">
                <a:solidFill>
                  <a:schemeClr val="bg2"/>
                </a:solidFill>
              </a:rPr>
              <a:t>%), and Tajikistan is </a:t>
            </a:r>
            <a:r>
              <a:rPr lang="en-US" sz="1700" dirty="0" smtClean="0">
                <a:solidFill>
                  <a:schemeClr val="bg2"/>
                </a:solidFill>
              </a:rPr>
              <a:t>third (284 projects, 17.9%)</a:t>
            </a:r>
            <a:r>
              <a:rPr lang="ru-RU" sz="1700" dirty="0" smtClean="0">
                <a:solidFill>
                  <a:schemeClr val="bg2"/>
                </a:solidFill>
              </a:rPr>
              <a:t>. </a:t>
            </a:r>
            <a:endParaRPr lang="ru-RU" sz="1700" dirty="0">
              <a:solidFill>
                <a:schemeClr val="bg2"/>
              </a:solidFill>
            </a:endParaRP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4"/>
          </p:nvPr>
        </p:nvSpPr>
        <p:spPr>
          <a:xfrm>
            <a:off x="438975" y="4519696"/>
            <a:ext cx="5760000" cy="1730497"/>
          </a:xfrm>
          <a:gradFill flip="none" rotWithShape="1">
            <a:gsLst>
              <a:gs pos="0">
                <a:srgbClr val="00B2CD">
                  <a:tint val="66000"/>
                  <a:satMod val="160000"/>
                </a:srgbClr>
              </a:gs>
              <a:gs pos="50000">
                <a:srgbClr val="00B2CD">
                  <a:tint val="44500"/>
                  <a:satMod val="160000"/>
                </a:srgbClr>
              </a:gs>
              <a:gs pos="100000">
                <a:srgbClr val="00B2CD">
                  <a:tint val="23500"/>
                  <a:satMod val="160000"/>
                </a:srgbClr>
              </a:gs>
            </a:gsLst>
            <a:lin ang="0" scaled="1"/>
            <a:tileRect/>
          </a:gradFill>
        </p:spPr>
        <p:txBody>
          <a:bodyPr vert="horz" lIns="180000" tIns="180000" rIns="180000" bIns="180000" rtlCol="0">
            <a:normAutofit/>
          </a:bodyPr>
          <a:lstStyle/>
          <a:p>
            <a:pPr algn="just"/>
            <a:r>
              <a:rPr lang="en-US" sz="1700" dirty="0">
                <a:solidFill>
                  <a:srgbClr val="343467"/>
                </a:solidFill>
              </a:rPr>
              <a:t>The </a:t>
            </a:r>
            <a:r>
              <a:rPr lang="en-US" sz="1700" dirty="0">
                <a:solidFill>
                  <a:srgbClr val="343467"/>
                </a:solidFill>
                <a:latin typeface="Source Sans Pro SemiBold" panose="020B0603030403020204" pitchFamily="34" charset="0"/>
              </a:rPr>
              <a:t>negative correlation between the GNI per capita and the number of TA projects was </a:t>
            </a:r>
            <a:r>
              <a:rPr lang="en-US" sz="1700" dirty="0" smtClean="0">
                <a:solidFill>
                  <a:srgbClr val="343467"/>
                </a:solidFill>
                <a:latin typeface="Source Sans Pro SemiBold" panose="020B0603030403020204" pitchFamily="34" charset="0"/>
              </a:rPr>
              <a:t>(–</a:t>
            </a:r>
            <a:r>
              <a:rPr lang="en-US" sz="1700" dirty="0">
                <a:solidFill>
                  <a:srgbClr val="343467"/>
                </a:solidFill>
                <a:latin typeface="Source Sans Pro SemiBold" panose="020B0603030403020204" pitchFamily="34" charset="0"/>
              </a:rPr>
              <a:t>0.59)</a:t>
            </a:r>
            <a:r>
              <a:rPr lang="en-US" sz="1700" dirty="0">
                <a:solidFill>
                  <a:srgbClr val="343467"/>
                </a:solidFill>
              </a:rPr>
              <a:t>. It </a:t>
            </a:r>
            <a:r>
              <a:rPr lang="en-US" sz="1700" dirty="0" smtClean="0">
                <a:solidFill>
                  <a:srgbClr val="343467"/>
                </a:solidFill>
              </a:rPr>
              <a:t>is </a:t>
            </a:r>
            <a:r>
              <a:rPr lang="en-US" sz="1700" dirty="0">
                <a:solidFill>
                  <a:srgbClr val="343467"/>
                </a:solidFill>
              </a:rPr>
              <a:t>also noteworthy that the correlation between the number of TA projects in the sample in </a:t>
            </a:r>
            <a:r>
              <a:rPr lang="en-US" sz="1700" dirty="0" smtClean="0">
                <a:solidFill>
                  <a:srgbClr val="343467"/>
                </a:solidFill>
              </a:rPr>
              <a:t>general </a:t>
            </a:r>
            <a:r>
              <a:rPr lang="en-US" sz="1700" dirty="0">
                <a:solidFill>
                  <a:srgbClr val="343467"/>
                </a:solidFill>
              </a:rPr>
              <a:t>and the Human Development Index turned out to be much lower (0.13).</a:t>
            </a:r>
            <a:endParaRPr lang="en-US" sz="1700" dirty="0" smtClean="0">
              <a:solidFill>
                <a:srgbClr val="3434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55256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343467"/>
                </a:solidFill>
              </a:rPr>
              <a:t>Topics of TA projects</a:t>
            </a:r>
            <a:endParaRPr lang="ru-RU" dirty="0">
              <a:solidFill>
                <a:srgbClr val="343467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idx="17"/>
          </p:nvPr>
        </p:nvSpPr>
        <p:spPr/>
        <p:txBody>
          <a:bodyPr/>
          <a:lstStyle/>
          <a:p>
            <a:fld id="{00000000-1234-1234-1234-123412341234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8" name="Текст 8"/>
          <p:cNvSpPr txBox="1">
            <a:spLocks/>
          </p:cNvSpPr>
          <p:nvPr/>
        </p:nvSpPr>
        <p:spPr>
          <a:xfrm>
            <a:off x="6275388" y="1520826"/>
            <a:ext cx="5473700" cy="2205028"/>
          </a:xfrm>
          <a:prstGeom prst="rect">
            <a:avLst/>
          </a:prstGeom>
          <a:gradFill flip="none" rotWithShape="1">
            <a:gsLst>
              <a:gs pos="0">
                <a:srgbClr val="7F9ACA">
                  <a:tint val="66000"/>
                  <a:satMod val="160000"/>
                </a:srgbClr>
              </a:gs>
              <a:gs pos="50000">
                <a:srgbClr val="7F9ACA">
                  <a:tint val="44500"/>
                  <a:satMod val="160000"/>
                </a:srgbClr>
              </a:gs>
              <a:gs pos="100000">
                <a:srgbClr val="7F9ACA">
                  <a:tint val="23500"/>
                  <a:satMod val="160000"/>
                </a:srgbClr>
              </a:gs>
            </a:gsLst>
            <a:path path="circle">
              <a:fillToRect t="100000" r="100000"/>
            </a:path>
            <a:tileRect l="-100000" b="-100000"/>
          </a:gradFill>
        </p:spPr>
        <p:txBody>
          <a:bodyPr vert="horz" lIns="180000" tIns="180000" rIns="180000" bIns="180000" rtlCol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/>
              <a:defRPr sz="1800" b="0" i="0" u="none" strike="noStrike" cap="none">
                <a:solidFill>
                  <a:srgbClr val="000000"/>
                </a:solidFill>
                <a:latin typeface="+mn-lt"/>
                <a:ea typeface="Source Sans Pro" panose="020B0503030403020204" pitchFamily="34" charset="0"/>
                <a:cs typeface="Arial"/>
                <a:sym typeface="Arial"/>
              </a:defRPr>
            </a:lvl1pPr>
            <a:lvl2pPr marL="0" marR="0" lvl="1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00" b="0" i="0" u="none" strike="noStrike" cap="none">
                <a:solidFill>
                  <a:srgbClr val="000000"/>
                </a:solidFill>
                <a:latin typeface="+mn-lt"/>
                <a:ea typeface="Arial"/>
                <a:cs typeface="Arial"/>
                <a:sym typeface="Arial"/>
              </a:defRPr>
            </a:lvl2pPr>
            <a:lvl3pPr marL="285750" marR="0" lvl="2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800" b="0" i="0" u="none" strike="noStrike" cap="none">
                <a:solidFill>
                  <a:srgbClr val="000000"/>
                </a:solidFill>
                <a:latin typeface="+mn-lt"/>
                <a:ea typeface="Source Sans Pro" panose="020B0503030403020204" pitchFamily="34" charset="0"/>
                <a:cs typeface="Arial"/>
                <a:sym typeface="Arial"/>
              </a:defRPr>
            </a:lvl3pPr>
            <a:lvl4pPr marL="285750" marR="0" lvl="3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800" b="0" i="0" u="none" strike="noStrike" cap="none">
                <a:solidFill>
                  <a:srgbClr val="000000"/>
                </a:solidFill>
                <a:latin typeface="+mn-lt"/>
                <a:ea typeface="Arial"/>
                <a:cs typeface="Arial"/>
                <a:sym typeface="Arial"/>
              </a:defRPr>
            </a:lvl4pPr>
            <a:lvl5pPr marL="538163" marR="0" lvl="4" indent="-25558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­"/>
              <a:defRPr sz="1800" b="0" i="0" u="none" strike="noStrike" cap="none">
                <a:solidFill>
                  <a:srgbClr val="000000"/>
                </a:solidFill>
                <a:latin typeface="+mn-lt"/>
                <a:ea typeface="Source Sans Pro" panose="020B0503030403020204" pitchFamily="34" charset="0"/>
                <a:cs typeface="Arial"/>
                <a:sym typeface="Arial"/>
              </a:defRPr>
            </a:lvl5pPr>
            <a:lvl6pPr marL="285750" marR="0" lvl="5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just"/>
            <a:r>
              <a:rPr lang="en-US" dirty="0">
                <a:solidFill>
                  <a:srgbClr val="343467"/>
                </a:solidFill>
              </a:rPr>
              <a:t>In terms of sectors, the most common groups of thematic topics were those bringing together </a:t>
            </a:r>
            <a:r>
              <a:rPr lang="en-US" dirty="0" smtClean="0">
                <a:solidFill>
                  <a:srgbClr val="343467"/>
                </a:solidFill>
              </a:rPr>
              <a:t>structural </a:t>
            </a:r>
            <a:r>
              <a:rPr lang="en-US" dirty="0">
                <a:solidFill>
                  <a:srgbClr val="343467"/>
                </a:solidFill>
              </a:rPr>
              <a:t>issues — </a:t>
            </a:r>
            <a:r>
              <a:rPr lang="en-US" dirty="0">
                <a:solidFill>
                  <a:srgbClr val="343467"/>
                </a:solidFill>
                <a:latin typeface="Source Sans Pro SemiBold" panose="020B0603030403020204" pitchFamily="34" charset="0"/>
              </a:rPr>
              <a:t>public administration </a:t>
            </a:r>
            <a:r>
              <a:rPr lang="en-US" dirty="0">
                <a:solidFill>
                  <a:srgbClr val="343467"/>
                </a:solidFill>
              </a:rPr>
              <a:t>(709 TA projects), </a:t>
            </a:r>
            <a:r>
              <a:rPr lang="en-US" dirty="0">
                <a:solidFill>
                  <a:srgbClr val="343467"/>
                </a:solidFill>
                <a:latin typeface="Source Sans Pro SemiBold" panose="020B0603030403020204" pitchFamily="34" charset="0"/>
              </a:rPr>
              <a:t>macroeconomics</a:t>
            </a:r>
            <a:r>
              <a:rPr lang="en-US" dirty="0">
                <a:solidFill>
                  <a:srgbClr val="343467"/>
                </a:solidFill>
              </a:rPr>
              <a:t> (</a:t>
            </a:r>
            <a:r>
              <a:rPr lang="en-US" dirty="0" smtClean="0">
                <a:solidFill>
                  <a:srgbClr val="343467"/>
                </a:solidFill>
              </a:rPr>
              <a:t>667), and </a:t>
            </a:r>
            <a:r>
              <a:rPr lang="en-US" dirty="0">
                <a:solidFill>
                  <a:srgbClr val="343467"/>
                </a:solidFill>
                <a:latin typeface="Source Sans Pro SemiBold" panose="020B0603030403020204" pitchFamily="34" charset="0"/>
              </a:rPr>
              <a:t>economic development</a:t>
            </a:r>
            <a:r>
              <a:rPr lang="en-US" dirty="0">
                <a:solidFill>
                  <a:srgbClr val="343467"/>
                </a:solidFill>
              </a:rPr>
              <a:t> (</a:t>
            </a:r>
            <a:r>
              <a:rPr lang="en-US" dirty="0" smtClean="0">
                <a:solidFill>
                  <a:srgbClr val="343467"/>
                </a:solidFill>
              </a:rPr>
              <a:t>238). </a:t>
            </a:r>
            <a:r>
              <a:rPr lang="en-US" dirty="0">
                <a:solidFill>
                  <a:srgbClr val="343467"/>
                </a:solidFill>
              </a:rPr>
              <a:t>In aggregate, they accounted for 56% of the </a:t>
            </a:r>
            <a:r>
              <a:rPr lang="en-US" dirty="0" smtClean="0">
                <a:solidFill>
                  <a:srgbClr val="343467"/>
                </a:solidFill>
              </a:rPr>
              <a:t>total </a:t>
            </a:r>
            <a:r>
              <a:rPr lang="en-US" dirty="0">
                <a:solidFill>
                  <a:srgbClr val="343467"/>
                </a:solidFill>
              </a:rPr>
              <a:t>number of TA projects.</a:t>
            </a:r>
            <a:endParaRPr lang="ru-RU" dirty="0" smtClean="0">
              <a:solidFill>
                <a:srgbClr val="343467"/>
              </a:solidFill>
            </a:endParaRPr>
          </a:p>
        </p:txBody>
      </p:sp>
      <p:sp>
        <p:nvSpPr>
          <p:cNvPr id="9" name="Текст 7"/>
          <p:cNvSpPr txBox="1">
            <a:spLocks/>
          </p:cNvSpPr>
          <p:nvPr/>
        </p:nvSpPr>
        <p:spPr>
          <a:xfrm>
            <a:off x="442912" y="1520824"/>
            <a:ext cx="5832475" cy="1466317"/>
          </a:xfrm>
          <a:prstGeom prst="rect">
            <a:avLst/>
          </a:prstGeom>
          <a:gradFill flip="none" rotWithShape="1">
            <a:gsLst>
              <a:gs pos="0">
                <a:srgbClr val="00B2CD">
                  <a:tint val="66000"/>
                  <a:satMod val="160000"/>
                </a:srgbClr>
              </a:gs>
              <a:gs pos="50000">
                <a:srgbClr val="00B2CD">
                  <a:tint val="44500"/>
                  <a:satMod val="160000"/>
                </a:srgbClr>
              </a:gs>
              <a:gs pos="100000">
                <a:srgbClr val="00B2CD">
                  <a:tint val="23500"/>
                  <a:satMod val="160000"/>
                </a:srgbClr>
              </a:gs>
            </a:gsLst>
            <a:lin ang="5400000" scaled="1"/>
            <a:tileRect/>
          </a:gradFill>
        </p:spPr>
        <p:txBody>
          <a:bodyPr lIns="180000" tIns="180000" rIns="18000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/>
              <a:defRPr sz="1800" b="0" i="0" u="none" strike="noStrike" cap="none">
                <a:solidFill>
                  <a:srgbClr val="000000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  <a:sym typeface="Arial"/>
              </a:defRPr>
            </a:lvl1pPr>
            <a:lvl2pPr marL="0" marR="0" lvl="1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285750" marR="0" lvl="2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800" b="0" i="0" u="none" strike="noStrike" cap="none">
                <a:solidFill>
                  <a:srgbClr val="000000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  <a:sym typeface="Arial"/>
              </a:defRPr>
            </a:lvl3pPr>
            <a:lvl4pPr marL="285750" marR="0" lvl="3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538163" marR="0" lvl="4" indent="-25558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­"/>
              <a:defRPr sz="1800" b="0" i="0" u="none" strike="noStrike" cap="none">
                <a:solidFill>
                  <a:srgbClr val="000000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  <a:sym typeface="Arial"/>
              </a:defRPr>
            </a:lvl5pPr>
            <a:lvl6pPr marL="285750" marR="0" lvl="5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just"/>
            <a:r>
              <a:rPr lang="en-US" dirty="0">
                <a:solidFill>
                  <a:srgbClr val="343467"/>
                </a:solidFill>
              </a:rPr>
              <a:t>All IFIs have their own project classifications by </a:t>
            </a:r>
            <a:r>
              <a:rPr lang="en-US" dirty="0" smtClean="0">
                <a:solidFill>
                  <a:srgbClr val="343467"/>
                </a:solidFill>
              </a:rPr>
              <a:t>topic, </a:t>
            </a:r>
            <a:r>
              <a:rPr lang="en-US" dirty="0">
                <a:solidFill>
                  <a:srgbClr val="343467"/>
                </a:solidFill>
              </a:rPr>
              <a:t>which are often not comparable. </a:t>
            </a:r>
            <a:r>
              <a:rPr lang="en-US" dirty="0" smtClean="0">
                <a:solidFill>
                  <a:srgbClr val="343467"/>
                </a:solidFill>
              </a:rPr>
              <a:t>Therefore</a:t>
            </a:r>
            <a:r>
              <a:rPr lang="en-US" dirty="0">
                <a:solidFill>
                  <a:srgbClr val="343467"/>
                </a:solidFill>
              </a:rPr>
              <a:t>, based on expert judgement, we have identified </a:t>
            </a:r>
            <a:r>
              <a:rPr lang="en-US" dirty="0" smtClean="0">
                <a:solidFill>
                  <a:srgbClr val="343467"/>
                </a:solidFill>
              </a:rPr>
              <a:t>15 </a:t>
            </a:r>
            <a:r>
              <a:rPr lang="en-US" dirty="0">
                <a:solidFill>
                  <a:srgbClr val="343467"/>
                </a:solidFill>
              </a:rPr>
              <a:t>thematic areas, under </a:t>
            </a:r>
            <a:r>
              <a:rPr lang="en-US" dirty="0" smtClean="0">
                <a:solidFill>
                  <a:srgbClr val="343467"/>
                </a:solidFill>
              </a:rPr>
              <a:t>which projects </a:t>
            </a:r>
            <a:r>
              <a:rPr lang="en-US" dirty="0">
                <a:solidFill>
                  <a:srgbClr val="343467"/>
                </a:solidFill>
              </a:rPr>
              <a:t>were grouped by thematic </a:t>
            </a:r>
            <a:r>
              <a:rPr lang="en-US" dirty="0" smtClean="0">
                <a:solidFill>
                  <a:srgbClr val="343467"/>
                </a:solidFill>
              </a:rPr>
              <a:t>topic.</a:t>
            </a:r>
            <a:endParaRPr lang="ru-RU" dirty="0" smtClean="0">
              <a:solidFill>
                <a:srgbClr val="343467"/>
              </a:solidFill>
            </a:endParaRPr>
          </a:p>
        </p:txBody>
      </p:sp>
      <p:sp>
        <p:nvSpPr>
          <p:cNvPr id="10" name="Текст 8"/>
          <p:cNvSpPr txBox="1">
            <a:spLocks/>
          </p:cNvSpPr>
          <p:nvPr/>
        </p:nvSpPr>
        <p:spPr>
          <a:xfrm>
            <a:off x="6275387" y="3725854"/>
            <a:ext cx="5473700" cy="2357822"/>
          </a:xfrm>
          <a:prstGeom prst="rect">
            <a:avLst/>
          </a:prstGeom>
          <a:gradFill flip="none" rotWithShape="1">
            <a:gsLst>
              <a:gs pos="0">
                <a:srgbClr val="C3D363"/>
              </a:gs>
              <a:gs pos="50000">
                <a:srgbClr val="E1E9B1"/>
              </a:gs>
              <a:gs pos="100000">
                <a:srgbClr val="FEFEFC"/>
              </a:gs>
            </a:gsLst>
            <a:path path="circle">
              <a:fillToRect t="100000" r="100000"/>
            </a:path>
            <a:tileRect l="-100000" b="-100000"/>
          </a:gradFill>
        </p:spPr>
        <p:txBody>
          <a:bodyPr vert="horz" lIns="180000" tIns="180000" rIns="180000" bIns="180000" rtlCol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/>
              <a:defRPr sz="1800" b="0" i="0" u="none" strike="noStrike" cap="none">
                <a:solidFill>
                  <a:srgbClr val="000000"/>
                </a:solidFill>
                <a:latin typeface="+mn-lt"/>
                <a:ea typeface="Source Sans Pro" panose="020B0503030403020204" pitchFamily="34" charset="0"/>
                <a:cs typeface="Arial"/>
                <a:sym typeface="Arial"/>
              </a:defRPr>
            </a:lvl1pPr>
            <a:lvl2pPr marL="0" marR="0" lvl="1" indent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00" b="0" i="0" u="none" strike="noStrike" cap="none">
                <a:solidFill>
                  <a:srgbClr val="000000"/>
                </a:solidFill>
                <a:latin typeface="+mn-lt"/>
                <a:ea typeface="Arial"/>
                <a:cs typeface="Arial"/>
                <a:sym typeface="Arial"/>
              </a:defRPr>
            </a:lvl2pPr>
            <a:lvl3pPr marL="285750" marR="0" lvl="2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800" b="0" i="0" u="none" strike="noStrike" cap="none">
                <a:solidFill>
                  <a:srgbClr val="000000"/>
                </a:solidFill>
                <a:latin typeface="+mn-lt"/>
                <a:ea typeface="Source Sans Pro" panose="020B0503030403020204" pitchFamily="34" charset="0"/>
                <a:cs typeface="Arial"/>
                <a:sym typeface="Arial"/>
              </a:defRPr>
            </a:lvl3pPr>
            <a:lvl4pPr marL="285750" marR="0" lvl="3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800" b="0" i="0" u="none" strike="noStrike" cap="none">
                <a:solidFill>
                  <a:srgbClr val="000000"/>
                </a:solidFill>
                <a:latin typeface="+mn-lt"/>
                <a:ea typeface="Arial"/>
                <a:cs typeface="Arial"/>
                <a:sym typeface="Arial"/>
              </a:defRPr>
            </a:lvl4pPr>
            <a:lvl5pPr marL="538163" marR="0" lvl="4" indent="-25558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­"/>
              <a:defRPr sz="1800" b="0" i="0" u="none" strike="noStrike" cap="none">
                <a:solidFill>
                  <a:srgbClr val="000000"/>
                </a:solidFill>
                <a:latin typeface="+mn-lt"/>
                <a:ea typeface="Source Sans Pro" panose="020B0503030403020204" pitchFamily="34" charset="0"/>
                <a:cs typeface="Arial"/>
                <a:sym typeface="Arial"/>
              </a:defRPr>
            </a:lvl5pPr>
            <a:lvl6pPr marL="285750" marR="0" lvl="5" indent="-28575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just"/>
            <a:r>
              <a:rPr lang="en-US" dirty="0">
                <a:solidFill>
                  <a:srgbClr val="343467"/>
                </a:solidFill>
              </a:rPr>
              <a:t>In terms of thematic topics, the </a:t>
            </a:r>
            <a:r>
              <a:rPr lang="en-US" dirty="0">
                <a:solidFill>
                  <a:srgbClr val="343467"/>
                </a:solidFill>
                <a:latin typeface="Source Sans Pro SemiBold" panose="020B0603030403020204" pitchFamily="34" charset="0"/>
              </a:rPr>
              <a:t>WB has the most diversified pool of projects</a:t>
            </a:r>
            <a:r>
              <a:rPr lang="en-US" dirty="0">
                <a:solidFill>
                  <a:srgbClr val="343467"/>
                </a:solidFill>
              </a:rPr>
              <a:t>, which were </a:t>
            </a:r>
            <a:r>
              <a:rPr lang="en-US" dirty="0" smtClean="0">
                <a:solidFill>
                  <a:srgbClr val="343467"/>
                </a:solidFill>
              </a:rPr>
              <a:t>implemented </a:t>
            </a:r>
            <a:r>
              <a:rPr lang="en-US" dirty="0">
                <a:solidFill>
                  <a:srgbClr val="343467"/>
                </a:solidFill>
              </a:rPr>
              <a:t>in </a:t>
            </a:r>
            <a:r>
              <a:rPr lang="en-US" dirty="0" smtClean="0">
                <a:solidFill>
                  <a:srgbClr val="343467"/>
                </a:solidFill>
              </a:rPr>
              <a:t>all 1</a:t>
            </a:r>
            <a:r>
              <a:rPr lang="ru-RU" dirty="0" smtClean="0">
                <a:solidFill>
                  <a:srgbClr val="343467"/>
                </a:solidFill>
              </a:rPr>
              <a:t>5</a:t>
            </a:r>
            <a:r>
              <a:rPr lang="en-US" dirty="0" smtClean="0">
                <a:solidFill>
                  <a:srgbClr val="343467"/>
                </a:solidFill>
              </a:rPr>
              <a:t> </a:t>
            </a:r>
            <a:r>
              <a:rPr lang="en-US" dirty="0">
                <a:solidFill>
                  <a:srgbClr val="343467"/>
                </a:solidFill>
              </a:rPr>
              <a:t>selected thematic groups. The ADB comes second, with projects in </a:t>
            </a:r>
            <a:r>
              <a:rPr lang="en-US" dirty="0" smtClean="0">
                <a:solidFill>
                  <a:srgbClr val="343467"/>
                </a:solidFill>
              </a:rPr>
              <a:t>11 </a:t>
            </a:r>
            <a:r>
              <a:rPr lang="en-US" dirty="0">
                <a:solidFill>
                  <a:srgbClr val="343467"/>
                </a:solidFill>
              </a:rPr>
              <a:t>of </a:t>
            </a:r>
            <a:r>
              <a:rPr lang="en-US" dirty="0" smtClean="0">
                <a:solidFill>
                  <a:srgbClr val="343467"/>
                </a:solidFill>
              </a:rPr>
              <a:t>the 15 </a:t>
            </a:r>
            <a:r>
              <a:rPr lang="en-US" dirty="0">
                <a:solidFill>
                  <a:srgbClr val="343467"/>
                </a:solidFill>
              </a:rPr>
              <a:t>selected thematic groups. The WB and ADB play leading roles in shaping government </a:t>
            </a:r>
            <a:r>
              <a:rPr lang="en-US" dirty="0" smtClean="0">
                <a:solidFill>
                  <a:srgbClr val="343467"/>
                </a:solidFill>
              </a:rPr>
              <a:t>policies </a:t>
            </a:r>
            <a:r>
              <a:rPr lang="en-US" dirty="0">
                <a:solidFill>
                  <a:srgbClr val="343467"/>
                </a:solidFill>
              </a:rPr>
              <a:t>in the energy sector and infrastructure development.</a:t>
            </a:r>
            <a:endParaRPr lang="ru-RU" dirty="0">
              <a:solidFill>
                <a:srgbClr val="343467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2941" y="2987141"/>
            <a:ext cx="5092415" cy="3139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84622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Slides">
  <a:themeElements>
    <a:clrScheme name="Другая 12">
      <a:dk1>
        <a:srgbClr val="00589B"/>
      </a:dk1>
      <a:lt1>
        <a:sysClr val="window" lastClr="FFFFFF"/>
      </a:lt1>
      <a:dk2>
        <a:srgbClr val="343467"/>
      </a:dk2>
      <a:lt2>
        <a:srgbClr val="C2BFB5"/>
      </a:lt2>
      <a:accent1>
        <a:srgbClr val="343467"/>
      </a:accent1>
      <a:accent2>
        <a:srgbClr val="007CB8"/>
      </a:accent2>
      <a:accent3>
        <a:srgbClr val="00B1D2"/>
      </a:accent3>
      <a:accent4>
        <a:srgbClr val="B4DCEA"/>
      </a:accent4>
      <a:accent5>
        <a:srgbClr val="000000"/>
      </a:accent5>
      <a:accent6>
        <a:srgbClr val="84898C"/>
      </a:accent6>
      <a:hlink>
        <a:srgbClr val="1D4289"/>
      </a:hlink>
      <a:folHlink>
        <a:srgbClr val="853F84"/>
      </a:folHlink>
    </a:clrScheme>
    <a:fontScheme name="ЕФСР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Шаблон ЕФСР_eng" id="{1393AAF4-983D-4423-A072-8229D0145C09}" vid="{9C91EDC2-6629-4044-A008-03CC7F4A0BF5}"/>
    </a:ext>
  </a:extLst>
</a:theme>
</file>

<file path=ppt/theme/theme2.xml><?xml version="1.0" encoding="utf-8"?>
<a:theme xmlns:a="http://schemas.openxmlformats.org/drawingml/2006/main" name="Section divider">
  <a:themeElements>
    <a:clrScheme name="Другая 12">
      <a:dk1>
        <a:srgbClr val="00589B"/>
      </a:dk1>
      <a:lt1>
        <a:sysClr val="window" lastClr="FFFFFF"/>
      </a:lt1>
      <a:dk2>
        <a:srgbClr val="343467"/>
      </a:dk2>
      <a:lt2>
        <a:srgbClr val="C2BFB5"/>
      </a:lt2>
      <a:accent1>
        <a:srgbClr val="343467"/>
      </a:accent1>
      <a:accent2>
        <a:srgbClr val="007CB8"/>
      </a:accent2>
      <a:accent3>
        <a:srgbClr val="00B1D2"/>
      </a:accent3>
      <a:accent4>
        <a:srgbClr val="B4DCEA"/>
      </a:accent4>
      <a:accent5>
        <a:srgbClr val="000000"/>
      </a:accent5>
      <a:accent6>
        <a:srgbClr val="84898C"/>
      </a:accent6>
      <a:hlink>
        <a:srgbClr val="1D4289"/>
      </a:hlink>
      <a:folHlink>
        <a:srgbClr val="853F84"/>
      </a:folHlink>
    </a:clrScheme>
    <a:fontScheme name="ЕФСР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ЕФСР_eng" id="{1393AAF4-983D-4423-A072-8229D0145C09}" vid="{11F5A68D-0EAB-4AF6-855A-076445997F0E}"/>
    </a:ext>
  </a:extLst>
</a:theme>
</file>

<file path=ppt/theme/theme3.xml><?xml version="1.0" encoding="utf-8"?>
<a:theme xmlns:a="http://schemas.openxmlformats.org/drawingml/2006/main" name="Text slides">
  <a:themeElements>
    <a:clrScheme name="Другая 12">
      <a:dk1>
        <a:srgbClr val="00589B"/>
      </a:dk1>
      <a:lt1>
        <a:sysClr val="window" lastClr="FFFFFF"/>
      </a:lt1>
      <a:dk2>
        <a:srgbClr val="343467"/>
      </a:dk2>
      <a:lt2>
        <a:srgbClr val="C2BFB5"/>
      </a:lt2>
      <a:accent1>
        <a:srgbClr val="343467"/>
      </a:accent1>
      <a:accent2>
        <a:srgbClr val="007CB8"/>
      </a:accent2>
      <a:accent3>
        <a:srgbClr val="00B1D2"/>
      </a:accent3>
      <a:accent4>
        <a:srgbClr val="B4DCEA"/>
      </a:accent4>
      <a:accent5>
        <a:srgbClr val="000000"/>
      </a:accent5>
      <a:accent6>
        <a:srgbClr val="84898C"/>
      </a:accent6>
      <a:hlink>
        <a:srgbClr val="1D4289"/>
      </a:hlink>
      <a:folHlink>
        <a:srgbClr val="853F84"/>
      </a:folHlink>
    </a:clrScheme>
    <a:fontScheme name="ЕФСР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ЕФСР_eng" id="{1393AAF4-983D-4423-A072-8229D0145C09}" vid="{193AD92F-C131-4A40-844F-E27A4EA0FD12}"/>
    </a:ext>
  </a:extLst>
</a:theme>
</file>

<file path=ppt/theme/theme4.xml><?xml version="1.0" encoding="utf-8"?>
<a:theme xmlns:a="http://schemas.openxmlformats.org/drawingml/2006/main" name="1_Текстовые слайды">
  <a:themeElements>
    <a:clrScheme name="Другая 12">
      <a:dk1>
        <a:srgbClr val="00589B"/>
      </a:dk1>
      <a:lt1>
        <a:sysClr val="window" lastClr="FFFFFF"/>
      </a:lt1>
      <a:dk2>
        <a:srgbClr val="343467"/>
      </a:dk2>
      <a:lt2>
        <a:srgbClr val="C2BFB5"/>
      </a:lt2>
      <a:accent1>
        <a:srgbClr val="343467"/>
      </a:accent1>
      <a:accent2>
        <a:srgbClr val="007CB8"/>
      </a:accent2>
      <a:accent3>
        <a:srgbClr val="00B1D2"/>
      </a:accent3>
      <a:accent4>
        <a:srgbClr val="B4DCEA"/>
      </a:accent4>
      <a:accent5>
        <a:srgbClr val="000000"/>
      </a:accent5>
      <a:accent6>
        <a:srgbClr val="84898C"/>
      </a:accent6>
      <a:hlink>
        <a:srgbClr val="1D4289"/>
      </a:hlink>
      <a:folHlink>
        <a:srgbClr val="853F84"/>
      </a:folHlink>
    </a:clrScheme>
    <a:fontScheme name="ЕФСР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Презентация5" id="{BF2872D8-7CF1-4244-8290-E7044B9C5F83}" vid="{5CE528C6-BAC9-40D2-A939-CC5ECBD61762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ЕФСР_eng</Template>
  <TotalTime>1530</TotalTime>
  <Words>1543</Words>
  <Application>Microsoft Office PowerPoint</Application>
  <PresentationFormat>Широкоэкранный</PresentationFormat>
  <Paragraphs>186</Paragraphs>
  <Slides>13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7" baseType="lpstr">
      <vt:lpstr>Arial</vt:lpstr>
      <vt:lpstr>Barlow SemiBold</vt:lpstr>
      <vt:lpstr>Calibri</vt:lpstr>
      <vt:lpstr>Georgia</vt:lpstr>
      <vt:lpstr>Helvetica Light</vt:lpstr>
      <vt:lpstr>Helvetica Neue Medium</vt:lpstr>
      <vt:lpstr>Source Sans Pro</vt:lpstr>
      <vt:lpstr>Source Sans Pro SemiBold</vt:lpstr>
      <vt:lpstr>Verdana</vt:lpstr>
      <vt:lpstr>Title Slides</vt:lpstr>
      <vt:lpstr>Section divider</vt:lpstr>
      <vt:lpstr>Text slides</vt:lpstr>
      <vt:lpstr>1_Текстовые слайды</vt:lpstr>
      <vt:lpstr>Слайд think-cell</vt:lpstr>
      <vt:lpstr>Презентация PowerPoint</vt:lpstr>
      <vt:lpstr>Sovereign Financing Database in Eurasia</vt:lpstr>
      <vt:lpstr>Working Paper Structure</vt:lpstr>
      <vt:lpstr>Technical Assistance definition and modalities</vt:lpstr>
      <vt:lpstr>Trends in TA projects provision and criticism of it</vt:lpstr>
      <vt:lpstr>Approaches and TA Tools used by IFIs and Development Agencies</vt:lpstr>
      <vt:lpstr>Activity of IFIs and development agencies</vt:lpstr>
      <vt:lpstr>Technical Assistance to EFSD Member States</vt:lpstr>
      <vt:lpstr>Topics of TA projects</vt:lpstr>
      <vt:lpstr>Technical Assistance to EFSD Member States (1/2)</vt:lpstr>
      <vt:lpstr>Техническое содействие в государствах — участниках ЕФСР (2/2)</vt:lpstr>
      <vt:lpstr>Technical Assistance as a New Tool of the EFSD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chnical assistance of  international financial institutions  and development agencies in Eurasia</dc:title>
  <dc:creator>Гричик Марина Васильевна</dc:creator>
  <cp:lastModifiedBy>Винокуров Евгений Ю.</cp:lastModifiedBy>
  <cp:revision>55</cp:revision>
  <dcterms:created xsi:type="dcterms:W3CDTF">2022-09-26T06:59:21Z</dcterms:created>
  <dcterms:modified xsi:type="dcterms:W3CDTF">2022-09-30T12:16:52Z</dcterms:modified>
</cp:coreProperties>
</file>